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7" r:id="rId4"/>
    <p:sldMasterId id="2147484004" r:id="rId5"/>
    <p:sldMasterId id="2147483949" r:id="rId6"/>
    <p:sldMasterId id="2147483809" r:id="rId7"/>
    <p:sldMasterId id="2147483841" r:id="rId8"/>
  </p:sldMasterIdLst>
  <p:notesMasterIdLst>
    <p:notesMasterId r:id="rId18"/>
  </p:notesMasterIdLst>
  <p:sldIdLst>
    <p:sldId id="256" r:id="rId9"/>
    <p:sldId id="2897" r:id="rId10"/>
    <p:sldId id="2894" r:id="rId11"/>
    <p:sldId id="2895" r:id="rId12"/>
    <p:sldId id="2908" r:id="rId13"/>
    <p:sldId id="2910" r:id="rId14"/>
    <p:sldId id="2907" r:id="rId15"/>
    <p:sldId id="2900" r:id="rId16"/>
    <p:sldId id="2906" r:id="rId1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er, Max" initials="HM" lastIdx="1" clrIdx="0">
    <p:extLst>
      <p:ext uri="{19B8F6BF-5375-455C-9EA6-DF929625EA0E}">
        <p15:presenceInfo xmlns:p15="http://schemas.microsoft.com/office/powerpoint/2012/main" userId="S::max.heller@mainz05.de::ce27fe8a-f211-4b08-a57e-5c945f38185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BECED"/>
    <a:srgbClr val="E10019"/>
    <a:srgbClr val="E40613"/>
    <a:srgbClr val="414042"/>
    <a:srgbClr val="E6E7E8"/>
    <a:srgbClr val="D00000"/>
    <a:srgbClr val="BA141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1" d="100"/>
          <a:sy n="121" d="100"/>
        </p:scale>
        <p:origin x="156"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el, Judith" userId="3b17cb0c-4622-4e30-b8b4-aceefb0ebd41" providerId="ADAL" clId="{E5DE42D2-6D09-43D1-B1FB-7085112BFEE7}"/>
    <pc:docChg chg="addSld delSld modSld">
      <pc:chgData name="Michel, Judith" userId="3b17cb0c-4622-4e30-b8b4-aceefb0ebd41" providerId="ADAL" clId="{E5DE42D2-6D09-43D1-B1FB-7085112BFEE7}" dt="2024-08-02T09:36:56.434" v="12" actId="20577"/>
      <pc:docMkLst>
        <pc:docMk/>
      </pc:docMkLst>
      <pc:sldChg chg="modSp mod">
        <pc:chgData name="Michel, Judith" userId="3b17cb0c-4622-4e30-b8b4-aceefb0ebd41" providerId="ADAL" clId="{E5DE42D2-6D09-43D1-B1FB-7085112BFEE7}" dt="2024-08-02T09:36:56.434" v="12" actId="20577"/>
        <pc:sldMkLst>
          <pc:docMk/>
          <pc:sldMk cId="3790551655" sldId="2897"/>
        </pc:sldMkLst>
        <pc:spChg chg="mod">
          <ac:chgData name="Michel, Judith" userId="3b17cb0c-4622-4e30-b8b4-aceefb0ebd41" providerId="ADAL" clId="{E5DE42D2-6D09-43D1-B1FB-7085112BFEE7}" dt="2024-08-02T09:36:56.434" v="12" actId="20577"/>
          <ac:spMkLst>
            <pc:docMk/>
            <pc:sldMk cId="3790551655" sldId="2897"/>
            <ac:spMk id="2" creationId="{08399B9B-71FC-4428-BD47-DF4B53667A7D}"/>
          </ac:spMkLst>
        </pc:spChg>
      </pc:sldChg>
      <pc:sldChg chg="add del">
        <pc:chgData name="Michel, Judith" userId="3b17cb0c-4622-4e30-b8b4-aceefb0ebd41" providerId="ADAL" clId="{E5DE42D2-6D09-43D1-B1FB-7085112BFEE7}" dt="2024-08-02T09:35:25.311" v="7"/>
        <pc:sldMkLst>
          <pc:docMk/>
          <pc:sldMk cId="376874415" sldId="2906"/>
        </pc:sldMkLst>
      </pc:sldChg>
      <pc:sldChg chg="del">
        <pc:chgData name="Michel, Judith" userId="3b17cb0c-4622-4e30-b8b4-aceefb0ebd41" providerId="ADAL" clId="{E5DE42D2-6D09-43D1-B1FB-7085112BFEE7}" dt="2024-08-02T09:34:27.742" v="1" actId="47"/>
        <pc:sldMkLst>
          <pc:docMk/>
          <pc:sldMk cId="2397424186" sldId="2909"/>
        </pc:sldMkLst>
      </pc:sldChg>
      <pc:sldChg chg="modSp add mod">
        <pc:chgData name="Michel, Judith" userId="3b17cb0c-4622-4e30-b8b4-aceefb0ebd41" providerId="ADAL" clId="{E5DE42D2-6D09-43D1-B1FB-7085112BFEE7}" dt="2024-08-02T09:34:42.419" v="4" actId="1076"/>
        <pc:sldMkLst>
          <pc:docMk/>
          <pc:sldMk cId="2740852401" sldId="2910"/>
        </pc:sldMkLst>
        <pc:spChg chg="mod">
          <ac:chgData name="Michel, Judith" userId="3b17cb0c-4622-4e30-b8b4-aceefb0ebd41" providerId="ADAL" clId="{E5DE42D2-6D09-43D1-B1FB-7085112BFEE7}" dt="2024-08-02T09:34:35.691" v="3" actId="1076"/>
          <ac:spMkLst>
            <pc:docMk/>
            <pc:sldMk cId="2740852401" sldId="2910"/>
            <ac:spMk id="9" creationId="{2B22519F-EC94-8607-E3D7-5781A2857B29}"/>
          </ac:spMkLst>
        </pc:spChg>
        <pc:spChg chg="mod">
          <ac:chgData name="Michel, Judith" userId="3b17cb0c-4622-4e30-b8b4-aceefb0ebd41" providerId="ADAL" clId="{E5DE42D2-6D09-43D1-B1FB-7085112BFEE7}" dt="2024-08-02T09:34:42.419" v="4" actId="1076"/>
          <ac:spMkLst>
            <pc:docMk/>
            <pc:sldMk cId="2740852401" sldId="2910"/>
            <ac:spMk id="12" creationId="{129424BC-0C07-0AED-3501-03CBCB4AFB01}"/>
          </ac:spMkLst>
        </pc:spChg>
        <pc:picChg chg="mod">
          <ac:chgData name="Michel, Judith" userId="3b17cb0c-4622-4e30-b8b4-aceefb0ebd41" providerId="ADAL" clId="{E5DE42D2-6D09-43D1-B1FB-7085112BFEE7}" dt="2024-08-02T09:34:31.753" v="2" actId="14100"/>
          <ac:picMkLst>
            <pc:docMk/>
            <pc:sldMk cId="2740852401" sldId="2910"/>
            <ac:picMk id="8" creationId="{46B12F3C-F683-D3FD-7E2C-F05412C62E1B}"/>
          </ac:picMkLst>
        </pc:picChg>
      </pc:sldChg>
    </pc:docChg>
  </pc:docChgLst>
  <pc:docChgLst>
    <pc:chgData name="Michel, Judith" userId="3b17cb0c-4622-4e30-b8b4-aceefb0ebd41" providerId="ADAL" clId="{BE9F9E27-BF3D-4AF5-A14C-277EEABDD65F}"/>
    <pc:docChg chg="custSel addSld delSld modSld sldOrd">
      <pc:chgData name="Michel, Judith" userId="3b17cb0c-4622-4e30-b8b4-aceefb0ebd41" providerId="ADAL" clId="{BE9F9E27-BF3D-4AF5-A14C-277EEABDD65F}" dt="2023-08-02T10:02:25.236" v="434" actId="47"/>
      <pc:docMkLst>
        <pc:docMk/>
      </pc:docMkLst>
      <pc:sldChg chg="addSp delSp modSp mod">
        <pc:chgData name="Michel, Judith" userId="3b17cb0c-4622-4e30-b8b4-aceefb0ebd41" providerId="ADAL" clId="{BE9F9E27-BF3D-4AF5-A14C-277EEABDD65F}" dt="2023-08-02T09:49:05.133" v="432" actId="14100"/>
        <pc:sldMkLst>
          <pc:docMk/>
          <pc:sldMk cId="3425304654" sldId="256"/>
        </pc:sldMkLst>
        <pc:spChg chg="mod">
          <ac:chgData name="Michel, Judith" userId="3b17cb0c-4622-4e30-b8b4-aceefb0ebd41" providerId="ADAL" clId="{BE9F9E27-BF3D-4AF5-A14C-277EEABDD65F}" dt="2023-08-02T09:49:05.133" v="432" actId="14100"/>
          <ac:spMkLst>
            <pc:docMk/>
            <pc:sldMk cId="3425304654" sldId="256"/>
            <ac:spMk id="2" creationId="{4F03D157-CBC4-461E-9FAF-C4FC6C52D874}"/>
          </ac:spMkLst>
        </pc:spChg>
        <pc:spChg chg="del">
          <ac:chgData name="Michel, Judith" userId="3b17cb0c-4622-4e30-b8b4-aceefb0ebd41" providerId="ADAL" clId="{BE9F9E27-BF3D-4AF5-A14C-277EEABDD65F}" dt="2023-08-02T09:09:50.808" v="76" actId="478"/>
          <ac:spMkLst>
            <pc:docMk/>
            <pc:sldMk cId="3425304654" sldId="256"/>
            <ac:spMk id="3" creationId="{3D3E02ED-7118-4D24-851C-6D1DE79AE07C}"/>
          </ac:spMkLst>
        </pc:spChg>
        <pc:spChg chg="add del mod">
          <ac:chgData name="Michel, Judith" userId="3b17cb0c-4622-4e30-b8b4-aceefb0ebd41" providerId="ADAL" clId="{BE9F9E27-BF3D-4AF5-A14C-277EEABDD65F}" dt="2023-08-02T09:09:58.679" v="78" actId="478"/>
          <ac:spMkLst>
            <pc:docMk/>
            <pc:sldMk cId="3425304654" sldId="256"/>
            <ac:spMk id="5" creationId="{10A59529-7769-6B11-ECF1-3DF891B16F55}"/>
          </ac:spMkLst>
        </pc:spChg>
      </pc:sldChg>
      <pc:sldChg chg="addSp delSp modSp del mod">
        <pc:chgData name="Michel, Judith" userId="3b17cb0c-4622-4e30-b8b4-aceefb0ebd41" providerId="ADAL" clId="{BE9F9E27-BF3D-4AF5-A14C-277EEABDD65F}" dt="2023-08-02T09:27:54.156" v="425" actId="47"/>
        <pc:sldMkLst>
          <pc:docMk/>
          <pc:sldMk cId="1270668036" sldId="2796"/>
        </pc:sldMkLst>
        <pc:spChg chg="mod">
          <ac:chgData name="Michel, Judith" userId="3b17cb0c-4622-4e30-b8b4-aceefb0ebd41" providerId="ADAL" clId="{BE9F9E27-BF3D-4AF5-A14C-277EEABDD65F}" dt="2023-08-02T09:19:24.411" v="345" actId="1076"/>
          <ac:spMkLst>
            <pc:docMk/>
            <pc:sldMk cId="1270668036" sldId="2796"/>
            <ac:spMk id="3" creationId="{13CA1448-A1AF-44AB-B7F6-EC27BC55C333}"/>
          </ac:spMkLst>
        </pc:spChg>
        <pc:spChg chg="mod">
          <ac:chgData name="Michel, Judith" userId="3b17cb0c-4622-4e30-b8b4-aceefb0ebd41" providerId="ADAL" clId="{BE9F9E27-BF3D-4AF5-A14C-277EEABDD65F}" dt="2023-08-02T09:19:21.539" v="344" actId="1076"/>
          <ac:spMkLst>
            <pc:docMk/>
            <pc:sldMk cId="1270668036" sldId="2796"/>
            <ac:spMk id="4" creationId="{7D57CB4E-A8FB-42FC-81DF-3A59331CCFF5}"/>
          </ac:spMkLst>
        </pc:spChg>
        <pc:spChg chg="add del mod">
          <ac:chgData name="Michel, Judith" userId="3b17cb0c-4622-4e30-b8b4-aceefb0ebd41" providerId="ADAL" clId="{BE9F9E27-BF3D-4AF5-A14C-277EEABDD65F}" dt="2023-08-02T09:17:59.418" v="333" actId="478"/>
          <ac:spMkLst>
            <pc:docMk/>
            <pc:sldMk cId="1270668036" sldId="2796"/>
            <ac:spMk id="8" creationId="{EF967243-7824-BC62-1C04-B5C48C2D59B8}"/>
          </ac:spMkLst>
        </pc:spChg>
        <pc:spChg chg="del mod">
          <ac:chgData name="Michel, Judith" userId="3b17cb0c-4622-4e30-b8b4-aceefb0ebd41" providerId="ADAL" clId="{BE9F9E27-BF3D-4AF5-A14C-277EEABDD65F}" dt="2023-08-02T09:18:01.189" v="335" actId="478"/>
          <ac:spMkLst>
            <pc:docMk/>
            <pc:sldMk cId="1270668036" sldId="2796"/>
            <ac:spMk id="10" creationId="{798B8504-15CA-4E22-A5F4-9951300E59F0}"/>
          </ac:spMkLst>
        </pc:spChg>
        <pc:picChg chg="mod">
          <ac:chgData name="Michel, Judith" userId="3b17cb0c-4622-4e30-b8b4-aceefb0ebd41" providerId="ADAL" clId="{BE9F9E27-BF3D-4AF5-A14C-277EEABDD65F}" dt="2023-08-02T09:18:24.760" v="342" actId="14100"/>
          <ac:picMkLst>
            <pc:docMk/>
            <pc:sldMk cId="1270668036" sldId="2796"/>
            <ac:picMk id="9" creationId="{2498C378-451F-4C85-88D2-1B3F4F8D82C0}"/>
          </ac:picMkLst>
        </pc:picChg>
        <pc:picChg chg="del">
          <ac:chgData name="Michel, Judith" userId="3b17cb0c-4622-4e30-b8b4-aceefb0ebd41" providerId="ADAL" clId="{BE9F9E27-BF3D-4AF5-A14C-277EEABDD65F}" dt="2023-08-02T09:17:57.466" v="332" actId="478"/>
          <ac:picMkLst>
            <pc:docMk/>
            <pc:sldMk cId="1270668036" sldId="2796"/>
            <ac:picMk id="11" creationId="{DD4785EE-C198-4E6C-9AAF-A8C1FB8FEAED}"/>
          </ac:picMkLst>
        </pc:picChg>
      </pc:sldChg>
      <pc:sldChg chg="modSp mod">
        <pc:chgData name="Michel, Judith" userId="3b17cb0c-4622-4e30-b8b4-aceefb0ebd41" providerId="ADAL" clId="{BE9F9E27-BF3D-4AF5-A14C-277EEABDD65F}" dt="2023-08-02T09:14:08.442" v="228" actId="20577"/>
        <pc:sldMkLst>
          <pc:docMk/>
          <pc:sldMk cId="990722423" sldId="2894"/>
        </pc:sldMkLst>
        <pc:spChg chg="mod">
          <ac:chgData name="Michel, Judith" userId="3b17cb0c-4622-4e30-b8b4-aceefb0ebd41" providerId="ADAL" clId="{BE9F9E27-BF3D-4AF5-A14C-277EEABDD65F}" dt="2023-08-02T09:14:08.442" v="228" actId="20577"/>
          <ac:spMkLst>
            <pc:docMk/>
            <pc:sldMk cId="990722423" sldId="2894"/>
            <ac:spMk id="2" creationId="{08399B9B-71FC-4428-BD47-DF4B53667A7D}"/>
          </ac:spMkLst>
        </pc:spChg>
      </pc:sldChg>
      <pc:sldChg chg="del">
        <pc:chgData name="Michel, Judith" userId="3b17cb0c-4622-4e30-b8b4-aceefb0ebd41" providerId="ADAL" clId="{BE9F9E27-BF3D-4AF5-A14C-277EEABDD65F}" dt="2023-08-02T10:02:25.236" v="434" actId="47"/>
        <pc:sldMkLst>
          <pc:docMk/>
          <pc:sldMk cId="1286626873" sldId="2896"/>
        </pc:sldMkLst>
      </pc:sldChg>
      <pc:sldChg chg="ord">
        <pc:chgData name="Michel, Judith" userId="3b17cb0c-4622-4e30-b8b4-aceefb0ebd41" providerId="ADAL" clId="{BE9F9E27-BF3D-4AF5-A14C-277EEABDD65F}" dt="2023-08-02T09:10:24.004" v="81"/>
        <pc:sldMkLst>
          <pc:docMk/>
          <pc:sldMk cId="3790551655" sldId="2897"/>
        </pc:sldMkLst>
      </pc:sldChg>
      <pc:sldChg chg="del">
        <pc:chgData name="Michel, Judith" userId="3b17cb0c-4622-4e30-b8b4-aceefb0ebd41" providerId="ADAL" clId="{BE9F9E27-BF3D-4AF5-A14C-277EEABDD65F}" dt="2023-08-02T09:16:02.372" v="229" actId="2696"/>
        <pc:sldMkLst>
          <pc:docMk/>
          <pc:sldMk cId="1664554068" sldId="2898"/>
        </pc:sldMkLst>
      </pc:sldChg>
      <pc:sldChg chg="modSp mod">
        <pc:chgData name="Michel, Judith" userId="3b17cb0c-4622-4e30-b8b4-aceefb0ebd41" providerId="ADAL" clId="{BE9F9E27-BF3D-4AF5-A14C-277EEABDD65F}" dt="2023-08-02T09:20:48.395" v="396" actId="20577"/>
        <pc:sldMkLst>
          <pc:docMk/>
          <pc:sldMk cId="565839376" sldId="2900"/>
        </pc:sldMkLst>
        <pc:spChg chg="mod">
          <ac:chgData name="Michel, Judith" userId="3b17cb0c-4622-4e30-b8b4-aceefb0ebd41" providerId="ADAL" clId="{BE9F9E27-BF3D-4AF5-A14C-277EEABDD65F}" dt="2023-08-02T09:20:48.395" v="396" actId="20577"/>
          <ac:spMkLst>
            <pc:docMk/>
            <pc:sldMk cId="565839376" sldId="2900"/>
            <ac:spMk id="2" creationId="{08399B9B-71FC-4428-BD47-DF4B53667A7D}"/>
          </ac:spMkLst>
        </pc:spChg>
      </pc:sldChg>
      <pc:sldChg chg="del">
        <pc:chgData name="Michel, Judith" userId="3b17cb0c-4622-4e30-b8b4-aceefb0ebd41" providerId="ADAL" clId="{BE9F9E27-BF3D-4AF5-A14C-277EEABDD65F}" dt="2023-08-02T09:08:44.497" v="0" actId="47"/>
        <pc:sldMkLst>
          <pc:docMk/>
          <pc:sldMk cId="885465265" sldId="2905"/>
        </pc:sldMkLst>
      </pc:sldChg>
      <pc:sldChg chg="modSp add mod">
        <pc:chgData name="Michel, Judith" userId="3b17cb0c-4622-4e30-b8b4-aceefb0ebd41" providerId="ADAL" clId="{BE9F9E27-BF3D-4AF5-A14C-277EEABDD65F}" dt="2023-08-02T09:27:43.382" v="424" actId="20577"/>
        <pc:sldMkLst>
          <pc:docMk/>
          <pc:sldMk cId="1476104866" sldId="2907"/>
        </pc:sldMkLst>
        <pc:spChg chg="mod">
          <ac:chgData name="Michel, Judith" userId="3b17cb0c-4622-4e30-b8b4-aceefb0ebd41" providerId="ADAL" clId="{BE9F9E27-BF3D-4AF5-A14C-277EEABDD65F}" dt="2023-08-02T09:27:43.382" v="424" actId="20577"/>
          <ac:spMkLst>
            <pc:docMk/>
            <pc:sldMk cId="1476104866" sldId="2907"/>
            <ac:spMk id="4" creationId="{7D57CB4E-A8FB-42FC-81DF-3A59331CCFF5}"/>
          </ac:spMkLst>
        </pc:spChg>
      </pc:sldChg>
      <pc:sldChg chg="add">
        <pc:chgData name="Michel, Judith" userId="3b17cb0c-4622-4e30-b8b4-aceefb0ebd41" providerId="ADAL" clId="{BE9F9E27-BF3D-4AF5-A14C-277EEABDD65F}" dt="2023-08-02T10:02:23.150" v="433"/>
        <pc:sldMkLst>
          <pc:docMk/>
          <pc:sldMk cId="1546168124" sldId="2908"/>
        </pc:sldMkLst>
      </pc:sldChg>
    </pc:docChg>
  </pc:docChgLst>
  <pc:docChgLst>
    <pc:chgData name="Michel, Judith" userId="3b17cb0c-4622-4e30-b8b4-aceefb0ebd41" providerId="ADAL" clId="{9B7EA4DD-BB24-4C08-AA12-2F1A85B10836}"/>
    <pc:docChg chg="modSld">
      <pc:chgData name="Michel, Judith" userId="3b17cb0c-4622-4e30-b8b4-aceefb0ebd41" providerId="ADAL" clId="{9B7EA4DD-BB24-4C08-AA12-2F1A85B10836}" dt="2024-08-19T10:38:30.267" v="0" actId="20577"/>
      <pc:docMkLst>
        <pc:docMk/>
      </pc:docMkLst>
      <pc:sldChg chg="modSp mod">
        <pc:chgData name="Michel, Judith" userId="3b17cb0c-4622-4e30-b8b4-aceefb0ebd41" providerId="ADAL" clId="{9B7EA4DD-BB24-4C08-AA12-2F1A85B10836}" dt="2024-08-19T10:38:30.267" v="0" actId="20577"/>
        <pc:sldMkLst>
          <pc:docMk/>
          <pc:sldMk cId="3790551655" sldId="2897"/>
        </pc:sldMkLst>
        <pc:spChg chg="mod">
          <ac:chgData name="Michel, Judith" userId="3b17cb0c-4622-4e30-b8b4-aceefb0ebd41" providerId="ADAL" clId="{9B7EA4DD-BB24-4C08-AA12-2F1A85B10836}" dt="2024-08-19T10:38:30.267" v="0" actId="20577"/>
          <ac:spMkLst>
            <pc:docMk/>
            <pc:sldMk cId="3790551655" sldId="2897"/>
            <ac:spMk id="2" creationId="{08399B9B-71FC-4428-BD47-DF4B53667A7D}"/>
          </ac:spMkLst>
        </pc:spChg>
      </pc:sldChg>
    </pc:docChg>
  </pc:docChgLst>
  <pc:docChgLst>
    <pc:chgData name="Michel, Judith" userId="3b17cb0c-4622-4e30-b8b4-aceefb0ebd41" providerId="ADAL" clId="{143EEFE4-B9FC-4129-AE21-63EF81A96582}"/>
    <pc:docChg chg="addSld modSld">
      <pc:chgData name="Michel, Judith" userId="3b17cb0c-4622-4e30-b8b4-aceefb0ebd41" providerId="ADAL" clId="{143EEFE4-B9FC-4129-AE21-63EF81A96582}" dt="2023-08-18T09:55:26.982" v="1" actId="20577"/>
      <pc:docMkLst>
        <pc:docMk/>
      </pc:docMkLst>
      <pc:sldChg chg="modSp add mod">
        <pc:chgData name="Michel, Judith" userId="3b17cb0c-4622-4e30-b8b4-aceefb0ebd41" providerId="ADAL" clId="{143EEFE4-B9FC-4129-AE21-63EF81A96582}" dt="2023-08-18T09:55:26.982" v="1" actId="20577"/>
        <pc:sldMkLst>
          <pc:docMk/>
          <pc:sldMk cId="2397424186" sldId="2909"/>
        </pc:sldMkLst>
        <pc:spChg chg="mod">
          <ac:chgData name="Michel, Judith" userId="3b17cb0c-4622-4e30-b8b4-aceefb0ebd41" providerId="ADAL" clId="{143EEFE4-B9FC-4129-AE21-63EF81A96582}" dt="2023-08-18T09:55:26.982" v="1" actId="20577"/>
          <ac:spMkLst>
            <pc:docMk/>
            <pc:sldMk cId="2397424186" sldId="2909"/>
            <ac:spMk id="2" creationId="{C370A4C6-81CF-A5D2-6C88-6EC540EDEF4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378F3D2-57A9-48DF-9C0F-016FC1CE8A71}" type="datetimeFigureOut">
              <a:rPr lang="de-DE" smtClean="0"/>
              <a:t>19.08.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513BC56-9470-47DE-B6DF-D35E1A466853}" type="slidenum">
              <a:rPr lang="de-DE" smtClean="0"/>
              <a:t>‹Nr.›</a:t>
            </a:fld>
            <a:endParaRPr lang="de-DE"/>
          </a:p>
        </p:txBody>
      </p:sp>
    </p:spTree>
    <p:extLst>
      <p:ext uri="{BB962C8B-B14F-4D97-AF65-F5344CB8AC3E}">
        <p14:creationId xmlns:p14="http://schemas.microsoft.com/office/powerpoint/2010/main" val="4770434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4.xml"/><Relationship Id="rId4" Type="http://schemas.openxmlformats.org/officeDocument/2006/relationships/tags" Target="../tags/tag4.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10.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 Type="http://schemas.openxmlformats.org/officeDocument/2006/relationships/tags" Target="../tags/tag11.xml"/><Relationship Id="rId16" Type="http://schemas.openxmlformats.org/officeDocument/2006/relationships/tags" Target="../tags/tag25.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tags" Target="../tags/tag24.xml"/><Relationship Id="rId10" Type="http://schemas.openxmlformats.org/officeDocument/2006/relationships/tags" Target="../tags/tag19.xml"/><Relationship Id="rId19" Type="http://schemas.openxmlformats.org/officeDocument/2006/relationships/slideMaster" Target="../slideMasters/slideMaster4.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tags" Target="../tags/tag45.xml"/><Relationship Id="rId3" Type="http://schemas.openxmlformats.org/officeDocument/2006/relationships/tags" Target="../tags/tag30.xml"/><Relationship Id="rId21" Type="http://schemas.openxmlformats.org/officeDocument/2006/relationships/tags" Target="../tags/tag48.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tags" Target="../tags/tag47.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slideMaster" Target="../slideMasters/slideMaster4.xml"/><Relationship Id="rId10" Type="http://schemas.openxmlformats.org/officeDocument/2006/relationships/tags" Target="../tags/tag37.xml"/><Relationship Id="rId19" Type="http://schemas.openxmlformats.org/officeDocument/2006/relationships/tags" Target="../tags/tag46.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tags" Target="../tags/tag4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tags" Target="../tags/tag67.xml"/><Relationship Id="rId26" Type="http://schemas.openxmlformats.org/officeDocument/2006/relationships/tags" Target="../tags/tag75.xml"/><Relationship Id="rId3" Type="http://schemas.openxmlformats.org/officeDocument/2006/relationships/tags" Target="../tags/tag52.xml"/><Relationship Id="rId21" Type="http://schemas.openxmlformats.org/officeDocument/2006/relationships/tags" Target="../tags/tag70.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5" Type="http://schemas.openxmlformats.org/officeDocument/2006/relationships/tags" Target="../tags/tag74.xml"/><Relationship Id="rId2" Type="http://schemas.openxmlformats.org/officeDocument/2006/relationships/tags" Target="../tags/tag51.xml"/><Relationship Id="rId16" Type="http://schemas.openxmlformats.org/officeDocument/2006/relationships/tags" Target="../tags/tag65.xml"/><Relationship Id="rId20" Type="http://schemas.openxmlformats.org/officeDocument/2006/relationships/tags" Target="../tags/tag69.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tags" Target="../tags/tag60.xml"/><Relationship Id="rId24" Type="http://schemas.openxmlformats.org/officeDocument/2006/relationships/tags" Target="../tags/tag73.xml"/><Relationship Id="rId5" Type="http://schemas.openxmlformats.org/officeDocument/2006/relationships/tags" Target="../tags/tag54.xml"/><Relationship Id="rId15" Type="http://schemas.openxmlformats.org/officeDocument/2006/relationships/tags" Target="../tags/tag64.xml"/><Relationship Id="rId23" Type="http://schemas.openxmlformats.org/officeDocument/2006/relationships/tags" Target="../tags/tag72.xml"/><Relationship Id="rId10" Type="http://schemas.openxmlformats.org/officeDocument/2006/relationships/tags" Target="../tags/tag59.xml"/><Relationship Id="rId19" Type="http://schemas.openxmlformats.org/officeDocument/2006/relationships/tags" Target="../tags/tag68.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tags" Target="../tags/tag71.xml"/><Relationship Id="rId27"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tags" Target="../tags/tag93.xml"/><Relationship Id="rId26" Type="http://schemas.openxmlformats.org/officeDocument/2006/relationships/tags" Target="../tags/tag101.xml"/><Relationship Id="rId3" Type="http://schemas.openxmlformats.org/officeDocument/2006/relationships/tags" Target="../tags/tag78.xml"/><Relationship Id="rId21" Type="http://schemas.openxmlformats.org/officeDocument/2006/relationships/tags" Target="../tags/tag96.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tags" Target="../tags/tag100.xml"/><Relationship Id="rId2" Type="http://schemas.openxmlformats.org/officeDocument/2006/relationships/tags" Target="../tags/tag77.xml"/><Relationship Id="rId16" Type="http://schemas.openxmlformats.org/officeDocument/2006/relationships/tags" Target="../tags/tag91.xml"/><Relationship Id="rId20" Type="http://schemas.openxmlformats.org/officeDocument/2006/relationships/tags" Target="../tags/tag95.xml"/><Relationship Id="rId29" Type="http://schemas.openxmlformats.org/officeDocument/2006/relationships/tags" Target="../tags/tag104.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24" Type="http://schemas.openxmlformats.org/officeDocument/2006/relationships/tags" Target="../tags/tag99.xml"/><Relationship Id="rId5" Type="http://schemas.openxmlformats.org/officeDocument/2006/relationships/tags" Target="../tags/tag80.xml"/><Relationship Id="rId15" Type="http://schemas.openxmlformats.org/officeDocument/2006/relationships/tags" Target="../tags/tag90.xml"/><Relationship Id="rId23" Type="http://schemas.openxmlformats.org/officeDocument/2006/relationships/tags" Target="../tags/tag98.xml"/><Relationship Id="rId28" Type="http://schemas.openxmlformats.org/officeDocument/2006/relationships/tags" Target="../tags/tag103.xml"/><Relationship Id="rId10" Type="http://schemas.openxmlformats.org/officeDocument/2006/relationships/tags" Target="../tags/tag85.xml"/><Relationship Id="rId19" Type="http://schemas.openxmlformats.org/officeDocument/2006/relationships/tags" Target="../tags/tag94.xml"/><Relationship Id="rId31" Type="http://schemas.openxmlformats.org/officeDocument/2006/relationships/slideMaster" Target="../slideMasters/slideMaster4.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tags" Target="../tags/tag97.xml"/><Relationship Id="rId27" Type="http://schemas.openxmlformats.org/officeDocument/2006/relationships/tags" Target="../tags/tag102.xml"/><Relationship Id="rId30" Type="http://schemas.openxmlformats.org/officeDocument/2006/relationships/tags" Target="../tags/tag10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blatt">
    <p:spTree>
      <p:nvGrpSpPr>
        <p:cNvPr id="1" name=""/>
        <p:cNvGrpSpPr/>
        <p:nvPr/>
      </p:nvGrpSpPr>
      <p:grpSpPr>
        <a:xfrm>
          <a:off x="0" y="0"/>
          <a:ext cx="0" cy="0"/>
          <a:chOff x="0" y="0"/>
          <a:chExt cx="0" cy="0"/>
        </a:xfrm>
      </p:grpSpPr>
      <p:pic>
        <p:nvPicPr>
          <p:cNvPr id="1027" name="65C4E809-78E4-4D71-888B-E39568BAFB12" descr="F1CD90D9-92FD-4BB8-B51B-BDBCAD1A6E13@fritz">
            <a:extLst>
              <a:ext uri="{FF2B5EF4-FFF2-40B4-BE49-F238E27FC236}">
                <a16:creationId xmlns:a16="http://schemas.microsoft.com/office/drawing/2014/main" id="{6F9F6135-3997-4E64-AF4F-8DBB0D1119B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platzhalter 12">
            <a:extLst>
              <a:ext uri="{FF2B5EF4-FFF2-40B4-BE49-F238E27FC236}">
                <a16:creationId xmlns:a16="http://schemas.microsoft.com/office/drawing/2014/main" id="{2018A205-0C94-47EF-961C-54C15AEBF7D9}"/>
              </a:ext>
            </a:extLst>
          </p:cNvPr>
          <p:cNvSpPr>
            <a:spLocks noGrp="1"/>
          </p:cNvSpPr>
          <p:nvPr>
            <p:ph type="body" sz="quarter" idx="11" hasCustomPrompt="1"/>
          </p:nvPr>
        </p:nvSpPr>
        <p:spPr>
          <a:xfrm>
            <a:off x="1399362" y="4030576"/>
            <a:ext cx="9354091" cy="1266825"/>
          </a:xfrm>
          <a:prstGeom prst="rect">
            <a:avLst/>
          </a:prstGeom>
        </p:spPr>
        <p:txBody>
          <a:bodyPr/>
          <a:lstStyle>
            <a:lvl1pPr marL="0" indent="0" algn="ctr">
              <a:buNone/>
              <a:defRPr sz="4000">
                <a:solidFill>
                  <a:schemeClr val="bg1"/>
                </a:solidFill>
                <a:latin typeface="M05 Headline Office Bold" panose="020B0804040000000001" pitchFamily="34" charset="0"/>
              </a:defRPr>
            </a:lvl1pPr>
          </a:lstStyle>
          <a:p>
            <a:pPr lvl="0"/>
            <a:r>
              <a:rPr lang="de-DE"/>
              <a:t>Überschrift Titelfolie</a:t>
            </a:r>
          </a:p>
          <a:p>
            <a:pPr lvl="0"/>
            <a:r>
              <a:rPr lang="de-DE"/>
              <a:t>M05 Headline Office Bold 40 pt</a:t>
            </a:r>
          </a:p>
        </p:txBody>
      </p:sp>
      <p:cxnSp>
        <p:nvCxnSpPr>
          <p:cNvPr id="15" name="Gerader Verbinder 14">
            <a:extLst>
              <a:ext uri="{FF2B5EF4-FFF2-40B4-BE49-F238E27FC236}">
                <a16:creationId xmlns:a16="http://schemas.microsoft.com/office/drawing/2014/main" id="{C73F750C-ED60-4150-A6EB-8AC8CBF487B1}"/>
              </a:ext>
            </a:extLst>
          </p:cNvPr>
          <p:cNvCxnSpPr/>
          <p:nvPr userDrawn="1"/>
        </p:nvCxnSpPr>
        <p:spPr>
          <a:xfrm>
            <a:off x="5518408" y="5635539"/>
            <a:ext cx="1116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68EB2570-1155-4039-B388-8DB84E7CBD4C}"/>
              </a:ext>
            </a:extLst>
          </p:cNvPr>
          <p:cNvSpPr>
            <a:spLocks noGrp="1"/>
          </p:cNvSpPr>
          <p:nvPr>
            <p:ph type="body" sz="quarter" idx="12" hasCustomPrompt="1"/>
          </p:nvPr>
        </p:nvSpPr>
        <p:spPr>
          <a:xfrm>
            <a:off x="4682782" y="5971368"/>
            <a:ext cx="2787252" cy="326158"/>
          </a:xfrm>
          <a:prstGeom prst="rect">
            <a:avLst/>
          </a:prstGeom>
        </p:spPr>
        <p:txBody>
          <a:bodyPr/>
          <a:lstStyle>
            <a:lvl1pPr marL="0" indent="0" algn="ctr">
              <a:buNone/>
              <a:defRPr sz="1200" b="1" cap="all" baseline="0">
                <a:solidFill>
                  <a:schemeClr val="bg1"/>
                </a:solidFill>
                <a:latin typeface="M05 Text Office" panose="020B0504040000000004" pitchFamily="34" charset="0"/>
              </a:defRPr>
            </a:lvl1pPr>
          </a:lstStyle>
          <a:p>
            <a:pPr lvl="0"/>
            <a:r>
              <a:rPr lang="de-DE"/>
              <a:t>Subheader Titelfolie</a:t>
            </a:r>
          </a:p>
        </p:txBody>
      </p:sp>
      <p:pic>
        <p:nvPicPr>
          <p:cNvPr id="11" name="148585DB-7567-4FB9-BA24-E65955888DFB" descr="D891411C-6454-4913-92F3-B812FB9EBBC2@fritz">
            <a:extLst>
              <a:ext uri="{FF2B5EF4-FFF2-40B4-BE49-F238E27FC236}">
                <a16:creationId xmlns:a16="http://schemas.microsoft.com/office/drawing/2014/main" id="{CEA0D490-3C3F-4906-880D-4DCF34F77B2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37030" y="1727861"/>
            <a:ext cx="1938939" cy="1938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544507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ext mit Headline und Sach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7C015474-0E64-4F21-AE44-E9FC07042380}"/>
              </a:ext>
            </a:extLst>
          </p:cNvPr>
          <p:cNvSpPr>
            <a:spLocks noGrp="1"/>
          </p:cNvSpPr>
          <p:nvPr>
            <p:ph type="body" sz="quarter" idx="13" hasCustomPrompt="1"/>
          </p:nvPr>
        </p:nvSpPr>
        <p:spPr>
          <a:xfrm>
            <a:off x="330201" y="1881188"/>
            <a:ext cx="10734674" cy="4427537"/>
          </a:xfrm>
          <a:prstGeom prst="rect">
            <a:avLst/>
          </a:prstGeom>
        </p:spPr>
        <p:txBody>
          <a:bodyPr/>
          <a:lstStyle>
            <a:lvl1pPr>
              <a:defRPr sz="1800">
                <a:latin typeface="M05 Text Office" panose="020B0504040000000004" pitchFamily="34" charset="0"/>
              </a:defRPr>
            </a:lvl1pPr>
            <a:lvl2pPr>
              <a:defRPr sz="1600">
                <a:latin typeface="M05 Text Office" panose="020B0504040000000004" pitchFamily="34" charset="0"/>
              </a:defRPr>
            </a:lvl2pPr>
            <a:lvl3pPr>
              <a:defRPr sz="1400">
                <a:latin typeface="M05 Text Office" panose="020B0504040000000004" pitchFamily="34" charset="0"/>
              </a:defRPr>
            </a:lvl3pPr>
            <a:lvl4pPr>
              <a:defRPr sz="1200">
                <a:latin typeface="M05 Text Office" panose="020B0504040000000004" pitchFamily="34" charset="0"/>
              </a:defRPr>
            </a:lvl4pPr>
            <a:lvl5pPr>
              <a:defRPr sz="1200">
                <a:latin typeface="M05 Text Office" panose="020B0504040000000004" pitchFamily="34" charset="0"/>
              </a:defRPr>
            </a:lvl5pPr>
          </a:lstStyle>
          <a:p>
            <a:pPr lvl="0"/>
            <a:r>
              <a:rPr lang="de-DE"/>
              <a:t>Mastertextformat bearbeiten M05 Text PT 18</a:t>
            </a:r>
          </a:p>
          <a:p>
            <a:pPr lvl="1"/>
            <a:r>
              <a:rPr lang="de-DE"/>
              <a:t>Zweite Ebene</a:t>
            </a:r>
          </a:p>
          <a:p>
            <a:pPr lvl="2"/>
            <a:r>
              <a:rPr lang="de-DE"/>
              <a:t>Dritte Ebene</a:t>
            </a:r>
          </a:p>
          <a:p>
            <a:pPr lvl="3"/>
            <a:r>
              <a:rPr lang="de-DE"/>
              <a:t>Vierte Ebene</a:t>
            </a:r>
          </a:p>
          <a:p>
            <a:pPr lvl="4"/>
            <a:r>
              <a:rPr lang="de-DE"/>
              <a:t>Fünfte Ebene</a:t>
            </a:r>
          </a:p>
        </p:txBody>
      </p:sp>
      <p:sp>
        <p:nvSpPr>
          <p:cNvPr id="2" name="Titel 1">
            <a:extLst>
              <a:ext uri="{FF2B5EF4-FFF2-40B4-BE49-F238E27FC236}">
                <a16:creationId xmlns:a16="http://schemas.microsoft.com/office/drawing/2014/main" id="{90DE505C-55C5-48CB-B218-35FCAFE20612}"/>
              </a:ext>
            </a:extLst>
          </p:cNvPr>
          <p:cNvSpPr>
            <a:spLocks noGrp="1"/>
          </p:cNvSpPr>
          <p:nvPr>
            <p:ph type="title" hasCustomPrompt="1"/>
          </p:nvPr>
        </p:nvSpPr>
        <p:spPr>
          <a:xfrm>
            <a:off x="330201" y="550151"/>
            <a:ext cx="10728000" cy="702000"/>
          </a:xfrm>
        </p:spPr>
        <p:txBody>
          <a:bodyPr/>
          <a:lstStyle>
            <a:lvl1pPr>
              <a:defRPr cap="all" baseline="0">
                <a:latin typeface="M05 Text Office Bold" panose="020B0804040000000004" pitchFamily="34" charset="0"/>
              </a:defRPr>
            </a:lvl1pPr>
          </a:lstStyle>
          <a:p>
            <a:r>
              <a:rPr lang="de-DE"/>
              <a:t>MASTERTITELFORMAT BEARBEITEN </a:t>
            </a:r>
          </a:p>
        </p:txBody>
      </p:sp>
      <p:sp>
        <p:nvSpPr>
          <p:cNvPr id="8" name="Foliennummernplatzhalter 52">
            <a:extLst>
              <a:ext uri="{FF2B5EF4-FFF2-40B4-BE49-F238E27FC236}">
                <a16:creationId xmlns:a16="http://schemas.microsoft.com/office/drawing/2014/main" id="{B06CB913-E055-46EA-A87C-3D364F23DD5F}"/>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0" name="Textplatzhalter 3">
            <a:extLst>
              <a:ext uri="{FF2B5EF4-FFF2-40B4-BE49-F238E27FC236}">
                <a16:creationId xmlns:a16="http://schemas.microsoft.com/office/drawing/2014/main" id="{5A9B508C-1111-41C5-B21B-24F7A588F801}"/>
              </a:ext>
            </a:extLst>
          </p:cNvPr>
          <p:cNvSpPr>
            <a:spLocks noGrp="1"/>
          </p:cNvSpPr>
          <p:nvPr>
            <p:ph type="body" sz="quarter" idx="14"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Tree>
    <p:extLst>
      <p:ext uri="{BB962C8B-B14F-4D97-AF65-F5344CB8AC3E}">
        <p14:creationId xmlns:p14="http://schemas.microsoft.com/office/powerpoint/2010/main" val="22964792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ext &amp; 2 Bilder rechts">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470917F-44CE-4D97-98E7-00F6C22BF846}"/>
              </a:ext>
            </a:extLst>
          </p:cNvPr>
          <p:cNvSpPr>
            <a:spLocks noGrp="1"/>
          </p:cNvSpPr>
          <p:nvPr>
            <p:ph type="sldNum" sz="quarter" idx="10"/>
          </p:nvPr>
        </p:nvSpPr>
        <p:spPr/>
        <p:txBody>
          <a:bodyPr/>
          <a:lstStyle>
            <a:lvl1pPr>
              <a:defRPr>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3" name="Bildplatzhalter 12">
            <a:extLst>
              <a:ext uri="{FF2B5EF4-FFF2-40B4-BE49-F238E27FC236}">
                <a16:creationId xmlns:a16="http://schemas.microsoft.com/office/drawing/2014/main" id="{6922D3FA-8EFF-4DC2-B570-CF09AE60435A}"/>
              </a:ext>
            </a:extLst>
          </p:cNvPr>
          <p:cNvSpPr>
            <a:spLocks noGrp="1"/>
          </p:cNvSpPr>
          <p:nvPr>
            <p:ph type="pic" sz="quarter" idx="13"/>
          </p:nvPr>
        </p:nvSpPr>
        <p:spPr>
          <a:xfrm>
            <a:off x="7045484" y="1881188"/>
            <a:ext cx="4010025" cy="2150485"/>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15" name="Textplatzhalter 14">
            <a:extLst>
              <a:ext uri="{FF2B5EF4-FFF2-40B4-BE49-F238E27FC236}">
                <a16:creationId xmlns:a16="http://schemas.microsoft.com/office/drawing/2014/main" id="{B6D77A1A-2F41-4D0A-B304-31CF9B8FEAFC}"/>
              </a:ext>
            </a:extLst>
          </p:cNvPr>
          <p:cNvSpPr>
            <a:spLocks noGrp="1"/>
          </p:cNvSpPr>
          <p:nvPr>
            <p:ph type="body" sz="quarter" idx="14" hasCustomPrompt="1"/>
          </p:nvPr>
        </p:nvSpPr>
        <p:spPr>
          <a:xfrm>
            <a:off x="330201" y="1881188"/>
            <a:ext cx="6540499" cy="4427537"/>
          </a:xfrm>
          <a:prstGeom prst="rect">
            <a:avLst/>
          </a:prstGeom>
        </p:spPr>
        <p:txBody>
          <a:bodyPr/>
          <a:lstStyle>
            <a:lvl1pPr>
              <a:defRPr>
                <a:latin typeface="M05 Text Office" panose="020B0504040000000004" pitchFamily="34" charset="0"/>
              </a:defRPr>
            </a:lvl1pPr>
            <a:lvl2pPr>
              <a:defRPr>
                <a:latin typeface="M05 Text Office" panose="020B0504040000000004" pitchFamily="34" charset="0"/>
              </a:defRPr>
            </a:lvl2pPr>
            <a:lvl3pPr>
              <a:defRPr>
                <a:latin typeface="M05 Text Office" panose="020B0504040000000004" pitchFamily="34" charset="0"/>
              </a:defRPr>
            </a:lvl3pPr>
            <a:lvl4pPr>
              <a:defRPr>
                <a:latin typeface="M05 Text Office" panose="020B0504040000000004" pitchFamily="34" charset="0"/>
              </a:defRPr>
            </a:lvl4pPr>
            <a:lvl5pPr>
              <a:defRPr>
                <a:latin typeface="M05 Text Office" panose="020B0504040000000004" pitchFamily="34" charset="0"/>
              </a:defRPr>
            </a:lvl5pPr>
          </a:lstStyle>
          <a:p>
            <a:pPr lvl="0"/>
            <a:r>
              <a:rPr lang="de-DE"/>
              <a:t>Mastertextformat bearbeiten M05 Text Regular PT 18</a:t>
            </a:r>
          </a:p>
          <a:p>
            <a:pPr lvl="1"/>
            <a:r>
              <a:rPr lang="de-DE"/>
              <a:t>Zweite Ebene</a:t>
            </a:r>
          </a:p>
          <a:p>
            <a:pPr lvl="2"/>
            <a:r>
              <a:rPr lang="de-DE"/>
              <a:t>Dritte Ebene</a:t>
            </a:r>
          </a:p>
          <a:p>
            <a:pPr lvl="3"/>
            <a:r>
              <a:rPr lang="de-DE"/>
              <a:t>Vierte Ebene</a:t>
            </a:r>
          </a:p>
          <a:p>
            <a:pPr lvl="4"/>
            <a:r>
              <a:rPr lang="de-DE"/>
              <a:t>Fünfte Ebene</a:t>
            </a:r>
          </a:p>
        </p:txBody>
      </p:sp>
      <p:sp>
        <p:nvSpPr>
          <p:cNvPr id="6" name="Titel 5">
            <a:extLst>
              <a:ext uri="{FF2B5EF4-FFF2-40B4-BE49-F238E27FC236}">
                <a16:creationId xmlns:a16="http://schemas.microsoft.com/office/drawing/2014/main" id="{E792D233-76B7-4EE5-A7D3-B66CF21BBC32}"/>
              </a:ext>
            </a:extLst>
          </p:cNvPr>
          <p:cNvSpPr>
            <a:spLocks noGrp="1"/>
          </p:cNvSpPr>
          <p:nvPr>
            <p:ph type="title"/>
          </p:nvPr>
        </p:nvSpPr>
        <p:spPr/>
        <p:txBody>
          <a:bodyPr/>
          <a:lstStyle>
            <a:lvl1pPr>
              <a:defRPr>
                <a:latin typeface="M05 Text Office Bold" panose="020B0804040000000004" pitchFamily="34" charset="0"/>
              </a:defRPr>
            </a:lvl1pPr>
          </a:lstStyle>
          <a:p>
            <a:r>
              <a:rPr lang="de-DE"/>
              <a:t>Mastertitelformat bearbeiten</a:t>
            </a:r>
          </a:p>
        </p:txBody>
      </p:sp>
      <p:sp>
        <p:nvSpPr>
          <p:cNvPr id="8" name="Textplatzhalter 3">
            <a:extLst>
              <a:ext uri="{FF2B5EF4-FFF2-40B4-BE49-F238E27FC236}">
                <a16:creationId xmlns:a16="http://schemas.microsoft.com/office/drawing/2014/main" id="{9D383C4E-6AF0-487B-AA48-BB1435D56FB7}"/>
              </a:ext>
            </a:extLst>
          </p:cNvPr>
          <p:cNvSpPr>
            <a:spLocks noGrp="1"/>
          </p:cNvSpPr>
          <p:nvPr>
            <p:ph type="body" sz="quarter" idx="15"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7" name="Bildplatzhalter 12">
            <a:extLst>
              <a:ext uri="{FF2B5EF4-FFF2-40B4-BE49-F238E27FC236}">
                <a16:creationId xmlns:a16="http://schemas.microsoft.com/office/drawing/2014/main" id="{2E99522D-1BB3-4942-B3C5-9FB57BBCE617}"/>
              </a:ext>
            </a:extLst>
          </p:cNvPr>
          <p:cNvSpPr>
            <a:spLocks noGrp="1"/>
          </p:cNvSpPr>
          <p:nvPr>
            <p:ph type="pic" sz="quarter" idx="16"/>
          </p:nvPr>
        </p:nvSpPr>
        <p:spPr>
          <a:xfrm>
            <a:off x="7045483" y="4157364"/>
            <a:ext cx="4010025" cy="2150485"/>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Tree>
    <p:extLst>
      <p:ext uri="{BB962C8B-B14F-4D97-AF65-F5344CB8AC3E}">
        <p14:creationId xmlns:p14="http://schemas.microsoft.com/office/powerpoint/2010/main" val="9967551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ild mit schmalen Raster">
    <p:spTree>
      <p:nvGrpSpPr>
        <p:cNvPr id="1" name=""/>
        <p:cNvGrpSpPr/>
        <p:nvPr/>
      </p:nvGrpSpPr>
      <p:grpSpPr>
        <a:xfrm>
          <a:off x="0" y="0"/>
          <a:ext cx="0" cy="0"/>
          <a:chOff x="0" y="0"/>
          <a:chExt cx="0" cy="0"/>
        </a:xfrm>
      </p:grpSpPr>
      <p:grpSp>
        <p:nvGrpSpPr>
          <p:cNvPr id="7" name="Gruppieren 6">
            <a:extLst>
              <a:ext uri="{FF2B5EF4-FFF2-40B4-BE49-F238E27FC236}">
                <a16:creationId xmlns:a16="http://schemas.microsoft.com/office/drawing/2014/main" id="{C00CB7B2-08EA-49A4-807C-C318CEA60317}"/>
              </a:ext>
            </a:extLst>
          </p:cNvPr>
          <p:cNvGrpSpPr>
            <a:grpSpLocks noChangeAspect="1"/>
          </p:cNvGrpSpPr>
          <p:nvPr userDrawn="1"/>
        </p:nvGrpSpPr>
        <p:grpSpPr>
          <a:xfrm>
            <a:off x="11079929" y="0"/>
            <a:ext cx="1112071" cy="1080000"/>
            <a:chOff x="709294" y="281532"/>
            <a:chExt cx="429826" cy="417430"/>
          </a:xfrm>
          <a:solidFill>
            <a:schemeClr val="bg2"/>
          </a:solidFill>
        </p:grpSpPr>
        <p:sp>
          <p:nvSpPr>
            <p:cNvPr id="8" name="Rechteck: eine Ecke abgeschnitten 3">
              <a:extLst>
                <a:ext uri="{FF2B5EF4-FFF2-40B4-BE49-F238E27FC236}">
                  <a16:creationId xmlns:a16="http://schemas.microsoft.com/office/drawing/2014/main" id="{1FA9EA78-EE8C-4C97-8CE2-03F903209D5B}"/>
                </a:ext>
              </a:extLst>
            </p:cNvPr>
            <p:cNvSpPr/>
            <p:nvPr userDrawn="1"/>
          </p:nvSpPr>
          <p:spPr>
            <a:xfrm rot="16200000" flipH="1">
              <a:off x="656291" y="334535"/>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p>
          </p:txBody>
        </p:sp>
        <p:sp>
          <p:nvSpPr>
            <p:cNvPr id="9" name="Rechteck: eine Ecke abgeschnitten 3">
              <a:extLst>
                <a:ext uri="{FF2B5EF4-FFF2-40B4-BE49-F238E27FC236}">
                  <a16:creationId xmlns:a16="http://schemas.microsoft.com/office/drawing/2014/main" id="{93DA1EA0-618E-4A86-A9DD-02F90A875FFA}"/>
                </a:ext>
              </a:extLst>
            </p:cNvPr>
            <p:cNvSpPr/>
            <p:nvPr userDrawn="1"/>
          </p:nvSpPr>
          <p:spPr>
            <a:xfrm rot="5400000" flipH="1">
              <a:off x="656291" y="431046"/>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p>
          </p:txBody>
        </p:sp>
        <p:sp>
          <p:nvSpPr>
            <p:cNvPr id="10" name="Rechteck: eine Ecke abgeschnitten 3">
              <a:extLst>
                <a:ext uri="{FF2B5EF4-FFF2-40B4-BE49-F238E27FC236}">
                  <a16:creationId xmlns:a16="http://schemas.microsoft.com/office/drawing/2014/main" id="{A972FEBA-8FF1-47DF-A873-34822699F16D}"/>
                </a:ext>
              </a:extLst>
            </p:cNvPr>
            <p:cNvSpPr/>
            <p:nvPr userDrawn="1"/>
          </p:nvSpPr>
          <p:spPr>
            <a:xfrm rot="5400000">
              <a:off x="871204" y="334535"/>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p>
          </p:txBody>
        </p:sp>
        <p:sp>
          <p:nvSpPr>
            <p:cNvPr id="11" name="Rechteck: eine Ecke abgeschnitten 3">
              <a:extLst>
                <a:ext uri="{FF2B5EF4-FFF2-40B4-BE49-F238E27FC236}">
                  <a16:creationId xmlns:a16="http://schemas.microsoft.com/office/drawing/2014/main" id="{57D21C30-73D3-4F8E-A6B9-2B7964024491}"/>
                </a:ext>
              </a:extLst>
            </p:cNvPr>
            <p:cNvSpPr/>
            <p:nvPr userDrawn="1"/>
          </p:nvSpPr>
          <p:spPr>
            <a:xfrm rot="5400000" flipH="1" flipV="1">
              <a:off x="871204" y="431046"/>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p>
          </p:txBody>
        </p:sp>
      </p:grpSp>
      <p:sp>
        <p:nvSpPr>
          <p:cNvPr id="12" name="Rechteck 11">
            <a:extLst>
              <a:ext uri="{FF2B5EF4-FFF2-40B4-BE49-F238E27FC236}">
                <a16:creationId xmlns:a16="http://schemas.microsoft.com/office/drawing/2014/main" id="{924E0ECC-44DD-4EEB-B111-8A1B8C935AA8}"/>
              </a:ext>
            </a:extLst>
          </p:cNvPr>
          <p:cNvSpPr/>
          <p:nvPr userDrawn="1"/>
        </p:nvSpPr>
        <p:spPr>
          <a:xfrm>
            <a:off x="11635963" y="1080002"/>
            <a:ext cx="556037" cy="57779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Bildplatzhalter 5">
            <a:extLst>
              <a:ext uri="{FF2B5EF4-FFF2-40B4-BE49-F238E27FC236}">
                <a16:creationId xmlns:a16="http://schemas.microsoft.com/office/drawing/2014/main" id="{2F88D30C-A2AF-4DB6-B863-76067519EE85}"/>
              </a:ext>
            </a:extLst>
          </p:cNvPr>
          <p:cNvSpPr>
            <a:spLocks noGrp="1"/>
          </p:cNvSpPr>
          <p:nvPr>
            <p:ph type="pic" sz="quarter" idx="10"/>
          </p:nvPr>
        </p:nvSpPr>
        <p:spPr>
          <a:xfrm>
            <a:off x="0" y="-8020"/>
            <a:ext cx="11635962" cy="6866019"/>
          </a:xfrm>
          <a:custGeom>
            <a:avLst/>
            <a:gdLst>
              <a:gd name="connsiteX0" fmla="*/ 0 w 11641138"/>
              <a:gd name="connsiteY0" fmla="*/ 0 h 6858000"/>
              <a:gd name="connsiteX1" fmla="*/ 10828328 w 11641138"/>
              <a:gd name="connsiteY1" fmla="*/ 0 h 6858000"/>
              <a:gd name="connsiteX2" fmla="*/ 11641138 w 11641138"/>
              <a:gd name="connsiteY2" fmla="*/ 812810 h 6858000"/>
              <a:gd name="connsiteX3" fmla="*/ 11641138 w 11641138"/>
              <a:gd name="connsiteY3" fmla="*/ 6858000 h 6858000"/>
              <a:gd name="connsiteX4" fmla="*/ 0 w 11641138"/>
              <a:gd name="connsiteY4" fmla="*/ 6858000 h 6858000"/>
              <a:gd name="connsiteX5" fmla="*/ 0 w 11641138"/>
              <a:gd name="connsiteY5" fmla="*/ 0 h 6858000"/>
              <a:gd name="connsiteX0" fmla="*/ 0 w 11641138"/>
              <a:gd name="connsiteY0" fmla="*/ 0 h 6858000"/>
              <a:gd name="connsiteX1" fmla="*/ 11066533 w 11641138"/>
              <a:gd name="connsiteY1" fmla="*/ 7684 h 6858000"/>
              <a:gd name="connsiteX2" fmla="*/ 11641138 w 11641138"/>
              <a:gd name="connsiteY2" fmla="*/ 812810 h 6858000"/>
              <a:gd name="connsiteX3" fmla="*/ 11641138 w 11641138"/>
              <a:gd name="connsiteY3" fmla="*/ 6858000 h 6858000"/>
              <a:gd name="connsiteX4" fmla="*/ 0 w 11641138"/>
              <a:gd name="connsiteY4" fmla="*/ 6858000 h 6858000"/>
              <a:gd name="connsiteX5" fmla="*/ 0 w 11641138"/>
              <a:gd name="connsiteY5" fmla="*/ 0 h 6858000"/>
              <a:gd name="connsiteX0" fmla="*/ 0 w 11641138"/>
              <a:gd name="connsiteY0" fmla="*/ 23052 h 6881052"/>
              <a:gd name="connsiteX1" fmla="*/ 11066533 w 11641138"/>
              <a:gd name="connsiteY1" fmla="*/ 30736 h 6881052"/>
              <a:gd name="connsiteX2" fmla="*/ 11041956 w 11641138"/>
              <a:gd name="connsiteY2" fmla="*/ 0 h 6881052"/>
              <a:gd name="connsiteX3" fmla="*/ 11641138 w 11641138"/>
              <a:gd name="connsiteY3" fmla="*/ 835862 h 6881052"/>
              <a:gd name="connsiteX4" fmla="*/ 11641138 w 11641138"/>
              <a:gd name="connsiteY4" fmla="*/ 6881052 h 6881052"/>
              <a:gd name="connsiteX5" fmla="*/ 0 w 11641138"/>
              <a:gd name="connsiteY5" fmla="*/ 6881052 h 6881052"/>
              <a:gd name="connsiteX6" fmla="*/ 0 w 11641138"/>
              <a:gd name="connsiteY6" fmla="*/ 23052 h 6881052"/>
              <a:gd name="connsiteX0" fmla="*/ 0 w 11641138"/>
              <a:gd name="connsiteY0" fmla="*/ 23052 h 6881052"/>
              <a:gd name="connsiteX1" fmla="*/ 10859065 w 11641138"/>
              <a:gd name="connsiteY1" fmla="*/ 23052 h 6881052"/>
              <a:gd name="connsiteX2" fmla="*/ 11041956 w 11641138"/>
              <a:gd name="connsiteY2" fmla="*/ 0 h 6881052"/>
              <a:gd name="connsiteX3" fmla="*/ 11641138 w 11641138"/>
              <a:gd name="connsiteY3" fmla="*/ 835862 h 6881052"/>
              <a:gd name="connsiteX4" fmla="*/ 11641138 w 11641138"/>
              <a:gd name="connsiteY4" fmla="*/ 6881052 h 6881052"/>
              <a:gd name="connsiteX5" fmla="*/ 0 w 11641138"/>
              <a:gd name="connsiteY5" fmla="*/ 6881052 h 6881052"/>
              <a:gd name="connsiteX6" fmla="*/ 0 w 11641138"/>
              <a:gd name="connsiteY6" fmla="*/ 23052 h 6881052"/>
              <a:gd name="connsiteX0" fmla="*/ 0 w 11641138"/>
              <a:gd name="connsiteY0" fmla="*/ 0 h 6858000"/>
              <a:gd name="connsiteX1" fmla="*/ 10859065 w 11641138"/>
              <a:gd name="connsiteY1" fmla="*/ 0 h 6858000"/>
              <a:gd name="connsiteX2" fmla="*/ 11088060 w 11641138"/>
              <a:gd name="connsiteY2" fmla="*/ 199785 h 6858000"/>
              <a:gd name="connsiteX3" fmla="*/ 11641138 w 11641138"/>
              <a:gd name="connsiteY3" fmla="*/ 812810 h 6858000"/>
              <a:gd name="connsiteX4" fmla="*/ 11641138 w 11641138"/>
              <a:gd name="connsiteY4" fmla="*/ 6858000 h 6858000"/>
              <a:gd name="connsiteX5" fmla="*/ 0 w 11641138"/>
              <a:gd name="connsiteY5" fmla="*/ 6858000 h 6858000"/>
              <a:gd name="connsiteX6" fmla="*/ 0 w 11641138"/>
              <a:gd name="connsiteY6" fmla="*/ 0 h 6858000"/>
              <a:gd name="connsiteX0" fmla="*/ 0 w 11641138"/>
              <a:gd name="connsiteY0" fmla="*/ 7684 h 6865684"/>
              <a:gd name="connsiteX1" fmla="*/ 11051165 w 11641138"/>
              <a:gd name="connsiteY1" fmla="*/ 0 h 6865684"/>
              <a:gd name="connsiteX2" fmla="*/ 11088060 w 11641138"/>
              <a:gd name="connsiteY2" fmla="*/ 207469 h 6865684"/>
              <a:gd name="connsiteX3" fmla="*/ 11641138 w 11641138"/>
              <a:gd name="connsiteY3" fmla="*/ 820494 h 6865684"/>
              <a:gd name="connsiteX4" fmla="*/ 11641138 w 11641138"/>
              <a:gd name="connsiteY4" fmla="*/ 6865684 h 6865684"/>
              <a:gd name="connsiteX5" fmla="*/ 0 w 11641138"/>
              <a:gd name="connsiteY5" fmla="*/ 6865684 h 6865684"/>
              <a:gd name="connsiteX6" fmla="*/ 0 w 11641138"/>
              <a:gd name="connsiteY6" fmla="*/ 7684 h 6865684"/>
              <a:gd name="connsiteX0" fmla="*/ 0 w 11641138"/>
              <a:gd name="connsiteY0" fmla="*/ 7684 h 6865684"/>
              <a:gd name="connsiteX1" fmla="*/ 11088915 w 11641138"/>
              <a:gd name="connsiteY1" fmla="*/ 0 h 6865684"/>
              <a:gd name="connsiteX2" fmla="*/ 11088060 w 11641138"/>
              <a:gd name="connsiteY2" fmla="*/ 207469 h 6865684"/>
              <a:gd name="connsiteX3" fmla="*/ 11641138 w 11641138"/>
              <a:gd name="connsiteY3" fmla="*/ 820494 h 6865684"/>
              <a:gd name="connsiteX4" fmla="*/ 11641138 w 11641138"/>
              <a:gd name="connsiteY4" fmla="*/ 6865684 h 6865684"/>
              <a:gd name="connsiteX5" fmla="*/ 0 w 11641138"/>
              <a:gd name="connsiteY5" fmla="*/ 6865684 h 6865684"/>
              <a:gd name="connsiteX6" fmla="*/ 0 w 11641138"/>
              <a:gd name="connsiteY6" fmla="*/ 7684 h 6865684"/>
              <a:gd name="connsiteX0" fmla="*/ 0 w 11641138"/>
              <a:gd name="connsiteY0" fmla="*/ 4346 h 6862346"/>
              <a:gd name="connsiteX1" fmla="*/ 11092252 w 11641138"/>
              <a:gd name="connsiteY1" fmla="*/ 0 h 6862346"/>
              <a:gd name="connsiteX2" fmla="*/ 11088060 w 11641138"/>
              <a:gd name="connsiteY2" fmla="*/ 204131 h 6862346"/>
              <a:gd name="connsiteX3" fmla="*/ 11641138 w 11641138"/>
              <a:gd name="connsiteY3" fmla="*/ 817156 h 6862346"/>
              <a:gd name="connsiteX4" fmla="*/ 11641138 w 11641138"/>
              <a:gd name="connsiteY4" fmla="*/ 6862346 h 6862346"/>
              <a:gd name="connsiteX5" fmla="*/ 0 w 11641138"/>
              <a:gd name="connsiteY5" fmla="*/ 6862346 h 6862346"/>
              <a:gd name="connsiteX6" fmla="*/ 0 w 11641138"/>
              <a:gd name="connsiteY6" fmla="*/ 4346 h 6862346"/>
              <a:gd name="connsiteX0" fmla="*/ 0 w 11641138"/>
              <a:gd name="connsiteY0" fmla="*/ 7683 h 6865683"/>
              <a:gd name="connsiteX1" fmla="*/ 11082240 w 11641138"/>
              <a:gd name="connsiteY1" fmla="*/ 0 h 6865683"/>
              <a:gd name="connsiteX2" fmla="*/ 11088060 w 11641138"/>
              <a:gd name="connsiteY2" fmla="*/ 207468 h 6865683"/>
              <a:gd name="connsiteX3" fmla="*/ 11641138 w 11641138"/>
              <a:gd name="connsiteY3" fmla="*/ 820493 h 6865683"/>
              <a:gd name="connsiteX4" fmla="*/ 11641138 w 11641138"/>
              <a:gd name="connsiteY4" fmla="*/ 6865683 h 6865683"/>
              <a:gd name="connsiteX5" fmla="*/ 0 w 11641138"/>
              <a:gd name="connsiteY5" fmla="*/ 6865683 h 6865683"/>
              <a:gd name="connsiteX6" fmla="*/ 0 w 11641138"/>
              <a:gd name="connsiteY6" fmla="*/ 7683 h 6865683"/>
              <a:gd name="connsiteX0" fmla="*/ 0 w 11641138"/>
              <a:gd name="connsiteY0" fmla="*/ 7683 h 6865683"/>
              <a:gd name="connsiteX1" fmla="*/ 11082240 w 11641138"/>
              <a:gd name="connsiteY1" fmla="*/ 0 h 6865683"/>
              <a:gd name="connsiteX2" fmla="*/ 11081385 w 11641138"/>
              <a:gd name="connsiteY2" fmla="*/ 207468 h 6865683"/>
              <a:gd name="connsiteX3" fmla="*/ 11641138 w 11641138"/>
              <a:gd name="connsiteY3" fmla="*/ 820493 h 6865683"/>
              <a:gd name="connsiteX4" fmla="*/ 11641138 w 11641138"/>
              <a:gd name="connsiteY4" fmla="*/ 6865683 h 6865683"/>
              <a:gd name="connsiteX5" fmla="*/ 0 w 11641138"/>
              <a:gd name="connsiteY5" fmla="*/ 6865683 h 6865683"/>
              <a:gd name="connsiteX6" fmla="*/ 0 w 11641138"/>
              <a:gd name="connsiteY6" fmla="*/ 7683 h 6865683"/>
              <a:gd name="connsiteX0" fmla="*/ 0 w 11641138"/>
              <a:gd name="connsiteY0" fmla="*/ 5107 h 6865683"/>
              <a:gd name="connsiteX1" fmla="*/ 11082240 w 11641138"/>
              <a:gd name="connsiteY1" fmla="*/ 0 h 6865683"/>
              <a:gd name="connsiteX2" fmla="*/ 11081385 w 11641138"/>
              <a:gd name="connsiteY2" fmla="*/ 207468 h 6865683"/>
              <a:gd name="connsiteX3" fmla="*/ 11641138 w 11641138"/>
              <a:gd name="connsiteY3" fmla="*/ 820493 h 6865683"/>
              <a:gd name="connsiteX4" fmla="*/ 11641138 w 11641138"/>
              <a:gd name="connsiteY4" fmla="*/ 6865683 h 6865683"/>
              <a:gd name="connsiteX5" fmla="*/ 0 w 11641138"/>
              <a:gd name="connsiteY5" fmla="*/ 6865683 h 6865683"/>
              <a:gd name="connsiteX6" fmla="*/ 0 w 11641138"/>
              <a:gd name="connsiteY6" fmla="*/ 5107 h 6865683"/>
              <a:gd name="connsiteX0" fmla="*/ 0 w 11641138"/>
              <a:gd name="connsiteY0" fmla="*/ 5107 h 6865683"/>
              <a:gd name="connsiteX1" fmla="*/ 11079665 w 11641138"/>
              <a:gd name="connsiteY1" fmla="*/ 0 h 6865683"/>
              <a:gd name="connsiteX2" fmla="*/ 11081385 w 11641138"/>
              <a:gd name="connsiteY2" fmla="*/ 207468 h 6865683"/>
              <a:gd name="connsiteX3" fmla="*/ 11641138 w 11641138"/>
              <a:gd name="connsiteY3" fmla="*/ 820493 h 6865683"/>
              <a:gd name="connsiteX4" fmla="*/ 11641138 w 11641138"/>
              <a:gd name="connsiteY4" fmla="*/ 6865683 h 6865683"/>
              <a:gd name="connsiteX5" fmla="*/ 0 w 11641138"/>
              <a:gd name="connsiteY5" fmla="*/ 6865683 h 6865683"/>
              <a:gd name="connsiteX6" fmla="*/ 0 w 11641138"/>
              <a:gd name="connsiteY6" fmla="*/ 5107 h 6865683"/>
              <a:gd name="connsiteX0" fmla="*/ 0 w 11641138"/>
              <a:gd name="connsiteY0" fmla="*/ 5107 h 6865683"/>
              <a:gd name="connsiteX1" fmla="*/ 11079665 w 11641138"/>
              <a:gd name="connsiteY1" fmla="*/ 0 h 6865683"/>
              <a:gd name="connsiteX2" fmla="*/ 11078809 w 11641138"/>
              <a:gd name="connsiteY2" fmla="*/ 212619 h 6865683"/>
              <a:gd name="connsiteX3" fmla="*/ 11641138 w 11641138"/>
              <a:gd name="connsiteY3" fmla="*/ 820493 h 6865683"/>
              <a:gd name="connsiteX4" fmla="*/ 11641138 w 11641138"/>
              <a:gd name="connsiteY4" fmla="*/ 6865683 h 6865683"/>
              <a:gd name="connsiteX5" fmla="*/ 0 w 11641138"/>
              <a:gd name="connsiteY5" fmla="*/ 6865683 h 6865683"/>
              <a:gd name="connsiteX6" fmla="*/ 0 w 11641138"/>
              <a:gd name="connsiteY6" fmla="*/ 5107 h 6865683"/>
              <a:gd name="connsiteX0" fmla="*/ 0 w 11641138"/>
              <a:gd name="connsiteY0" fmla="*/ 2385 h 6865683"/>
              <a:gd name="connsiteX1" fmla="*/ 11079665 w 11641138"/>
              <a:gd name="connsiteY1" fmla="*/ 0 h 6865683"/>
              <a:gd name="connsiteX2" fmla="*/ 11078809 w 11641138"/>
              <a:gd name="connsiteY2" fmla="*/ 212619 h 6865683"/>
              <a:gd name="connsiteX3" fmla="*/ 11641138 w 11641138"/>
              <a:gd name="connsiteY3" fmla="*/ 820493 h 6865683"/>
              <a:gd name="connsiteX4" fmla="*/ 11641138 w 11641138"/>
              <a:gd name="connsiteY4" fmla="*/ 6865683 h 6865683"/>
              <a:gd name="connsiteX5" fmla="*/ 0 w 11641138"/>
              <a:gd name="connsiteY5" fmla="*/ 6865683 h 6865683"/>
              <a:gd name="connsiteX6" fmla="*/ 0 w 11641138"/>
              <a:gd name="connsiteY6" fmla="*/ 2385 h 6865683"/>
              <a:gd name="connsiteX0" fmla="*/ 0 w 11641138"/>
              <a:gd name="connsiteY0" fmla="*/ 0 h 6866019"/>
              <a:gd name="connsiteX1" fmla="*/ 11079665 w 11641138"/>
              <a:gd name="connsiteY1" fmla="*/ 336 h 6866019"/>
              <a:gd name="connsiteX2" fmla="*/ 11078809 w 11641138"/>
              <a:gd name="connsiteY2" fmla="*/ 212955 h 6866019"/>
              <a:gd name="connsiteX3" fmla="*/ 11641138 w 11641138"/>
              <a:gd name="connsiteY3" fmla="*/ 820829 h 6866019"/>
              <a:gd name="connsiteX4" fmla="*/ 11641138 w 11641138"/>
              <a:gd name="connsiteY4" fmla="*/ 6866019 h 6866019"/>
              <a:gd name="connsiteX5" fmla="*/ 0 w 11641138"/>
              <a:gd name="connsiteY5" fmla="*/ 6866019 h 6866019"/>
              <a:gd name="connsiteX6" fmla="*/ 0 w 11641138"/>
              <a:gd name="connsiteY6" fmla="*/ 0 h 6866019"/>
              <a:gd name="connsiteX0" fmla="*/ 0 w 11641138"/>
              <a:gd name="connsiteY0" fmla="*/ 0 h 6866019"/>
              <a:gd name="connsiteX1" fmla="*/ 11090687 w 11641138"/>
              <a:gd name="connsiteY1" fmla="*/ 336 h 6866019"/>
              <a:gd name="connsiteX2" fmla="*/ 11078809 w 11641138"/>
              <a:gd name="connsiteY2" fmla="*/ 212955 h 6866019"/>
              <a:gd name="connsiteX3" fmla="*/ 11641138 w 11641138"/>
              <a:gd name="connsiteY3" fmla="*/ 820829 h 6866019"/>
              <a:gd name="connsiteX4" fmla="*/ 11641138 w 11641138"/>
              <a:gd name="connsiteY4" fmla="*/ 6866019 h 6866019"/>
              <a:gd name="connsiteX5" fmla="*/ 0 w 11641138"/>
              <a:gd name="connsiteY5" fmla="*/ 6866019 h 6866019"/>
              <a:gd name="connsiteX6" fmla="*/ 0 w 11641138"/>
              <a:gd name="connsiteY6" fmla="*/ 0 h 6866019"/>
              <a:gd name="connsiteX0" fmla="*/ 0 w 11641138"/>
              <a:gd name="connsiteY0" fmla="*/ 0 h 6866019"/>
              <a:gd name="connsiteX1" fmla="*/ 11090687 w 11641138"/>
              <a:gd name="connsiteY1" fmla="*/ 336 h 6866019"/>
              <a:gd name="connsiteX2" fmla="*/ 11084320 w 11641138"/>
              <a:gd name="connsiteY2" fmla="*/ 218463 h 6866019"/>
              <a:gd name="connsiteX3" fmla="*/ 11641138 w 11641138"/>
              <a:gd name="connsiteY3" fmla="*/ 820829 h 6866019"/>
              <a:gd name="connsiteX4" fmla="*/ 11641138 w 11641138"/>
              <a:gd name="connsiteY4" fmla="*/ 6866019 h 6866019"/>
              <a:gd name="connsiteX5" fmla="*/ 0 w 11641138"/>
              <a:gd name="connsiteY5" fmla="*/ 6866019 h 6866019"/>
              <a:gd name="connsiteX6" fmla="*/ 0 w 11641138"/>
              <a:gd name="connsiteY6" fmla="*/ 0 h 6866019"/>
              <a:gd name="connsiteX0" fmla="*/ 0 w 11641138"/>
              <a:gd name="connsiteY0" fmla="*/ 0 h 6866019"/>
              <a:gd name="connsiteX1" fmla="*/ 11090687 w 11641138"/>
              <a:gd name="connsiteY1" fmla="*/ 336 h 6866019"/>
              <a:gd name="connsiteX2" fmla="*/ 11092586 w 11641138"/>
              <a:gd name="connsiteY2" fmla="*/ 218463 h 6866019"/>
              <a:gd name="connsiteX3" fmla="*/ 11641138 w 11641138"/>
              <a:gd name="connsiteY3" fmla="*/ 820829 h 6866019"/>
              <a:gd name="connsiteX4" fmla="*/ 11641138 w 11641138"/>
              <a:gd name="connsiteY4" fmla="*/ 6866019 h 6866019"/>
              <a:gd name="connsiteX5" fmla="*/ 0 w 11641138"/>
              <a:gd name="connsiteY5" fmla="*/ 6866019 h 6866019"/>
              <a:gd name="connsiteX6" fmla="*/ 0 w 11641138"/>
              <a:gd name="connsiteY6" fmla="*/ 0 h 6866019"/>
              <a:gd name="connsiteX0" fmla="*/ 0 w 11641138"/>
              <a:gd name="connsiteY0" fmla="*/ 0 h 6866019"/>
              <a:gd name="connsiteX1" fmla="*/ 11090687 w 11641138"/>
              <a:gd name="connsiteY1" fmla="*/ 336 h 6866019"/>
              <a:gd name="connsiteX2" fmla="*/ 11089831 w 11641138"/>
              <a:gd name="connsiteY2" fmla="*/ 218463 h 6866019"/>
              <a:gd name="connsiteX3" fmla="*/ 11641138 w 11641138"/>
              <a:gd name="connsiteY3" fmla="*/ 820829 h 6866019"/>
              <a:gd name="connsiteX4" fmla="*/ 11641138 w 11641138"/>
              <a:gd name="connsiteY4" fmla="*/ 6866019 h 6866019"/>
              <a:gd name="connsiteX5" fmla="*/ 0 w 11641138"/>
              <a:gd name="connsiteY5" fmla="*/ 6866019 h 6866019"/>
              <a:gd name="connsiteX6" fmla="*/ 0 w 11641138"/>
              <a:gd name="connsiteY6" fmla="*/ 0 h 686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41138" h="6866019">
                <a:moveTo>
                  <a:pt x="0" y="0"/>
                </a:moveTo>
                <a:lnTo>
                  <a:pt x="11090687" y="336"/>
                </a:lnTo>
                <a:cubicBezTo>
                  <a:pt x="11089290" y="68380"/>
                  <a:pt x="11091228" y="150419"/>
                  <a:pt x="11089831" y="218463"/>
                </a:cubicBezTo>
                <a:lnTo>
                  <a:pt x="11641138" y="820829"/>
                </a:lnTo>
                <a:lnTo>
                  <a:pt x="11641138" y="6866019"/>
                </a:lnTo>
                <a:lnTo>
                  <a:pt x="0" y="6866019"/>
                </a:lnTo>
                <a:lnTo>
                  <a:pt x="0" y="0"/>
                </a:lnTo>
                <a:close/>
              </a:path>
            </a:pathLst>
          </a:cu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Tree>
    <p:extLst>
      <p:ext uri="{BB962C8B-B14F-4D97-AF65-F5344CB8AC3E}">
        <p14:creationId xmlns:p14="http://schemas.microsoft.com/office/powerpoint/2010/main" val="34566020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ild mit grobem Raster">
    <p:bg>
      <p:bgPr>
        <a:solidFill>
          <a:schemeClr val="accent2">
            <a:alpha val="44000"/>
          </a:schemeClr>
        </a:solidFill>
        <a:effectLst/>
      </p:bgPr>
    </p:bg>
    <p:spTree>
      <p:nvGrpSpPr>
        <p:cNvPr id="1" name=""/>
        <p:cNvGrpSpPr/>
        <p:nvPr/>
      </p:nvGrpSpPr>
      <p:grpSpPr>
        <a:xfrm>
          <a:off x="0" y="0"/>
          <a:ext cx="0" cy="0"/>
          <a:chOff x="0" y="0"/>
          <a:chExt cx="0" cy="0"/>
        </a:xfrm>
      </p:grpSpPr>
      <p:pic>
        <p:nvPicPr>
          <p:cNvPr id="10" name="Grafik 9" descr="M05_raster_A4-Q_Vorlage.pdf - Adobe Acrobat Reader DC">
            <a:extLst>
              <a:ext uri="{FF2B5EF4-FFF2-40B4-BE49-F238E27FC236}">
                <a16:creationId xmlns:a16="http://schemas.microsoft.com/office/drawing/2014/main" id="{626AB2C5-C1C6-4634-932D-32DC1810EF3A}"/>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2119" t="14484" r="7085" b="19325"/>
          <a:stretch/>
        </p:blipFill>
        <p:spPr>
          <a:xfrm>
            <a:off x="0" y="0"/>
            <a:ext cx="12192000" cy="6858000"/>
          </a:xfrm>
          <a:prstGeom prst="rect">
            <a:avLst/>
          </a:prstGeom>
          <a:ln>
            <a:noFill/>
          </a:ln>
        </p:spPr>
      </p:pic>
      <p:sp>
        <p:nvSpPr>
          <p:cNvPr id="20" name="Bildplatzhalter 19">
            <a:extLst>
              <a:ext uri="{FF2B5EF4-FFF2-40B4-BE49-F238E27FC236}">
                <a16:creationId xmlns:a16="http://schemas.microsoft.com/office/drawing/2014/main" id="{A6D35642-2DE7-4FA1-BBB9-36B9E72A5816}"/>
              </a:ext>
            </a:extLst>
          </p:cNvPr>
          <p:cNvSpPr>
            <a:spLocks noGrp="1"/>
          </p:cNvSpPr>
          <p:nvPr>
            <p:ph type="pic" sz="quarter" idx="10"/>
          </p:nvPr>
        </p:nvSpPr>
        <p:spPr>
          <a:xfrm>
            <a:off x="0" y="0"/>
            <a:ext cx="10191750" cy="6858000"/>
          </a:xfrm>
          <a:custGeom>
            <a:avLst/>
            <a:gdLst>
              <a:gd name="connsiteX0" fmla="*/ 0 w 10172700"/>
              <a:gd name="connsiteY0" fmla="*/ 0 h 6858000"/>
              <a:gd name="connsiteX1" fmla="*/ 6743700 w 10172700"/>
              <a:gd name="connsiteY1" fmla="*/ 0 h 6858000"/>
              <a:gd name="connsiteX2" fmla="*/ 10172700 w 10172700"/>
              <a:gd name="connsiteY2" fmla="*/ 3429000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9525 h 6867525"/>
              <a:gd name="connsiteX1" fmla="*/ 4772025 w 10172700"/>
              <a:gd name="connsiteY1" fmla="*/ 0 h 6867525"/>
              <a:gd name="connsiteX2" fmla="*/ 10172700 w 10172700"/>
              <a:gd name="connsiteY2" fmla="*/ 3438525 h 6867525"/>
              <a:gd name="connsiteX3" fmla="*/ 10172700 w 10172700"/>
              <a:gd name="connsiteY3" fmla="*/ 6867525 h 6867525"/>
              <a:gd name="connsiteX4" fmla="*/ 0 w 10172700"/>
              <a:gd name="connsiteY4" fmla="*/ 6867525 h 6867525"/>
              <a:gd name="connsiteX5" fmla="*/ 0 w 10172700"/>
              <a:gd name="connsiteY5" fmla="*/ 9525 h 6867525"/>
              <a:gd name="connsiteX0" fmla="*/ 0 w 10172700"/>
              <a:gd name="connsiteY0" fmla="*/ 9525 h 6867525"/>
              <a:gd name="connsiteX1" fmla="*/ 4772025 w 10172700"/>
              <a:gd name="connsiteY1" fmla="*/ 0 h 6867525"/>
              <a:gd name="connsiteX2" fmla="*/ 9439275 w 10172700"/>
              <a:gd name="connsiteY2" fmla="*/ 4791075 h 6867525"/>
              <a:gd name="connsiteX3" fmla="*/ 10172700 w 10172700"/>
              <a:gd name="connsiteY3" fmla="*/ 6867525 h 6867525"/>
              <a:gd name="connsiteX4" fmla="*/ 0 w 10172700"/>
              <a:gd name="connsiteY4" fmla="*/ 6867525 h 6867525"/>
              <a:gd name="connsiteX5" fmla="*/ 0 w 10172700"/>
              <a:gd name="connsiteY5" fmla="*/ 9525 h 6867525"/>
              <a:gd name="connsiteX0" fmla="*/ 0 w 10191750"/>
              <a:gd name="connsiteY0" fmla="*/ 9525 h 6867525"/>
              <a:gd name="connsiteX1" fmla="*/ 4772025 w 10191750"/>
              <a:gd name="connsiteY1" fmla="*/ 0 h 6867525"/>
              <a:gd name="connsiteX2" fmla="*/ 10191750 w 10191750"/>
              <a:gd name="connsiteY2" fmla="*/ 5572125 h 6867525"/>
              <a:gd name="connsiteX3" fmla="*/ 10172700 w 10191750"/>
              <a:gd name="connsiteY3" fmla="*/ 6867525 h 6867525"/>
              <a:gd name="connsiteX4" fmla="*/ 0 w 10191750"/>
              <a:gd name="connsiteY4" fmla="*/ 6867525 h 6867525"/>
              <a:gd name="connsiteX5" fmla="*/ 0 w 10191750"/>
              <a:gd name="connsiteY5" fmla="*/ 9525 h 6867525"/>
              <a:gd name="connsiteX0" fmla="*/ 0 w 10191750"/>
              <a:gd name="connsiteY0" fmla="*/ 0 h 6858000"/>
              <a:gd name="connsiteX1" fmla="*/ 4076700 w 10191750"/>
              <a:gd name="connsiteY1" fmla="*/ 238125 h 6858000"/>
              <a:gd name="connsiteX2" fmla="*/ 10191750 w 10191750"/>
              <a:gd name="connsiteY2" fmla="*/ 5562600 h 6858000"/>
              <a:gd name="connsiteX3" fmla="*/ 10172700 w 10191750"/>
              <a:gd name="connsiteY3" fmla="*/ 6858000 h 6858000"/>
              <a:gd name="connsiteX4" fmla="*/ 0 w 10191750"/>
              <a:gd name="connsiteY4" fmla="*/ 6858000 h 6858000"/>
              <a:gd name="connsiteX5" fmla="*/ 0 w 10191750"/>
              <a:gd name="connsiteY5" fmla="*/ 0 h 6858000"/>
              <a:gd name="connsiteX0" fmla="*/ 0 w 10191750"/>
              <a:gd name="connsiteY0" fmla="*/ 0 h 6858000"/>
              <a:gd name="connsiteX1" fmla="*/ 4381500 w 10191750"/>
              <a:gd name="connsiteY1" fmla="*/ 0 h 6858000"/>
              <a:gd name="connsiteX2" fmla="*/ 10191750 w 10191750"/>
              <a:gd name="connsiteY2" fmla="*/ 5562600 h 6858000"/>
              <a:gd name="connsiteX3" fmla="*/ 10172700 w 10191750"/>
              <a:gd name="connsiteY3" fmla="*/ 6858000 h 6858000"/>
              <a:gd name="connsiteX4" fmla="*/ 0 w 10191750"/>
              <a:gd name="connsiteY4" fmla="*/ 6858000 h 6858000"/>
              <a:gd name="connsiteX5" fmla="*/ 0 w 10191750"/>
              <a:gd name="connsiteY5" fmla="*/ 0 h 6858000"/>
              <a:gd name="connsiteX0" fmla="*/ 0 w 10172700"/>
              <a:gd name="connsiteY0" fmla="*/ 0 h 6858000"/>
              <a:gd name="connsiteX1" fmla="*/ 4381500 w 10172700"/>
              <a:gd name="connsiteY1" fmla="*/ 0 h 6858000"/>
              <a:gd name="connsiteX2" fmla="*/ 10172700 w 10172700"/>
              <a:gd name="connsiteY2" fmla="*/ 5676900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0 h 6858000"/>
              <a:gd name="connsiteX1" fmla="*/ 4381500 w 10172700"/>
              <a:gd name="connsiteY1" fmla="*/ 0 h 6858000"/>
              <a:gd name="connsiteX2" fmla="*/ 10134600 w 10172700"/>
              <a:gd name="connsiteY2" fmla="*/ 5791200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91750"/>
              <a:gd name="connsiteY0" fmla="*/ 0 h 6858000"/>
              <a:gd name="connsiteX1" fmla="*/ 4381500 w 10191750"/>
              <a:gd name="connsiteY1" fmla="*/ 0 h 6858000"/>
              <a:gd name="connsiteX2" fmla="*/ 10191750 w 10191750"/>
              <a:gd name="connsiteY2" fmla="*/ 5791200 h 6858000"/>
              <a:gd name="connsiteX3" fmla="*/ 10172700 w 10191750"/>
              <a:gd name="connsiteY3" fmla="*/ 6858000 h 6858000"/>
              <a:gd name="connsiteX4" fmla="*/ 0 w 10191750"/>
              <a:gd name="connsiteY4" fmla="*/ 6858000 h 6858000"/>
              <a:gd name="connsiteX5" fmla="*/ 0 w 10191750"/>
              <a:gd name="connsiteY5" fmla="*/ 0 h 6858000"/>
              <a:gd name="connsiteX0" fmla="*/ 0 w 10191750"/>
              <a:gd name="connsiteY0" fmla="*/ 0 h 6858000"/>
              <a:gd name="connsiteX1" fmla="*/ 4400550 w 10191750"/>
              <a:gd name="connsiteY1" fmla="*/ 0 h 6858000"/>
              <a:gd name="connsiteX2" fmla="*/ 10191750 w 10191750"/>
              <a:gd name="connsiteY2" fmla="*/ 5791200 h 6858000"/>
              <a:gd name="connsiteX3" fmla="*/ 10172700 w 10191750"/>
              <a:gd name="connsiteY3" fmla="*/ 6858000 h 6858000"/>
              <a:gd name="connsiteX4" fmla="*/ 0 w 10191750"/>
              <a:gd name="connsiteY4" fmla="*/ 6858000 h 6858000"/>
              <a:gd name="connsiteX5" fmla="*/ 0 w 1019175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91750" h="6858000">
                <a:moveTo>
                  <a:pt x="0" y="0"/>
                </a:moveTo>
                <a:lnTo>
                  <a:pt x="4400550" y="0"/>
                </a:lnTo>
                <a:lnTo>
                  <a:pt x="10191750" y="5791200"/>
                </a:lnTo>
                <a:lnTo>
                  <a:pt x="10172700" y="6858000"/>
                </a:lnTo>
                <a:lnTo>
                  <a:pt x="0" y="6858000"/>
                </a:lnTo>
                <a:lnTo>
                  <a:pt x="0" y="0"/>
                </a:lnTo>
                <a:close/>
              </a:path>
            </a:pathLst>
          </a:cu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Tree>
    <p:extLst>
      <p:ext uri="{BB962C8B-B14F-4D97-AF65-F5344CB8AC3E}">
        <p14:creationId xmlns:p14="http://schemas.microsoft.com/office/powerpoint/2010/main" val="30319614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mit Raster rechts r">
    <p:bg>
      <p:bgRef idx="1002">
        <a:schemeClr val="bg1"/>
      </p:bgRef>
    </p:bg>
    <p:spTree>
      <p:nvGrpSpPr>
        <p:cNvPr id="1" name=""/>
        <p:cNvGrpSpPr/>
        <p:nvPr/>
      </p:nvGrpSpPr>
      <p:grpSpPr>
        <a:xfrm>
          <a:off x="0" y="0"/>
          <a:ext cx="0" cy="0"/>
          <a:chOff x="0" y="0"/>
          <a:chExt cx="0" cy="0"/>
        </a:xfrm>
      </p:grpSpPr>
      <p:sp>
        <p:nvSpPr>
          <p:cNvPr id="9" name="Bildplatzhalter 19">
            <a:extLst>
              <a:ext uri="{FF2B5EF4-FFF2-40B4-BE49-F238E27FC236}">
                <a16:creationId xmlns:a16="http://schemas.microsoft.com/office/drawing/2014/main" id="{FD78B86D-D76F-490A-9199-B43295774BAE}"/>
              </a:ext>
            </a:extLst>
          </p:cNvPr>
          <p:cNvSpPr>
            <a:spLocks noGrp="1"/>
          </p:cNvSpPr>
          <p:nvPr>
            <p:ph type="pic" sz="quarter" idx="10"/>
          </p:nvPr>
        </p:nvSpPr>
        <p:spPr>
          <a:xfrm>
            <a:off x="-15584" y="-2717"/>
            <a:ext cx="10198800" cy="6873444"/>
          </a:xfrm>
          <a:custGeom>
            <a:avLst/>
            <a:gdLst>
              <a:gd name="connsiteX0" fmla="*/ 0 w 10172700"/>
              <a:gd name="connsiteY0" fmla="*/ 0 h 6858000"/>
              <a:gd name="connsiteX1" fmla="*/ 6743700 w 10172700"/>
              <a:gd name="connsiteY1" fmla="*/ 0 h 6858000"/>
              <a:gd name="connsiteX2" fmla="*/ 10172700 w 10172700"/>
              <a:gd name="connsiteY2" fmla="*/ 3429000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9525 h 6867525"/>
              <a:gd name="connsiteX1" fmla="*/ 4772025 w 10172700"/>
              <a:gd name="connsiteY1" fmla="*/ 0 h 6867525"/>
              <a:gd name="connsiteX2" fmla="*/ 10172700 w 10172700"/>
              <a:gd name="connsiteY2" fmla="*/ 3438525 h 6867525"/>
              <a:gd name="connsiteX3" fmla="*/ 10172700 w 10172700"/>
              <a:gd name="connsiteY3" fmla="*/ 6867525 h 6867525"/>
              <a:gd name="connsiteX4" fmla="*/ 0 w 10172700"/>
              <a:gd name="connsiteY4" fmla="*/ 6867525 h 6867525"/>
              <a:gd name="connsiteX5" fmla="*/ 0 w 10172700"/>
              <a:gd name="connsiteY5" fmla="*/ 9525 h 6867525"/>
              <a:gd name="connsiteX0" fmla="*/ 0 w 10172700"/>
              <a:gd name="connsiteY0" fmla="*/ 9525 h 6867525"/>
              <a:gd name="connsiteX1" fmla="*/ 4772025 w 10172700"/>
              <a:gd name="connsiteY1" fmla="*/ 0 h 6867525"/>
              <a:gd name="connsiteX2" fmla="*/ 9439275 w 10172700"/>
              <a:gd name="connsiteY2" fmla="*/ 4791075 h 6867525"/>
              <a:gd name="connsiteX3" fmla="*/ 10172700 w 10172700"/>
              <a:gd name="connsiteY3" fmla="*/ 6867525 h 6867525"/>
              <a:gd name="connsiteX4" fmla="*/ 0 w 10172700"/>
              <a:gd name="connsiteY4" fmla="*/ 6867525 h 6867525"/>
              <a:gd name="connsiteX5" fmla="*/ 0 w 10172700"/>
              <a:gd name="connsiteY5" fmla="*/ 9525 h 6867525"/>
              <a:gd name="connsiteX0" fmla="*/ 0 w 10191750"/>
              <a:gd name="connsiteY0" fmla="*/ 9525 h 6867525"/>
              <a:gd name="connsiteX1" fmla="*/ 4772025 w 10191750"/>
              <a:gd name="connsiteY1" fmla="*/ 0 h 6867525"/>
              <a:gd name="connsiteX2" fmla="*/ 10191750 w 10191750"/>
              <a:gd name="connsiteY2" fmla="*/ 5572125 h 6867525"/>
              <a:gd name="connsiteX3" fmla="*/ 10172700 w 10191750"/>
              <a:gd name="connsiteY3" fmla="*/ 6867525 h 6867525"/>
              <a:gd name="connsiteX4" fmla="*/ 0 w 10191750"/>
              <a:gd name="connsiteY4" fmla="*/ 6867525 h 6867525"/>
              <a:gd name="connsiteX5" fmla="*/ 0 w 10191750"/>
              <a:gd name="connsiteY5" fmla="*/ 9525 h 6867525"/>
              <a:gd name="connsiteX0" fmla="*/ 0 w 10191750"/>
              <a:gd name="connsiteY0" fmla="*/ 0 h 6858000"/>
              <a:gd name="connsiteX1" fmla="*/ 4076700 w 10191750"/>
              <a:gd name="connsiteY1" fmla="*/ 238125 h 6858000"/>
              <a:gd name="connsiteX2" fmla="*/ 10191750 w 10191750"/>
              <a:gd name="connsiteY2" fmla="*/ 5562600 h 6858000"/>
              <a:gd name="connsiteX3" fmla="*/ 10172700 w 10191750"/>
              <a:gd name="connsiteY3" fmla="*/ 6858000 h 6858000"/>
              <a:gd name="connsiteX4" fmla="*/ 0 w 10191750"/>
              <a:gd name="connsiteY4" fmla="*/ 6858000 h 6858000"/>
              <a:gd name="connsiteX5" fmla="*/ 0 w 10191750"/>
              <a:gd name="connsiteY5" fmla="*/ 0 h 6858000"/>
              <a:gd name="connsiteX0" fmla="*/ 0 w 10191750"/>
              <a:gd name="connsiteY0" fmla="*/ 0 h 6858000"/>
              <a:gd name="connsiteX1" fmla="*/ 4381500 w 10191750"/>
              <a:gd name="connsiteY1" fmla="*/ 0 h 6858000"/>
              <a:gd name="connsiteX2" fmla="*/ 10191750 w 10191750"/>
              <a:gd name="connsiteY2" fmla="*/ 5562600 h 6858000"/>
              <a:gd name="connsiteX3" fmla="*/ 10172700 w 10191750"/>
              <a:gd name="connsiteY3" fmla="*/ 6858000 h 6858000"/>
              <a:gd name="connsiteX4" fmla="*/ 0 w 10191750"/>
              <a:gd name="connsiteY4" fmla="*/ 6858000 h 6858000"/>
              <a:gd name="connsiteX5" fmla="*/ 0 w 10191750"/>
              <a:gd name="connsiteY5" fmla="*/ 0 h 6858000"/>
              <a:gd name="connsiteX0" fmla="*/ 0 w 10172700"/>
              <a:gd name="connsiteY0" fmla="*/ 0 h 6858000"/>
              <a:gd name="connsiteX1" fmla="*/ 4381500 w 10172700"/>
              <a:gd name="connsiteY1" fmla="*/ 0 h 6858000"/>
              <a:gd name="connsiteX2" fmla="*/ 10172700 w 10172700"/>
              <a:gd name="connsiteY2" fmla="*/ 5676900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0 h 6858000"/>
              <a:gd name="connsiteX1" fmla="*/ 4381500 w 10172700"/>
              <a:gd name="connsiteY1" fmla="*/ 0 h 6858000"/>
              <a:gd name="connsiteX2" fmla="*/ 10134600 w 10172700"/>
              <a:gd name="connsiteY2" fmla="*/ 5791200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91750"/>
              <a:gd name="connsiteY0" fmla="*/ 0 h 6858000"/>
              <a:gd name="connsiteX1" fmla="*/ 4381500 w 10191750"/>
              <a:gd name="connsiteY1" fmla="*/ 0 h 6858000"/>
              <a:gd name="connsiteX2" fmla="*/ 10191750 w 10191750"/>
              <a:gd name="connsiteY2" fmla="*/ 5791200 h 6858000"/>
              <a:gd name="connsiteX3" fmla="*/ 10172700 w 10191750"/>
              <a:gd name="connsiteY3" fmla="*/ 6858000 h 6858000"/>
              <a:gd name="connsiteX4" fmla="*/ 0 w 10191750"/>
              <a:gd name="connsiteY4" fmla="*/ 6858000 h 6858000"/>
              <a:gd name="connsiteX5" fmla="*/ 0 w 10191750"/>
              <a:gd name="connsiteY5" fmla="*/ 0 h 6858000"/>
              <a:gd name="connsiteX0" fmla="*/ 0 w 10191750"/>
              <a:gd name="connsiteY0" fmla="*/ 0 h 6858000"/>
              <a:gd name="connsiteX1" fmla="*/ 4400550 w 10191750"/>
              <a:gd name="connsiteY1" fmla="*/ 0 h 6858000"/>
              <a:gd name="connsiteX2" fmla="*/ 10191750 w 10191750"/>
              <a:gd name="connsiteY2" fmla="*/ 5791200 h 6858000"/>
              <a:gd name="connsiteX3" fmla="*/ 10172700 w 10191750"/>
              <a:gd name="connsiteY3" fmla="*/ 6858000 h 6858000"/>
              <a:gd name="connsiteX4" fmla="*/ 0 w 10191750"/>
              <a:gd name="connsiteY4" fmla="*/ 6858000 h 6858000"/>
              <a:gd name="connsiteX5" fmla="*/ 0 w 10191750"/>
              <a:gd name="connsiteY5" fmla="*/ 0 h 6858000"/>
              <a:gd name="connsiteX0" fmla="*/ 0 w 10191750"/>
              <a:gd name="connsiteY0" fmla="*/ 0 h 6858000"/>
              <a:gd name="connsiteX1" fmla="*/ 7367033 w 10191750"/>
              <a:gd name="connsiteY1" fmla="*/ 10633 h 6858000"/>
              <a:gd name="connsiteX2" fmla="*/ 10191750 w 10191750"/>
              <a:gd name="connsiteY2" fmla="*/ 5791200 h 6858000"/>
              <a:gd name="connsiteX3" fmla="*/ 10172700 w 10191750"/>
              <a:gd name="connsiteY3" fmla="*/ 6858000 h 6858000"/>
              <a:gd name="connsiteX4" fmla="*/ 0 w 10191750"/>
              <a:gd name="connsiteY4" fmla="*/ 6858000 h 6858000"/>
              <a:gd name="connsiteX5" fmla="*/ 0 w 10191750"/>
              <a:gd name="connsiteY5" fmla="*/ 0 h 6858000"/>
              <a:gd name="connsiteX0" fmla="*/ 0 w 10172700"/>
              <a:gd name="connsiteY0" fmla="*/ 0 h 6858000"/>
              <a:gd name="connsiteX1" fmla="*/ 7367033 w 10172700"/>
              <a:gd name="connsiteY1" fmla="*/ 10633 h 6858000"/>
              <a:gd name="connsiteX2" fmla="*/ 10170485 w 10172700"/>
              <a:gd name="connsiteY2" fmla="*/ 2856614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0 h 6858000"/>
              <a:gd name="connsiteX1" fmla="*/ 7367033 w 10172700"/>
              <a:gd name="connsiteY1" fmla="*/ 5222 h 6858000"/>
              <a:gd name="connsiteX2" fmla="*/ 10170485 w 10172700"/>
              <a:gd name="connsiteY2" fmla="*/ 2856614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0 h 6858000"/>
              <a:gd name="connsiteX1" fmla="*/ 7338458 w 10172700"/>
              <a:gd name="connsiteY1" fmla="*/ 5222 h 6858000"/>
              <a:gd name="connsiteX2" fmla="*/ 10170485 w 10172700"/>
              <a:gd name="connsiteY2" fmla="*/ 2856614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0 h 6858000"/>
              <a:gd name="connsiteX1" fmla="*/ 7241906 w 10172700"/>
              <a:gd name="connsiteY1" fmla="*/ 5222 h 6858000"/>
              <a:gd name="connsiteX2" fmla="*/ 10170485 w 10172700"/>
              <a:gd name="connsiteY2" fmla="*/ 2856614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0 h 6858000"/>
              <a:gd name="connsiteX1" fmla="*/ 7332779 w 10172700"/>
              <a:gd name="connsiteY1" fmla="*/ 5222 h 6858000"/>
              <a:gd name="connsiteX2" fmla="*/ 10170485 w 10172700"/>
              <a:gd name="connsiteY2" fmla="*/ 2856614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6240"/>
              <a:gd name="connsiteY0" fmla="*/ 0 h 6858000"/>
              <a:gd name="connsiteX1" fmla="*/ 7332779 w 10176240"/>
              <a:gd name="connsiteY1" fmla="*/ 5222 h 6858000"/>
              <a:gd name="connsiteX2" fmla="*/ 10176165 w 10176240"/>
              <a:gd name="connsiteY2" fmla="*/ 3004281 h 6858000"/>
              <a:gd name="connsiteX3" fmla="*/ 10172700 w 10176240"/>
              <a:gd name="connsiteY3" fmla="*/ 6858000 h 6858000"/>
              <a:gd name="connsiteX4" fmla="*/ 0 w 10176240"/>
              <a:gd name="connsiteY4" fmla="*/ 6858000 h 6858000"/>
              <a:gd name="connsiteX5" fmla="*/ 0 w 10176240"/>
              <a:gd name="connsiteY5" fmla="*/ 0 h 6858000"/>
              <a:gd name="connsiteX0" fmla="*/ 0 w 10181880"/>
              <a:gd name="connsiteY0" fmla="*/ 0 h 6858000"/>
              <a:gd name="connsiteX1" fmla="*/ 7332779 w 10181880"/>
              <a:gd name="connsiteY1" fmla="*/ 5222 h 6858000"/>
              <a:gd name="connsiteX2" fmla="*/ 10181844 w 10181880"/>
              <a:gd name="connsiteY2" fmla="*/ 2867973 h 6858000"/>
              <a:gd name="connsiteX3" fmla="*/ 10172700 w 10181880"/>
              <a:gd name="connsiteY3" fmla="*/ 6858000 h 6858000"/>
              <a:gd name="connsiteX4" fmla="*/ 0 w 10181880"/>
              <a:gd name="connsiteY4" fmla="*/ 6858000 h 6858000"/>
              <a:gd name="connsiteX5" fmla="*/ 0 w 10181880"/>
              <a:gd name="connsiteY5" fmla="*/ 0 h 6858000"/>
              <a:gd name="connsiteX0" fmla="*/ 0 w 10172700"/>
              <a:gd name="connsiteY0" fmla="*/ 0 h 6858000"/>
              <a:gd name="connsiteX1" fmla="*/ 7332779 w 10172700"/>
              <a:gd name="connsiteY1" fmla="*/ 5222 h 6858000"/>
              <a:gd name="connsiteX2" fmla="*/ 10164805 w 10172700"/>
              <a:gd name="connsiteY2" fmla="*/ 2867973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0 h 6858000"/>
              <a:gd name="connsiteX1" fmla="*/ 7332779 w 10172700"/>
              <a:gd name="connsiteY1" fmla="*/ 5222 h 6858000"/>
              <a:gd name="connsiteX2" fmla="*/ 10170484 w 10172700"/>
              <a:gd name="connsiteY2" fmla="*/ 2867973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81879"/>
              <a:gd name="connsiteY0" fmla="*/ 0 h 6858000"/>
              <a:gd name="connsiteX1" fmla="*/ 7332779 w 10181879"/>
              <a:gd name="connsiteY1" fmla="*/ 5222 h 6858000"/>
              <a:gd name="connsiteX2" fmla="*/ 10181843 w 10181879"/>
              <a:gd name="connsiteY2" fmla="*/ 2867973 h 6858000"/>
              <a:gd name="connsiteX3" fmla="*/ 10172700 w 10181879"/>
              <a:gd name="connsiteY3" fmla="*/ 6858000 h 6858000"/>
              <a:gd name="connsiteX4" fmla="*/ 0 w 10181879"/>
              <a:gd name="connsiteY4" fmla="*/ 6858000 h 6858000"/>
              <a:gd name="connsiteX5" fmla="*/ 0 w 10181879"/>
              <a:gd name="connsiteY5" fmla="*/ 0 h 6858000"/>
              <a:gd name="connsiteX0" fmla="*/ 0 w 10181879"/>
              <a:gd name="connsiteY0" fmla="*/ 0 h 6858000"/>
              <a:gd name="connsiteX1" fmla="*/ 7332779 w 10181879"/>
              <a:gd name="connsiteY1" fmla="*/ 5222 h 6858000"/>
              <a:gd name="connsiteX2" fmla="*/ 10181843 w 10181879"/>
              <a:gd name="connsiteY2" fmla="*/ 2867973 h 6858000"/>
              <a:gd name="connsiteX3" fmla="*/ 10172700 w 10181879"/>
              <a:gd name="connsiteY3" fmla="*/ 6858000 h 6858000"/>
              <a:gd name="connsiteX4" fmla="*/ 0 w 10181879"/>
              <a:gd name="connsiteY4" fmla="*/ 6858000 h 6858000"/>
              <a:gd name="connsiteX5" fmla="*/ 0 w 10181879"/>
              <a:gd name="connsiteY5" fmla="*/ 0 h 6858000"/>
              <a:gd name="connsiteX0" fmla="*/ 0 w 10172700"/>
              <a:gd name="connsiteY0" fmla="*/ 0 h 6858000"/>
              <a:gd name="connsiteX1" fmla="*/ 7332779 w 10172700"/>
              <a:gd name="connsiteY1" fmla="*/ 5222 h 6858000"/>
              <a:gd name="connsiteX2" fmla="*/ 10170484 w 10172700"/>
              <a:gd name="connsiteY2" fmla="*/ 2867973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0520"/>
              <a:gd name="connsiteY0" fmla="*/ 0 h 6858000"/>
              <a:gd name="connsiteX1" fmla="*/ 7332779 w 10170520"/>
              <a:gd name="connsiteY1" fmla="*/ 5222 h 6858000"/>
              <a:gd name="connsiteX2" fmla="*/ 10170484 w 10170520"/>
              <a:gd name="connsiteY2" fmla="*/ 2867973 h 6858000"/>
              <a:gd name="connsiteX3" fmla="*/ 10161341 w 10170520"/>
              <a:gd name="connsiteY3" fmla="*/ 6858000 h 6858000"/>
              <a:gd name="connsiteX4" fmla="*/ 0 w 10170520"/>
              <a:gd name="connsiteY4" fmla="*/ 6858000 h 6858000"/>
              <a:gd name="connsiteX5" fmla="*/ 0 w 10170520"/>
              <a:gd name="connsiteY5" fmla="*/ 0 h 6858000"/>
              <a:gd name="connsiteX0" fmla="*/ 0 w 10172700"/>
              <a:gd name="connsiteY0" fmla="*/ 0 h 6858000"/>
              <a:gd name="connsiteX1" fmla="*/ 7332779 w 10172700"/>
              <a:gd name="connsiteY1" fmla="*/ 5222 h 6858000"/>
              <a:gd name="connsiteX2" fmla="*/ 10170484 w 10172700"/>
              <a:gd name="connsiteY2" fmla="*/ 2867973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2462 h 6860462"/>
              <a:gd name="connsiteX1" fmla="*/ 7202150 w 10172700"/>
              <a:gd name="connsiteY1" fmla="*/ 0 h 6860462"/>
              <a:gd name="connsiteX2" fmla="*/ 10170484 w 10172700"/>
              <a:gd name="connsiteY2" fmla="*/ 2870435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302042 w 10172700"/>
              <a:gd name="connsiteY1" fmla="*/ 0 h 6860462"/>
              <a:gd name="connsiteX2" fmla="*/ 10170484 w 10172700"/>
              <a:gd name="connsiteY2" fmla="*/ 2870435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302042 w 10172700"/>
              <a:gd name="connsiteY1" fmla="*/ 0 h 6860462"/>
              <a:gd name="connsiteX2" fmla="*/ 10163110 w 10172700"/>
              <a:gd name="connsiteY2" fmla="*/ 288518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302042 w 10172700"/>
              <a:gd name="connsiteY1" fmla="*/ 0 h 6860462"/>
              <a:gd name="connsiteX2" fmla="*/ 10170484 w 10172700"/>
              <a:gd name="connsiteY2" fmla="*/ 288518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317282 w 10172700"/>
              <a:gd name="connsiteY1" fmla="*/ 0 h 6860462"/>
              <a:gd name="connsiteX2" fmla="*/ 10170484 w 10172700"/>
              <a:gd name="connsiteY2" fmla="*/ 288518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8159"/>
              <a:gd name="connsiteY0" fmla="*/ 2462 h 6860462"/>
              <a:gd name="connsiteX1" fmla="*/ 7317282 w 10178159"/>
              <a:gd name="connsiteY1" fmla="*/ 0 h 6860462"/>
              <a:gd name="connsiteX2" fmla="*/ 10178104 w 10178159"/>
              <a:gd name="connsiteY2" fmla="*/ 2869943 h 6860462"/>
              <a:gd name="connsiteX3" fmla="*/ 10172700 w 10178159"/>
              <a:gd name="connsiteY3" fmla="*/ 6860462 h 6860462"/>
              <a:gd name="connsiteX4" fmla="*/ 0 w 10178159"/>
              <a:gd name="connsiteY4" fmla="*/ 6860462 h 6860462"/>
              <a:gd name="connsiteX5" fmla="*/ 0 w 10178159"/>
              <a:gd name="connsiteY5" fmla="*/ 2462 h 6860462"/>
              <a:gd name="connsiteX0" fmla="*/ 0 w 10174409"/>
              <a:gd name="connsiteY0" fmla="*/ 2462 h 6860462"/>
              <a:gd name="connsiteX1" fmla="*/ 7317282 w 10174409"/>
              <a:gd name="connsiteY1" fmla="*/ 0 h 6860462"/>
              <a:gd name="connsiteX2" fmla="*/ 10174294 w 10174409"/>
              <a:gd name="connsiteY2" fmla="*/ 2869943 h 6860462"/>
              <a:gd name="connsiteX3" fmla="*/ 10172700 w 10174409"/>
              <a:gd name="connsiteY3" fmla="*/ 6860462 h 6860462"/>
              <a:gd name="connsiteX4" fmla="*/ 0 w 10174409"/>
              <a:gd name="connsiteY4" fmla="*/ 6860462 h 6860462"/>
              <a:gd name="connsiteX5" fmla="*/ 0 w 10174409"/>
              <a:gd name="connsiteY5" fmla="*/ 2462 h 6860462"/>
              <a:gd name="connsiteX0" fmla="*/ 0 w 10174409"/>
              <a:gd name="connsiteY0" fmla="*/ 2462 h 6860462"/>
              <a:gd name="connsiteX1" fmla="*/ 7198013 w 10174409"/>
              <a:gd name="connsiteY1" fmla="*/ 0 h 6860462"/>
              <a:gd name="connsiteX2" fmla="*/ 10174294 w 10174409"/>
              <a:gd name="connsiteY2" fmla="*/ 2869943 h 6860462"/>
              <a:gd name="connsiteX3" fmla="*/ 10172700 w 10174409"/>
              <a:gd name="connsiteY3" fmla="*/ 6860462 h 6860462"/>
              <a:gd name="connsiteX4" fmla="*/ 0 w 10174409"/>
              <a:gd name="connsiteY4" fmla="*/ 6860462 h 6860462"/>
              <a:gd name="connsiteX5" fmla="*/ 0 w 10174409"/>
              <a:gd name="connsiteY5" fmla="*/ 2462 h 6860462"/>
              <a:gd name="connsiteX0" fmla="*/ 0 w 10174409"/>
              <a:gd name="connsiteY0" fmla="*/ 2462 h 6860462"/>
              <a:gd name="connsiteX1" fmla="*/ 7307344 w 10174409"/>
              <a:gd name="connsiteY1" fmla="*/ 0 h 6860462"/>
              <a:gd name="connsiteX2" fmla="*/ 10174294 w 10174409"/>
              <a:gd name="connsiteY2" fmla="*/ 2869943 h 6860462"/>
              <a:gd name="connsiteX3" fmla="*/ 10172700 w 10174409"/>
              <a:gd name="connsiteY3" fmla="*/ 6860462 h 6860462"/>
              <a:gd name="connsiteX4" fmla="*/ 0 w 10174409"/>
              <a:gd name="connsiteY4" fmla="*/ 6860462 h 6860462"/>
              <a:gd name="connsiteX5" fmla="*/ 0 w 10174409"/>
              <a:gd name="connsiteY5" fmla="*/ 2462 h 6860462"/>
              <a:gd name="connsiteX0" fmla="*/ 0 w 10174409"/>
              <a:gd name="connsiteY0" fmla="*/ 2462 h 6860462"/>
              <a:gd name="connsiteX1" fmla="*/ 7318541 w 10174409"/>
              <a:gd name="connsiteY1" fmla="*/ 0 h 6860462"/>
              <a:gd name="connsiteX2" fmla="*/ 10174294 w 10174409"/>
              <a:gd name="connsiteY2" fmla="*/ 2869943 h 6860462"/>
              <a:gd name="connsiteX3" fmla="*/ 10172700 w 10174409"/>
              <a:gd name="connsiteY3" fmla="*/ 6860462 h 6860462"/>
              <a:gd name="connsiteX4" fmla="*/ 0 w 10174409"/>
              <a:gd name="connsiteY4" fmla="*/ 6860462 h 6860462"/>
              <a:gd name="connsiteX5" fmla="*/ 0 w 10174409"/>
              <a:gd name="connsiteY5" fmla="*/ 2462 h 6860462"/>
              <a:gd name="connsiteX0" fmla="*/ 0 w 10174409"/>
              <a:gd name="connsiteY0" fmla="*/ 2462 h 6860462"/>
              <a:gd name="connsiteX1" fmla="*/ 7318541 w 10174409"/>
              <a:gd name="connsiteY1" fmla="*/ 0 h 6860462"/>
              <a:gd name="connsiteX2" fmla="*/ 10174294 w 10174409"/>
              <a:gd name="connsiteY2" fmla="*/ 2869943 h 6860462"/>
              <a:gd name="connsiteX3" fmla="*/ 10172700 w 10174409"/>
              <a:gd name="connsiteY3" fmla="*/ 6860462 h 6860462"/>
              <a:gd name="connsiteX4" fmla="*/ 0 w 10174409"/>
              <a:gd name="connsiteY4" fmla="*/ 6860462 h 6860462"/>
              <a:gd name="connsiteX5" fmla="*/ 0 w 10174409"/>
              <a:gd name="connsiteY5" fmla="*/ 2462 h 6860462"/>
              <a:gd name="connsiteX0" fmla="*/ 0 w 10172700"/>
              <a:gd name="connsiteY0" fmla="*/ 2462 h 6860462"/>
              <a:gd name="connsiteX1" fmla="*/ 7318541 w 10172700"/>
              <a:gd name="connsiteY1" fmla="*/ 0 h 6860462"/>
              <a:gd name="connsiteX2" fmla="*/ 10170562 w 10172700"/>
              <a:gd name="connsiteY2" fmla="*/ 286994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278819 w 10172700"/>
              <a:gd name="connsiteY1" fmla="*/ 0 h 6860462"/>
              <a:gd name="connsiteX2" fmla="*/ 10170562 w 10172700"/>
              <a:gd name="connsiteY2" fmla="*/ 286994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278819 w 10172700"/>
              <a:gd name="connsiteY1" fmla="*/ 0 h 6860462"/>
              <a:gd name="connsiteX2" fmla="*/ 10167914 w 10172700"/>
              <a:gd name="connsiteY2" fmla="*/ 288581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278819 w 10172700"/>
              <a:gd name="connsiteY1" fmla="*/ 0 h 6860462"/>
              <a:gd name="connsiteX2" fmla="*/ 10170562 w 10172700"/>
              <a:gd name="connsiteY2" fmla="*/ 288581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278819 w 10172700"/>
              <a:gd name="connsiteY1" fmla="*/ 0 h 6860462"/>
              <a:gd name="connsiteX2" fmla="*/ 10167913 w 10172700"/>
              <a:gd name="connsiteY2" fmla="*/ 288581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278819 w 10172700"/>
              <a:gd name="connsiteY1" fmla="*/ 0 h 6860462"/>
              <a:gd name="connsiteX2" fmla="*/ 10170562 w 10172700"/>
              <a:gd name="connsiteY2" fmla="*/ 288581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0729"/>
              <a:gd name="connsiteY0" fmla="*/ 2462 h 6860462"/>
              <a:gd name="connsiteX1" fmla="*/ 7278819 w 10170729"/>
              <a:gd name="connsiteY1" fmla="*/ 0 h 6860462"/>
              <a:gd name="connsiteX2" fmla="*/ 10170562 w 10170729"/>
              <a:gd name="connsiteY2" fmla="*/ 2885813 h 6860462"/>
              <a:gd name="connsiteX3" fmla="*/ 10170052 w 10170729"/>
              <a:gd name="connsiteY3" fmla="*/ 6855172 h 6860462"/>
              <a:gd name="connsiteX4" fmla="*/ 0 w 10170729"/>
              <a:gd name="connsiteY4" fmla="*/ 6860462 h 6860462"/>
              <a:gd name="connsiteX5" fmla="*/ 0 w 10170729"/>
              <a:gd name="connsiteY5" fmla="*/ 2462 h 6860462"/>
              <a:gd name="connsiteX0" fmla="*/ 0 w 10170729"/>
              <a:gd name="connsiteY0" fmla="*/ 0 h 6860858"/>
              <a:gd name="connsiteX1" fmla="*/ 7278819 w 10170729"/>
              <a:gd name="connsiteY1" fmla="*/ 396 h 6860858"/>
              <a:gd name="connsiteX2" fmla="*/ 10170562 w 10170729"/>
              <a:gd name="connsiteY2" fmla="*/ 2886209 h 6860858"/>
              <a:gd name="connsiteX3" fmla="*/ 10170052 w 10170729"/>
              <a:gd name="connsiteY3" fmla="*/ 6855568 h 6860858"/>
              <a:gd name="connsiteX4" fmla="*/ 0 w 10170729"/>
              <a:gd name="connsiteY4" fmla="*/ 6860858 h 6860858"/>
              <a:gd name="connsiteX5" fmla="*/ 0 w 10170729"/>
              <a:gd name="connsiteY5" fmla="*/ 0 h 6860858"/>
              <a:gd name="connsiteX0" fmla="*/ 0 w 10172905"/>
              <a:gd name="connsiteY0" fmla="*/ 0 h 6861283"/>
              <a:gd name="connsiteX1" fmla="*/ 7278819 w 10172905"/>
              <a:gd name="connsiteY1" fmla="*/ 396 h 6861283"/>
              <a:gd name="connsiteX2" fmla="*/ 10170562 w 10172905"/>
              <a:gd name="connsiteY2" fmla="*/ 2886209 h 6861283"/>
              <a:gd name="connsiteX3" fmla="*/ 10172905 w 10172905"/>
              <a:gd name="connsiteY3" fmla="*/ 6861283 h 6861283"/>
              <a:gd name="connsiteX4" fmla="*/ 0 w 10172905"/>
              <a:gd name="connsiteY4" fmla="*/ 6860858 h 6861283"/>
              <a:gd name="connsiteX5" fmla="*/ 0 w 10172905"/>
              <a:gd name="connsiteY5" fmla="*/ 0 h 6861283"/>
              <a:gd name="connsiteX0" fmla="*/ 0 w 10176345"/>
              <a:gd name="connsiteY0" fmla="*/ 0 h 6861283"/>
              <a:gd name="connsiteX1" fmla="*/ 7278819 w 10176345"/>
              <a:gd name="connsiteY1" fmla="*/ 396 h 6861283"/>
              <a:gd name="connsiteX2" fmla="*/ 10176269 w 10176345"/>
              <a:gd name="connsiteY2" fmla="*/ 2900497 h 6861283"/>
              <a:gd name="connsiteX3" fmla="*/ 10172905 w 10176345"/>
              <a:gd name="connsiteY3" fmla="*/ 6861283 h 6861283"/>
              <a:gd name="connsiteX4" fmla="*/ 0 w 10176345"/>
              <a:gd name="connsiteY4" fmla="*/ 6860858 h 6861283"/>
              <a:gd name="connsiteX5" fmla="*/ 0 w 10176345"/>
              <a:gd name="connsiteY5" fmla="*/ 0 h 6861283"/>
              <a:gd name="connsiteX0" fmla="*/ 0 w 10178612"/>
              <a:gd name="connsiteY0" fmla="*/ 0 h 6861283"/>
              <a:gd name="connsiteX1" fmla="*/ 7278819 w 10178612"/>
              <a:gd name="connsiteY1" fmla="*/ 396 h 6861283"/>
              <a:gd name="connsiteX2" fmla="*/ 10176269 w 10178612"/>
              <a:gd name="connsiteY2" fmla="*/ 2900497 h 6861283"/>
              <a:gd name="connsiteX3" fmla="*/ 10178612 w 10178612"/>
              <a:gd name="connsiteY3" fmla="*/ 6861283 h 6861283"/>
              <a:gd name="connsiteX4" fmla="*/ 0 w 10178612"/>
              <a:gd name="connsiteY4" fmla="*/ 6860858 h 6861283"/>
              <a:gd name="connsiteX5" fmla="*/ 0 w 10178612"/>
              <a:gd name="connsiteY5" fmla="*/ 0 h 6861283"/>
              <a:gd name="connsiteX0" fmla="*/ 0 w 10178612"/>
              <a:gd name="connsiteY0" fmla="*/ 0 h 6861283"/>
              <a:gd name="connsiteX1" fmla="*/ 7278819 w 10178612"/>
              <a:gd name="connsiteY1" fmla="*/ 396 h 6861283"/>
              <a:gd name="connsiteX2" fmla="*/ 10176269 w 10178612"/>
              <a:gd name="connsiteY2" fmla="*/ 2893381 h 6861283"/>
              <a:gd name="connsiteX3" fmla="*/ 10178612 w 10178612"/>
              <a:gd name="connsiteY3" fmla="*/ 6861283 h 6861283"/>
              <a:gd name="connsiteX4" fmla="*/ 0 w 10178612"/>
              <a:gd name="connsiteY4" fmla="*/ 6860858 h 6861283"/>
              <a:gd name="connsiteX5" fmla="*/ 0 w 10178612"/>
              <a:gd name="connsiteY5" fmla="*/ 0 h 6861283"/>
              <a:gd name="connsiteX0" fmla="*/ 0 w 10183439"/>
              <a:gd name="connsiteY0" fmla="*/ 0 h 6861283"/>
              <a:gd name="connsiteX1" fmla="*/ 7278819 w 10183439"/>
              <a:gd name="connsiteY1" fmla="*/ 396 h 6861283"/>
              <a:gd name="connsiteX2" fmla="*/ 10183379 w 10183439"/>
              <a:gd name="connsiteY2" fmla="*/ 2893381 h 6861283"/>
              <a:gd name="connsiteX3" fmla="*/ 10178612 w 10183439"/>
              <a:gd name="connsiteY3" fmla="*/ 6861283 h 6861283"/>
              <a:gd name="connsiteX4" fmla="*/ 0 w 10183439"/>
              <a:gd name="connsiteY4" fmla="*/ 6860858 h 6861283"/>
              <a:gd name="connsiteX5" fmla="*/ 0 w 10183439"/>
              <a:gd name="connsiteY5" fmla="*/ 0 h 6861283"/>
              <a:gd name="connsiteX0" fmla="*/ 0 w 10185722"/>
              <a:gd name="connsiteY0" fmla="*/ 0 h 6860858"/>
              <a:gd name="connsiteX1" fmla="*/ 7278819 w 10185722"/>
              <a:gd name="connsiteY1" fmla="*/ 396 h 6860858"/>
              <a:gd name="connsiteX2" fmla="*/ 10183379 w 10185722"/>
              <a:gd name="connsiteY2" fmla="*/ 2893381 h 6860858"/>
              <a:gd name="connsiteX3" fmla="*/ 10185722 w 10185722"/>
              <a:gd name="connsiteY3" fmla="*/ 6857725 h 6860858"/>
              <a:gd name="connsiteX4" fmla="*/ 0 w 10185722"/>
              <a:gd name="connsiteY4" fmla="*/ 6860858 h 6860858"/>
              <a:gd name="connsiteX5" fmla="*/ 0 w 10185722"/>
              <a:gd name="connsiteY5" fmla="*/ 0 h 6860858"/>
              <a:gd name="connsiteX0" fmla="*/ 0 w 10185722"/>
              <a:gd name="connsiteY0" fmla="*/ 0 h 6864841"/>
              <a:gd name="connsiteX1" fmla="*/ 7278819 w 10185722"/>
              <a:gd name="connsiteY1" fmla="*/ 396 h 6864841"/>
              <a:gd name="connsiteX2" fmla="*/ 10183379 w 10185722"/>
              <a:gd name="connsiteY2" fmla="*/ 2893381 h 6864841"/>
              <a:gd name="connsiteX3" fmla="*/ 10185722 w 10185722"/>
              <a:gd name="connsiteY3" fmla="*/ 6864841 h 6864841"/>
              <a:gd name="connsiteX4" fmla="*/ 0 w 10185722"/>
              <a:gd name="connsiteY4" fmla="*/ 6860858 h 6864841"/>
              <a:gd name="connsiteX5" fmla="*/ 0 w 10185722"/>
              <a:gd name="connsiteY5" fmla="*/ 0 h 6864841"/>
              <a:gd name="connsiteX0" fmla="*/ 0 w 10185722"/>
              <a:gd name="connsiteY0" fmla="*/ 0 h 6867974"/>
              <a:gd name="connsiteX1" fmla="*/ 7278819 w 10185722"/>
              <a:gd name="connsiteY1" fmla="*/ 396 h 6867974"/>
              <a:gd name="connsiteX2" fmla="*/ 10183379 w 10185722"/>
              <a:gd name="connsiteY2" fmla="*/ 2893381 h 6867974"/>
              <a:gd name="connsiteX3" fmla="*/ 10185722 w 10185722"/>
              <a:gd name="connsiteY3" fmla="*/ 6864841 h 6867974"/>
              <a:gd name="connsiteX4" fmla="*/ 0 w 10185722"/>
              <a:gd name="connsiteY4" fmla="*/ 6867974 h 6867974"/>
              <a:gd name="connsiteX5" fmla="*/ 0 w 10185722"/>
              <a:gd name="connsiteY5" fmla="*/ 0 h 6867974"/>
              <a:gd name="connsiteX0" fmla="*/ 0 w 10185722"/>
              <a:gd name="connsiteY0" fmla="*/ 0 h 6864841"/>
              <a:gd name="connsiteX1" fmla="*/ 7278819 w 10185722"/>
              <a:gd name="connsiteY1" fmla="*/ 396 h 6864841"/>
              <a:gd name="connsiteX2" fmla="*/ 10183379 w 10185722"/>
              <a:gd name="connsiteY2" fmla="*/ 2893381 h 6864841"/>
              <a:gd name="connsiteX3" fmla="*/ 10185722 w 10185722"/>
              <a:gd name="connsiteY3" fmla="*/ 6864841 h 6864841"/>
              <a:gd name="connsiteX4" fmla="*/ 0 w 10185722"/>
              <a:gd name="connsiteY4" fmla="*/ 6860858 h 6864841"/>
              <a:gd name="connsiteX5" fmla="*/ 0 w 10185722"/>
              <a:gd name="connsiteY5" fmla="*/ 0 h 6864841"/>
              <a:gd name="connsiteX0" fmla="*/ 0 w 10185722"/>
              <a:gd name="connsiteY0" fmla="*/ 0 h 6871532"/>
              <a:gd name="connsiteX1" fmla="*/ 7278819 w 10185722"/>
              <a:gd name="connsiteY1" fmla="*/ 396 h 6871532"/>
              <a:gd name="connsiteX2" fmla="*/ 10183379 w 10185722"/>
              <a:gd name="connsiteY2" fmla="*/ 2893381 h 6871532"/>
              <a:gd name="connsiteX3" fmla="*/ 10185722 w 10185722"/>
              <a:gd name="connsiteY3" fmla="*/ 6864841 h 6871532"/>
              <a:gd name="connsiteX4" fmla="*/ 0 w 10185722"/>
              <a:gd name="connsiteY4" fmla="*/ 6871532 h 6871532"/>
              <a:gd name="connsiteX5" fmla="*/ 0 w 10185722"/>
              <a:gd name="connsiteY5" fmla="*/ 0 h 6871532"/>
              <a:gd name="connsiteX0" fmla="*/ 0 w 10185722"/>
              <a:gd name="connsiteY0" fmla="*/ 0 h 6871532"/>
              <a:gd name="connsiteX1" fmla="*/ 7278819 w 10185722"/>
              <a:gd name="connsiteY1" fmla="*/ 396 h 6871532"/>
              <a:gd name="connsiteX2" fmla="*/ 10183379 w 10185722"/>
              <a:gd name="connsiteY2" fmla="*/ 2893381 h 6871532"/>
              <a:gd name="connsiteX3" fmla="*/ 10185722 w 10185722"/>
              <a:gd name="connsiteY3" fmla="*/ 6864841 h 6871532"/>
              <a:gd name="connsiteX4" fmla="*/ 0 w 10185722"/>
              <a:gd name="connsiteY4" fmla="*/ 6871532 h 6871532"/>
              <a:gd name="connsiteX5" fmla="*/ 0 w 10185722"/>
              <a:gd name="connsiteY5" fmla="*/ 0 h 6871532"/>
              <a:gd name="connsiteX0" fmla="*/ 3555 w 10189277"/>
              <a:gd name="connsiteY0" fmla="*/ 0 h 6871532"/>
              <a:gd name="connsiteX1" fmla="*/ 7282374 w 10189277"/>
              <a:gd name="connsiteY1" fmla="*/ 396 h 6871532"/>
              <a:gd name="connsiteX2" fmla="*/ 10186934 w 10189277"/>
              <a:gd name="connsiteY2" fmla="*/ 2893381 h 6871532"/>
              <a:gd name="connsiteX3" fmla="*/ 10189277 w 10189277"/>
              <a:gd name="connsiteY3" fmla="*/ 6864841 h 6871532"/>
              <a:gd name="connsiteX4" fmla="*/ 0 w 10189277"/>
              <a:gd name="connsiteY4" fmla="*/ 6871532 h 6871532"/>
              <a:gd name="connsiteX5" fmla="*/ 3555 w 10189277"/>
              <a:gd name="connsiteY5" fmla="*/ 0 h 6871532"/>
              <a:gd name="connsiteX0" fmla="*/ 3555 w 10189277"/>
              <a:gd name="connsiteY0" fmla="*/ 0 h 6871532"/>
              <a:gd name="connsiteX1" fmla="*/ 7282374 w 10189277"/>
              <a:gd name="connsiteY1" fmla="*/ 396 h 6871532"/>
              <a:gd name="connsiteX2" fmla="*/ 10186934 w 10189277"/>
              <a:gd name="connsiteY2" fmla="*/ 2893381 h 6871532"/>
              <a:gd name="connsiteX3" fmla="*/ 10189277 w 10189277"/>
              <a:gd name="connsiteY3" fmla="*/ 6864841 h 6871532"/>
              <a:gd name="connsiteX4" fmla="*/ 0 w 10189277"/>
              <a:gd name="connsiteY4" fmla="*/ 6871532 h 6871532"/>
              <a:gd name="connsiteX5" fmla="*/ 3555 w 10189277"/>
              <a:gd name="connsiteY5" fmla="*/ 0 h 6871532"/>
              <a:gd name="connsiteX0" fmla="*/ 3555 w 10189277"/>
              <a:gd name="connsiteY0" fmla="*/ 0 h 6867974"/>
              <a:gd name="connsiteX1" fmla="*/ 7282374 w 10189277"/>
              <a:gd name="connsiteY1" fmla="*/ 396 h 6867974"/>
              <a:gd name="connsiteX2" fmla="*/ 10186934 w 10189277"/>
              <a:gd name="connsiteY2" fmla="*/ 2893381 h 6867974"/>
              <a:gd name="connsiteX3" fmla="*/ 10189277 w 10189277"/>
              <a:gd name="connsiteY3" fmla="*/ 6864841 h 6867974"/>
              <a:gd name="connsiteX4" fmla="*/ 0 w 10189277"/>
              <a:gd name="connsiteY4" fmla="*/ 6867974 h 6867974"/>
              <a:gd name="connsiteX5" fmla="*/ 3555 w 10189277"/>
              <a:gd name="connsiteY5" fmla="*/ 0 h 6867974"/>
              <a:gd name="connsiteX0" fmla="*/ 3555 w 10192832"/>
              <a:gd name="connsiteY0" fmla="*/ 0 h 6868399"/>
              <a:gd name="connsiteX1" fmla="*/ 7282374 w 10192832"/>
              <a:gd name="connsiteY1" fmla="*/ 396 h 6868399"/>
              <a:gd name="connsiteX2" fmla="*/ 10186934 w 10192832"/>
              <a:gd name="connsiteY2" fmla="*/ 2893381 h 6868399"/>
              <a:gd name="connsiteX3" fmla="*/ 10192832 w 10192832"/>
              <a:gd name="connsiteY3" fmla="*/ 6868399 h 6868399"/>
              <a:gd name="connsiteX4" fmla="*/ 0 w 10192832"/>
              <a:gd name="connsiteY4" fmla="*/ 6867974 h 6868399"/>
              <a:gd name="connsiteX5" fmla="*/ 3555 w 10192832"/>
              <a:gd name="connsiteY5" fmla="*/ 0 h 6868399"/>
              <a:gd name="connsiteX0" fmla="*/ 3555 w 10192832"/>
              <a:gd name="connsiteY0" fmla="*/ 0 h 6868399"/>
              <a:gd name="connsiteX1" fmla="*/ 7282374 w 10192832"/>
              <a:gd name="connsiteY1" fmla="*/ 396 h 6868399"/>
              <a:gd name="connsiteX2" fmla="*/ 10190489 w 10192832"/>
              <a:gd name="connsiteY2" fmla="*/ 2896939 h 6868399"/>
              <a:gd name="connsiteX3" fmla="*/ 10192832 w 10192832"/>
              <a:gd name="connsiteY3" fmla="*/ 6868399 h 6868399"/>
              <a:gd name="connsiteX4" fmla="*/ 0 w 10192832"/>
              <a:gd name="connsiteY4" fmla="*/ 6867974 h 6868399"/>
              <a:gd name="connsiteX5" fmla="*/ 3555 w 10192832"/>
              <a:gd name="connsiteY5" fmla="*/ 0 h 6868399"/>
              <a:gd name="connsiteX0" fmla="*/ 3555 w 10192832"/>
              <a:gd name="connsiteY0" fmla="*/ 0 h 6868399"/>
              <a:gd name="connsiteX1" fmla="*/ 7282374 w 10192832"/>
              <a:gd name="connsiteY1" fmla="*/ 396 h 6868399"/>
              <a:gd name="connsiteX2" fmla="*/ 10190489 w 10192832"/>
              <a:gd name="connsiteY2" fmla="*/ 2896939 h 6868399"/>
              <a:gd name="connsiteX3" fmla="*/ 10192832 w 10192832"/>
              <a:gd name="connsiteY3" fmla="*/ 6868399 h 6868399"/>
              <a:gd name="connsiteX4" fmla="*/ 0 w 10192832"/>
              <a:gd name="connsiteY4" fmla="*/ 6867974 h 6868399"/>
              <a:gd name="connsiteX5" fmla="*/ 3555 w 10192832"/>
              <a:gd name="connsiteY5" fmla="*/ 0 h 6868399"/>
              <a:gd name="connsiteX0" fmla="*/ 3555 w 10195726"/>
              <a:gd name="connsiteY0" fmla="*/ 0 h 6868399"/>
              <a:gd name="connsiteX1" fmla="*/ 7282374 w 10195726"/>
              <a:gd name="connsiteY1" fmla="*/ 396 h 6868399"/>
              <a:gd name="connsiteX2" fmla="*/ 10195641 w 10195726"/>
              <a:gd name="connsiteY2" fmla="*/ 2899515 h 6868399"/>
              <a:gd name="connsiteX3" fmla="*/ 10192832 w 10195726"/>
              <a:gd name="connsiteY3" fmla="*/ 6868399 h 6868399"/>
              <a:gd name="connsiteX4" fmla="*/ 0 w 10195726"/>
              <a:gd name="connsiteY4" fmla="*/ 6867974 h 6868399"/>
              <a:gd name="connsiteX5" fmla="*/ 3555 w 10195726"/>
              <a:gd name="connsiteY5" fmla="*/ 0 h 6868399"/>
              <a:gd name="connsiteX0" fmla="*/ 3555 w 10200560"/>
              <a:gd name="connsiteY0" fmla="*/ 0 h 6868399"/>
              <a:gd name="connsiteX1" fmla="*/ 7282374 w 10200560"/>
              <a:gd name="connsiteY1" fmla="*/ 396 h 6868399"/>
              <a:gd name="connsiteX2" fmla="*/ 10195641 w 10200560"/>
              <a:gd name="connsiteY2" fmla="*/ 2899515 h 6868399"/>
              <a:gd name="connsiteX3" fmla="*/ 10200560 w 10200560"/>
              <a:gd name="connsiteY3" fmla="*/ 6868399 h 6868399"/>
              <a:gd name="connsiteX4" fmla="*/ 0 w 10200560"/>
              <a:gd name="connsiteY4" fmla="*/ 6867974 h 6868399"/>
              <a:gd name="connsiteX5" fmla="*/ 3555 w 10200560"/>
              <a:gd name="connsiteY5" fmla="*/ 0 h 6868399"/>
              <a:gd name="connsiteX0" fmla="*/ 3555 w 10200560"/>
              <a:gd name="connsiteY0" fmla="*/ 0 h 6868399"/>
              <a:gd name="connsiteX1" fmla="*/ 7282374 w 10200560"/>
              <a:gd name="connsiteY1" fmla="*/ 396 h 6868399"/>
              <a:gd name="connsiteX2" fmla="*/ 10198218 w 10200560"/>
              <a:gd name="connsiteY2" fmla="*/ 2894364 h 6868399"/>
              <a:gd name="connsiteX3" fmla="*/ 10200560 w 10200560"/>
              <a:gd name="connsiteY3" fmla="*/ 6868399 h 6868399"/>
              <a:gd name="connsiteX4" fmla="*/ 0 w 10200560"/>
              <a:gd name="connsiteY4" fmla="*/ 6867974 h 6868399"/>
              <a:gd name="connsiteX5" fmla="*/ 3555 w 10200560"/>
              <a:gd name="connsiteY5" fmla="*/ 0 h 6868399"/>
              <a:gd name="connsiteX0" fmla="*/ 3555 w 10203455"/>
              <a:gd name="connsiteY0" fmla="*/ 0 h 6868399"/>
              <a:gd name="connsiteX1" fmla="*/ 7282374 w 10203455"/>
              <a:gd name="connsiteY1" fmla="*/ 396 h 6868399"/>
              <a:gd name="connsiteX2" fmla="*/ 10203370 w 10203455"/>
              <a:gd name="connsiteY2" fmla="*/ 2899515 h 6868399"/>
              <a:gd name="connsiteX3" fmla="*/ 10200560 w 10203455"/>
              <a:gd name="connsiteY3" fmla="*/ 6868399 h 6868399"/>
              <a:gd name="connsiteX4" fmla="*/ 0 w 10203455"/>
              <a:gd name="connsiteY4" fmla="*/ 6867974 h 6868399"/>
              <a:gd name="connsiteX5" fmla="*/ 3555 w 10203455"/>
              <a:gd name="connsiteY5" fmla="*/ 0 h 6868399"/>
              <a:gd name="connsiteX0" fmla="*/ 3555 w 10200560"/>
              <a:gd name="connsiteY0" fmla="*/ 0 h 6868399"/>
              <a:gd name="connsiteX1" fmla="*/ 7282374 w 10200560"/>
              <a:gd name="connsiteY1" fmla="*/ 396 h 6868399"/>
              <a:gd name="connsiteX2" fmla="*/ 10198218 w 10200560"/>
              <a:gd name="connsiteY2" fmla="*/ 2899515 h 6868399"/>
              <a:gd name="connsiteX3" fmla="*/ 10200560 w 10200560"/>
              <a:gd name="connsiteY3" fmla="*/ 6868399 h 6868399"/>
              <a:gd name="connsiteX4" fmla="*/ 0 w 10200560"/>
              <a:gd name="connsiteY4" fmla="*/ 6867974 h 6868399"/>
              <a:gd name="connsiteX5" fmla="*/ 3555 w 10200560"/>
              <a:gd name="connsiteY5" fmla="*/ 0 h 6868399"/>
              <a:gd name="connsiteX0" fmla="*/ 3555 w 10200560"/>
              <a:gd name="connsiteY0" fmla="*/ 0 h 6868399"/>
              <a:gd name="connsiteX1" fmla="*/ 7282374 w 10200560"/>
              <a:gd name="connsiteY1" fmla="*/ 396 h 6868399"/>
              <a:gd name="connsiteX2" fmla="*/ 10195641 w 10200560"/>
              <a:gd name="connsiteY2" fmla="*/ 2904666 h 6868399"/>
              <a:gd name="connsiteX3" fmla="*/ 10200560 w 10200560"/>
              <a:gd name="connsiteY3" fmla="*/ 6868399 h 6868399"/>
              <a:gd name="connsiteX4" fmla="*/ 0 w 10200560"/>
              <a:gd name="connsiteY4" fmla="*/ 6867974 h 6868399"/>
              <a:gd name="connsiteX5" fmla="*/ 3555 w 10200560"/>
              <a:gd name="connsiteY5" fmla="*/ 0 h 6868399"/>
              <a:gd name="connsiteX0" fmla="*/ 3555 w 10195726"/>
              <a:gd name="connsiteY0" fmla="*/ 0 h 6870974"/>
              <a:gd name="connsiteX1" fmla="*/ 7282374 w 10195726"/>
              <a:gd name="connsiteY1" fmla="*/ 396 h 6870974"/>
              <a:gd name="connsiteX2" fmla="*/ 10195641 w 10195726"/>
              <a:gd name="connsiteY2" fmla="*/ 2904666 h 6870974"/>
              <a:gd name="connsiteX3" fmla="*/ 10192831 w 10195726"/>
              <a:gd name="connsiteY3" fmla="*/ 6870974 h 6870974"/>
              <a:gd name="connsiteX4" fmla="*/ 0 w 10195726"/>
              <a:gd name="connsiteY4" fmla="*/ 6867974 h 6870974"/>
              <a:gd name="connsiteX5" fmla="*/ 3555 w 10195726"/>
              <a:gd name="connsiteY5" fmla="*/ 0 h 6870974"/>
              <a:gd name="connsiteX0" fmla="*/ 3555 w 10197983"/>
              <a:gd name="connsiteY0" fmla="*/ 0 h 6870974"/>
              <a:gd name="connsiteX1" fmla="*/ 7282374 w 10197983"/>
              <a:gd name="connsiteY1" fmla="*/ 396 h 6870974"/>
              <a:gd name="connsiteX2" fmla="*/ 10195641 w 10197983"/>
              <a:gd name="connsiteY2" fmla="*/ 2904666 h 6870974"/>
              <a:gd name="connsiteX3" fmla="*/ 10197983 w 10197983"/>
              <a:gd name="connsiteY3" fmla="*/ 6870974 h 6870974"/>
              <a:gd name="connsiteX4" fmla="*/ 0 w 10197983"/>
              <a:gd name="connsiteY4" fmla="*/ 6867974 h 6870974"/>
              <a:gd name="connsiteX5" fmla="*/ 3555 w 10197983"/>
              <a:gd name="connsiteY5" fmla="*/ 0 h 6870974"/>
              <a:gd name="connsiteX0" fmla="*/ 3555 w 10200878"/>
              <a:gd name="connsiteY0" fmla="*/ 0 h 6870974"/>
              <a:gd name="connsiteX1" fmla="*/ 7282374 w 10200878"/>
              <a:gd name="connsiteY1" fmla="*/ 396 h 6870974"/>
              <a:gd name="connsiteX2" fmla="*/ 10200793 w 10200878"/>
              <a:gd name="connsiteY2" fmla="*/ 2904666 h 6870974"/>
              <a:gd name="connsiteX3" fmla="*/ 10197983 w 10200878"/>
              <a:gd name="connsiteY3" fmla="*/ 6870974 h 6870974"/>
              <a:gd name="connsiteX4" fmla="*/ 0 w 10200878"/>
              <a:gd name="connsiteY4" fmla="*/ 6867974 h 6870974"/>
              <a:gd name="connsiteX5" fmla="*/ 3555 w 10200878"/>
              <a:gd name="connsiteY5" fmla="*/ 0 h 6870974"/>
              <a:gd name="connsiteX0" fmla="*/ 3555 w 10198406"/>
              <a:gd name="connsiteY0" fmla="*/ 0 h 6870974"/>
              <a:gd name="connsiteX1" fmla="*/ 7282374 w 10198406"/>
              <a:gd name="connsiteY1" fmla="*/ 396 h 6870974"/>
              <a:gd name="connsiteX2" fmla="*/ 10198217 w 10198406"/>
              <a:gd name="connsiteY2" fmla="*/ 2904666 h 6870974"/>
              <a:gd name="connsiteX3" fmla="*/ 10197983 w 10198406"/>
              <a:gd name="connsiteY3" fmla="*/ 6870974 h 6870974"/>
              <a:gd name="connsiteX4" fmla="*/ 0 w 10198406"/>
              <a:gd name="connsiteY4" fmla="*/ 6867974 h 6870974"/>
              <a:gd name="connsiteX5" fmla="*/ 3555 w 10198406"/>
              <a:gd name="connsiteY5" fmla="*/ 0 h 6870974"/>
              <a:gd name="connsiteX0" fmla="*/ 3555 w 10198406"/>
              <a:gd name="connsiteY0" fmla="*/ 0 h 6870974"/>
              <a:gd name="connsiteX1" fmla="*/ 7296443 w 10198406"/>
              <a:gd name="connsiteY1" fmla="*/ 396 h 6870974"/>
              <a:gd name="connsiteX2" fmla="*/ 10198217 w 10198406"/>
              <a:gd name="connsiteY2" fmla="*/ 2904666 h 6870974"/>
              <a:gd name="connsiteX3" fmla="*/ 10197983 w 10198406"/>
              <a:gd name="connsiteY3" fmla="*/ 6870974 h 6870974"/>
              <a:gd name="connsiteX4" fmla="*/ 0 w 10198406"/>
              <a:gd name="connsiteY4" fmla="*/ 6867974 h 6870974"/>
              <a:gd name="connsiteX5" fmla="*/ 3555 w 10198406"/>
              <a:gd name="connsiteY5" fmla="*/ 0 h 6870974"/>
              <a:gd name="connsiteX0" fmla="*/ 3555 w 10198406"/>
              <a:gd name="connsiteY0" fmla="*/ 0 h 6870974"/>
              <a:gd name="connsiteX1" fmla="*/ 7296443 w 10198406"/>
              <a:gd name="connsiteY1" fmla="*/ 396 h 6870974"/>
              <a:gd name="connsiteX2" fmla="*/ 10198217 w 10198406"/>
              <a:gd name="connsiteY2" fmla="*/ 2899158 h 6870974"/>
              <a:gd name="connsiteX3" fmla="*/ 10197983 w 10198406"/>
              <a:gd name="connsiteY3" fmla="*/ 6870974 h 6870974"/>
              <a:gd name="connsiteX4" fmla="*/ 0 w 10198406"/>
              <a:gd name="connsiteY4" fmla="*/ 6867974 h 6870974"/>
              <a:gd name="connsiteX5" fmla="*/ 3555 w 10198406"/>
              <a:gd name="connsiteY5" fmla="*/ 0 h 6870974"/>
              <a:gd name="connsiteX0" fmla="*/ 3555 w 10198406"/>
              <a:gd name="connsiteY0" fmla="*/ 0 h 6870974"/>
              <a:gd name="connsiteX1" fmla="*/ 7296443 w 10198406"/>
              <a:gd name="connsiteY1" fmla="*/ 396 h 6870974"/>
              <a:gd name="connsiteX2" fmla="*/ 10198217 w 10198406"/>
              <a:gd name="connsiteY2" fmla="*/ 2899158 h 6870974"/>
              <a:gd name="connsiteX3" fmla="*/ 10197983 w 10198406"/>
              <a:gd name="connsiteY3" fmla="*/ 6870974 h 6870974"/>
              <a:gd name="connsiteX4" fmla="*/ 0 w 10198406"/>
              <a:gd name="connsiteY4" fmla="*/ 6867974 h 6870974"/>
              <a:gd name="connsiteX5" fmla="*/ 3555 w 10198406"/>
              <a:gd name="connsiteY5" fmla="*/ 0 h 6870974"/>
              <a:gd name="connsiteX0" fmla="*/ 9165 w 10204016"/>
              <a:gd name="connsiteY0" fmla="*/ 0 h 6879194"/>
              <a:gd name="connsiteX1" fmla="*/ 7302053 w 10204016"/>
              <a:gd name="connsiteY1" fmla="*/ 396 h 6879194"/>
              <a:gd name="connsiteX2" fmla="*/ 10203827 w 10204016"/>
              <a:gd name="connsiteY2" fmla="*/ 2899158 h 6879194"/>
              <a:gd name="connsiteX3" fmla="*/ 10203593 w 10204016"/>
              <a:gd name="connsiteY3" fmla="*/ 6870974 h 6879194"/>
              <a:gd name="connsiteX4" fmla="*/ 0 w 10204016"/>
              <a:gd name="connsiteY4" fmla="*/ 6879194 h 6879194"/>
              <a:gd name="connsiteX5" fmla="*/ 9165 w 10204016"/>
              <a:gd name="connsiteY5" fmla="*/ 0 h 6879194"/>
              <a:gd name="connsiteX0" fmla="*/ 9165 w 10204016"/>
              <a:gd name="connsiteY0" fmla="*/ 0 h 6870974"/>
              <a:gd name="connsiteX1" fmla="*/ 7302053 w 10204016"/>
              <a:gd name="connsiteY1" fmla="*/ 396 h 6870974"/>
              <a:gd name="connsiteX2" fmla="*/ 10203827 w 10204016"/>
              <a:gd name="connsiteY2" fmla="*/ 2899158 h 6870974"/>
              <a:gd name="connsiteX3" fmla="*/ 10203593 w 10204016"/>
              <a:gd name="connsiteY3" fmla="*/ 6870974 h 6870974"/>
              <a:gd name="connsiteX4" fmla="*/ 0 w 10204016"/>
              <a:gd name="connsiteY4" fmla="*/ 6867974 h 6870974"/>
              <a:gd name="connsiteX5" fmla="*/ 9165 w 10204016"/>
              <a:gd name="connsiteY5" fmla="*/ 0 h 6870974"/>
              <a:gd name="connsiteX0" fmla="*/ 9165 w 10204016"/>
              <a:gd name="connsiteY0" fmla="*/ 0 h 6879194"/>
              <a:gd name="connsiteX1" fmla="*/ 7302053 w 10204016"/>
              <a:gd name="connsiteY1" fmla="*/ 396 h 6879194"/>
              <a:gd name="connsiteX2" fmla="*/ 10203827 w 10204016"/>
              <a:gd name="connsiteY2" fmla="*/ 2899158 h 6879194"/>
              <a:gd name="connsiteX3" fmla="*/ 10203593 w 10204016"/>
              <a:gd name="connsiteY3" fmla="*/ 6870974 h 6879194"/>
              <a:gd name="connsiteX4" fmla="*/ 0 w 10204016"/>
              <a:gd name="connsiteY4" fmla="*/ 6879194 h 6879194"/>
              <a:gd name="connsiteX5" fmla="*/ 9165 w 10204016"/>
              <a:gd name="connsiteY5" fmla="*/ 0 h 6879194"/>
              <a:gd name="connsiteX0" fmla="*/ 9165 w 10204016"/>
              <a:gd name="connsiteY0" fmla="*/ 0 h 6873584"/>
              <a:gd name="connsiteX1" fmla="*/ 7302053 w 10204016"/>
              <a:gd name="connsiteY1" fmla="*/ 396 h 6873584"/>
              <a:gd name="connsiteX2" fmla="*/ 10203827 w 10204016"/>
              <a:gd name="connsiteY2" fmla="*/ 2899158 h 6873584"/>
              <a:gd name="connsiteX3" fmla="*/ 10203593 w 10204016"/>
              <a:gd name="connsiteY3" fmla="*/ 6870974 h 6873584"/>
              <a:gd name="connsiteX4" fmla="*/ 0 w 10204016"/>
              <a:gd name="connsiteY4" fmla="*/ 6873584 h 6873584"/>
              <a:gd name="connsiteX5" fmla="*/ 9165 w 10204016"/>
              <a:gd name="connsiteY5" fmla="*/ 0 h 6873584"/>
              <a:gd name="connsiteX0" fmla="*/ 3555 w 10204016"/>
              <a:gd name="connsiteY0" fmla="*/ 0 h 6873584"/>
              <a:gd name="connsiteX1" fmla="*/ 7302053 w 10204016"/>
              <a:gd name="connsiteY1" fmla="*/ 396 h 6873584"/>
              <a:gd name="connsiteX2" fmla="*/ 10203827 w 10204016"/>
              <a:gd name="connsiteY2" fmla="*/ 2899158 h 6873584"/>
              <a:gd name="connsiteX3" fmla="*/ 10203593 w 10204016"/>
              <a:gd name="connsiteY3" fmla="*/ 6870974 h 6873584"/>
              <a:gd name="connsiteX4" fmla="*/ 0 w 10204016"/>
              <a:gd name="connsiteY4" fmla="*/ 6873584 h 6873584"/>
              <a:gd name="connsiteX5" fmla="*/ 3555 w 10204016"/>
              <a:gd name="connsiteY5" fmla="*/ 0 h 6873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4016" h="6873584">
                <a:moveTo>
                  <a:pt x="3555" y="0"/>
                </a:moveTo>
                <a:lnTo>
                  <a:pt x="7302053" y="396"/>
                </a:lnTo>
                <a:lnTo>
                  <a:pt x="10203827" y="2899158"/>
                </a:lnTo>
                <a:cubicBezTo>
                  <a:pt x="10204565" y="4232953"/>
                  <a:pt x="10202855" y="5537179"/>
                  <a:pt x="10203593" y="6870974"/>
                </a:cubicBezTo>
                <a:lnTo>
                  <a:pt x="0" y="6873584"/>
                </a:lnTo>
                <a:lnTo>
                  <a:pt x="3555" y="0"/>
                </a:lnTo>
                <a:close/>
              </a:path>
            </a:pathLst>
          </a:custGeom>
          <a:solidFill>
            <a:schemeClr val="accent2"/>
          </a:solidFill>
          <a:ln>
            <a:noFill/>
          </a:ln>
        </p:spPr>
        <p:txBody>
          <a:bodyPr/>
          <a:lstStyle>
            <a:lvl1pPr>
              <a:defRPr>
                <a:latin typeface="M05 Text Office" panose="020B0504040000000004" pitchFamily="34" charset="0"/>
              </a:defRPr>
            </a:lvl1pPr>
          </a:lstStyle>
          <a:p>
            <a:r>
              <a:rPr lang="de-DE"/>
              <a:t>Bild durch Klicken auf Symbol hinzufügen</a:t>
            </a:r>
          </a:p>
        </p:txBody>
      </p:sp>
      <p:sp>
        <p:nvSpPr>
          <p:cNvPr id="6" name="Rechteck: eine Ecke abgeschnitten 1">
            <a:extLst>
              <a:ext uri="{FF2B5EF4-FFF2-40B4-BE49-F238E27FC236}">
                <a16:creationId xmlns:a16="http://schemas.microsoft.com/office/drawing/2014/main" id="{65F72C75-C0F8-4CD7-82D7-F7BA15304D4C}"/>
              </a:ext>
            </a:extLst>
          </p:cNvPr>
          <p:cNvSpPr/>
          <p:nvPr userDrawn="1"/>
        </p:nvSpPr>
        <p:spPr>
          <a:xfrm rot="5400000">
            <a:off x="9739629" y="441952"/>
            <a:ext cx="2894273" cy="2010378"/>
          </a:xfrm>
          <a:custGeom>
            <a:avLst/>
            <a:gdLst>
              <a:gd name="connsiteX0" fmla="*/ 0 w 2865341"/>
              <a:gd name="connsiteY0" fmla="*/ 0 h 2010376"/>
              <a:gd name="connsiteX1" fmla="*/ 1860153 w 2865341"/>
              <a:gd name="connsiteY1" fmla="*/ 0 h 2010376"/>
              <a:gd name="connsiteX2" fmla="*/ 2865341 w 2865341"/>
              <a:gd name="connsiteY2" fmla="*/ 1005188 h 2010376"/>
              <a:gd name="connsiteX3" fmla="*/ 2865341 w 2865341"/>
              <a:gd name="connsiteY3" fmla="*/ 2010376 h 2010376"/>
              <a:gd name="connsiteX4" fmla="*/ 0 w 2865341"/>
              <a:gd name="connsiteY4" fmla="*/ 2010376 h 2010376"/>
              <a:gd name="connsiteX5" fmla="*/ 0 w 2865341"/>
              <a:gd name="connsiteY5" fmla="*/ 0 h 2010376"/>
              <a:gd name="connsiteX0" fmla="*/ 0 w 2865341"/>
              <a:gd name="connsiteY0" fmla="*/ 10634 h 2021010"/>
              <a:gd name="connsiteX1" fmla="*/ 913858 w 2865341"/>
              <a:gd name="connsiteY1" fmla="*/ 0 h 2021010"/>
              <a:gd name="connsiteX2" fmla="*/ 2865341 w 2865341"/>
              <a:gd name="connsiteY2" fmla="*/ 1015822 h 2021010"/>
              <a:gd name="connsiteX3" fmla="*/ 2865341 w 2865341"/>
              <a:gd name="connsiteY3" fmla="*/ 2021010 h 2021010"/>
              <a:gd name="connsiteX4" fmla="*/ 0 w 2865341"/>
              <a:gd name="connsiteY4" fmla="*/ 2021010 h 2021010"/>
              <a:gd name="connsiteX5" fmla="*/ 0 w 2865341"/>
              <a:gd name="connsiteY5" fmla="*/ 10634 h 2021010"/>
              <a:gd name="connsiteX0" fmla="*/ 0 w 2875976"/>
              <a:gd name="connsiteY0" fmla="*/ 10634 h 2021010"/>
              <a:gd name="connsiteX1" fmla="*/ 913858 w 2875976"/>
              <a:gd name="connsiteY1" fmla="*/ 0 h 2021010"/>
              <a:gd name="connsiteX2" fmla="*/ 2875976 w 2875976"/>
              <a:gd name="connsiteY2" fmla="*/ 2004650 h 2021010"/>
              <a:gd name="connsiteX3" fmla="*/ 2865341 w 2875976"/>
              <a:gd name="connsiteY3" fmla="*/ 2021010 h 2021010"/>
              <a:gd name="connsiteX4" fmla="*/ 0 w 2875976"/>
              <a:gd name="connsiteY4" fmla="*/ 2021010 h 2021010"/>
              <a:gd name="connsiteX5" fmla="*/ 0 w 2875976"/>
              <a:gd name="connsiteY5" fmla="*/ 10634 h 2021010"/>
              <a:gd name="connsiteX0" fmla="*/ 0 w 2875976"/>
              <a:gd name="connsiteY0" fmla="*/ 2 h 2010378"/>
              <a:gd name="connsiteX1" fmla="*/ 871328 w 2875976"/>
              <a:gd name="connsiteY1" fmla="*/ 0 h 2010378"/>
              <a:gd name="connsiteX2" fmla="*/ 2875976 w 2875976"/>
              <a:gd name="connsiteY2" fmla="*/ 1994018 h 2010378"/>
              <a:gd name="connsiteX3" fmla="*/ 2865341 w 2875976"/>
              <a:gd name="connsiteY3" fmla="*/ 2010378 h 2010378"/>
              <a:gd name="connsiteX4" fmla="*/ 0 w 2875976"/>
              <a:gd name="connsiteY4" fmla="*/ 2010378 h 2010378"/>
              <a:gd name="connsiteX5" fmla="*/ 0 w 2875976"/>
              <a:gd name="connsiteY5" fmla="*/ 2 h 2010378"/>
              <a:gd name="connsiteX0" fmla="*/ 0 w 2880137"/>
              <a:gd name="connsiteY0" fmla="*/ 2 h 2010378"/>
              <a:gd name="connsiteX1" fmla="*/ 871328 w 2880137"/>
              <a:gd name="connsiteY1" fmla="*/ 0 h 2010378"/>
              <a:gd name="connsiteX2" fmla="*/ 2875976 w 2880137"/>
              <a:gd name="connsiteY2" fmla="*/ 1994018 h 2010378"/>
              <a:gd name="connsiteX3" fmla="*/ 2880137 w 2880137"/>
              <a:gd name="connsiteY3" fmla="*/ 2010378 h 2010378"/>
              <a:gd name="connsiteX4" fmla="*/ 0 w 2880137"/>
              <a:gd name="connsiteY4" fmla="*/ 2010378 h 2010378"/>
              <a:gd name="connsiteX5" fmla="*/ 0 w 2880137"/>
              <a:gd name="connsiteY5" fmla="*/ 2 h 2010378"/>
              <a:gd name="connsiteX0" fmla="*/ 0 w 2880139"/>
              <a:gd name="connsiteY0" fmla="*/ 2 h 2010378"/>
              <a:gd name="connsiteX1" fmla="*/ 871328 w 2880139"/>
              <a:gd name="connsiteY1" fmla="*/ 0 h 2010378"/>
              <a:gd name="connsiteX2" fmla="*/ 2875976 w 2880139"/>
              <a:gd name="connsiteY2" fmla="*/ 1994018 h 2010378"/>
              <a:gd name="connsiteX3" fmla="*/ 2880139 w 2880139"/>
              <a:gd name="connsiteY3" fmla="*/ 2010378 h 2010378"/>
              <a:gd name="connsiteX4" fmla="*/ 0 w 2880139"/>
              <a:gd name="connsiteY4" fmla="*/ 2010378 h 2010378"/>
              <a:gd name="connsiteX5" fmla="*/ 0 w 2880139"/>
              <a:gd name="connsiteY5" fmla="*/ 2 h 2010378"/>
              <a:gd name="connsiteX0" fmla="*/ 0 w 2884855"/>
              <a:gd name="connsiteY0" fmla="*/ 2 h 2010378"/>
              <a:gd name="connsiteX1" fmla="*/ 871328 w 2884855"/>
              <a:gd name="connsiteY1" fmla="*/ 0 h 2010378"/>
              <a:gd name="connsiteX2" fmla="*/ 2884855 w 2884855"/>
              <a:gd name="connsiteY2" fmla="*/ 2002896 h 2010378"/>
              <a:gd name="connsiteX3" fmla="*/ 2880139 w 2884855"/>
              <a:gd name="connsiteY3" fmla="*/ 2010378 h 2010378"/>
              <a:gd name="connsiteX4" fmla="*/ 0 w 2884855"/>
              <a:gd name="connsiteY4" fmla="*/ 2010378 h 2010378"/>
              <a:gd name="connsiteX5" fmla="*/ 0 w 2884855"/>
              <a:gd name="connsiteY5" fmla="*/ 2 h 2010378"/>
              <a:gd name="connsiteX0" fmla="*/ 0 w 2880139"/>
              <a:gd name="connsiteY0" fmla="*/ 2 h 2010378"/>
              <a:gd name="connsiteX1" fmla="*/ 871328 w 2880139"/>
              <a:gd name="connsiteY1" fmla="*/ 0 h 2010378"/>
              <a:gd name="connsiteX2" fmla="*/ 2880139 w 2880139"/>
              <a:gd name="connsiteY2" fmla="*/ 2010378 h 2010378"/>
              <a:gd name="connsiteX3" fmla="*/ 0 w 2880139"/>
              <a:gd name="connsiteY3" fmla="*/ 2010378 h 2010378"/>
              <a:gd name="connsiteX4" fmla="*/ 0 w 2880139"/>
              <a:gd name="connsiteY4" fmla="*/ 2 h 2010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139" h="2010378">
                <a:moveTo>
                  <a:pt x="0" y="2"/>
                </a:moveTo>
                <a:lnTo>
                  <a:pt x="871328" y="0"/>
                </a:lnTo>
                <a:lnTo>
                  <a:pt x="2880139" y="2010378"/>
                </a:lnTo>
                <a:lnTo>
                  <a:pt x="0" y="2010378"/>
                </a:lnTo>
                <a:lnTo>
                  <a:pt x="0" y="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05 Text Office" panose="020B0504040000000004" pitchFamily="34" charset="0"/>
            </a:endParaRPr>
          </a:p>
        </p:txBody>
      </p:sp>
      <p:sp>
        <p:nvSpPr>
          <p:cNvPr id="7" name="Rechtwinkliges Dreieck 6">
            <a:extLst>
              <a:ext uri="{FF2B5EF4-FFF2-40B4-BE49-F238E27FC236}">
                <a16:creationId xmlns:a16="http://schemas.microsoft.com/office/drawing/2014/main" id="{7BE868DB-6408-4E0E-8F82-1C4A04A4AB90}"/>
              </a:ext>
            </a:extLst>
          </p:cNvPr>
          <p:cNvSpPr>
            <a:spLocks/>
          </p:cNvSpPr>
          <p:nvPr userDrawn="1"/>
        </p:nvSpPr>
        <p:spPr>
          <a:xfrm rot="10800000">
            <a:off x="7279975" y="-2323"/>
            <a:ext cx="2901600" cy="2896597"/>
          </a:xfrm>
          <a:prstGeom prst="rtTriangle">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814" tIns="38407" rIns="76814" bIns="38407" numCol="1" spcCol="0" rtlCol="0" fromWordArt="0" anchor="ctr" anchorCtr="0" forceAA="0" compatLnSpc="1">
            <a:prstTxWarp prst="textNoShape">
              <a:avLst/>
            </a:prstTxWarp>
            <a:noAutofit/>
          </a:bodyPr>
          <a:lstStyle/>
          <a:p>
            <a:pPr algn="ctr"/>
            <a:endParaRPr lang="de-DE" sz="1512"/>
          </a:p>
        </p:txBody>
      </p:sp>
      <p:sp>
        <p:nvSpPr>
          <p:cNvPr id="2" name="Rechteck: eine Ecke abgeschnitten 1">
            <a:extLst>
              <a:ext uri="{FF2B5EF4-FFF2-40B4-BE49-F238E27FC236}">
                <a16:creationId xmlns:a16="http://schemas.microsoft.com/office/drawing/2014/main" id="{55ED00CC-6F36-4185-B516-28E2FE13A7F8}"/>
              </a:ext>
            </a:extLst>
          </p:cNvPr>
          <p:cNvSpPr/>
          <p:nvPr userDrawn="1"/>
        </p:nvSpPr>
        <p:spPr>
          <a:xfrm flipH="1">
            <a:off x="10182372" y="867472"/>
            <a:ext cx="2009583" cy="5990529"/>
          </a:xfrm>
          <a:custGeom>
            <a:avLst/>
            <a:gdLst>
              <a:gd name="connsiteX0" fmla="*/ 0 w 2010379"/>
              <a:gd name="connsiteY0" fmla="*/ 0 h 6124470"/>
              <a:gd name="connsiteX1" fmla="*/ 1005190 w 2010379"/>
              <a:gd name="connsiteY1" fmla="*/ 0 h 6124470"/>
              <a:gd name="connsiteX2" fmla="*/ 2010379 w 2010379"/>
              <a:gd name="connsiteY2" fmla="*/ 1005190 h 6124470"/>
              <a:gd name="connsiteX3" fmla="*/ 2010379 w 2010379"/>
              <a:gd name="connsiteY3" fmla="*/ 6124470 h 6124470"/>
              <a:gd name="connsiteX4" fmla="*/ 0 w 2010379"/>
              <a:gd name="connsiteY4" fmla="*/ 6124470 h 6124470"/>
              <a:gd name="connsiteX5" fmla="*/ 0 w 2010379"/>
              <a:gd name="connsiteY5" fmla="*/ 0 h 6124470"/>
              <a:gd name="connsiteX0" fmla="*/ 0 w 2010379"/>
              <a:gd name="connsiteY0" fmla="*/ 0 h 6124470"/>
              <a:gd name="connsiteX1" fmla="*/ 1005190 w 2010379"/>
              <a:gd name="connsiteY1" fmla="*/ 0 h 6124470"/>
              <a:gd name="connsiteX2" fmla="*/ 2010379 w 2010379"/>
              <a:gd name="connsiteY2" fmla="*/ 2110509 h 6124470"/>
              <a:gd name="connsiteX3" fmla="*/ 2010379 w 2010379"/>
              <a:gd name="connsiteY3" fmla="*/ 6124470 h 6124470"/>
              <a:gd name="connsiteX4" fmla="*/ 0 w 2010379"/>
              <a:gd name="connsiteY4" fmla="*/ 6124470 h 6124470"/>
              <a:gd name="connsiteX5" fmla="*/ 0 w 2010379"/>
              <a:gd name="connsiteY5" fmla="*/ 0 h 6124470"/>
              <a:gd name="connsiteX0" fmla="*/ 0 w 2010379"/>
              <a:gd name="connsiteY0" fmla="*/ 0 h 6124470"/>
              <a:gd name="connsiteX1" fmla="*/ 2010379 w 2010379"/>
              <a:gd name="connsiteY1" fmla="*/ 2110509 h 6124470"/>
              <a:gd name="connsiteX2" fmla="*/ 2010379 w 2010379"/>
              <a:gd name="connsiteY2" fmla="*/ 6124470 h 6124470"/>
              <a:gd name="connsiteX3" fmla="*/ 0 w 2010379"/>
              <a:gd name="connsiteY3" fmla="*/ 6124470 h 6124470"/>
              <a:gd name="connsiteX4" fmla="*/ 0 w 2010379"/>
              <a:gd name="connsiteY4" fmla="*/ 0 h 6124470"/>
              <a:gd name="connsiteX0" fmla="*/ 10048 w 2010379"/>
              <a:gd name="connsiteY0" fmla="*/ 0 h 5993841"/>
              <a:gd name="connsiteX1" fmla="*/ 2010379 w 2010379"/>
              <a:gd name="connsiteY1" fmla="*/ 1979880 h 5993841"/>
              <a:gd name="connsiteX2" fmla="*/ 2010379 w 2010379"/>
              <a:gd name="connsiteY2" fmla="*/ 5993841 h 5993841"/>
              <a:gd name="connsiteX3" fmla="*/ 0 w 2010379"/>
              <a:gd name="connsiteY3" fmla="*/ 5993841 h 5993841"/>
              <a:gd name="connsiteX4" fmla="*/ 10048 w 2010379"/>
              <a:gd name="connsiteY4" fmla="*/ 0 h 5993841"/>
              <a:gd name="connsiteX0" fmla="*/ 10048 w 2010379"/>
              <a:gd name="connsiteY0" fmla="*/ 0 h 5993841"/>
              <a:gd name="connsiteX1" fmla="*/ 2007042 w 2010379"/>
              <a:gd name="connsiteY1" fmla="*/ 2023264 h 5993841"/>
              <a:gd name="connsiteX2" fmla="*/ 2010379 w 2010379"/>
              <a:gd name="connsiteY2" fmla="*/ 5993841 h 5993841"/>
              <a:gd name="connsiteX3" fmla="*/ 0 w 2010379"/>
              <a:gd name="connsiteY3" fmla="*/ 5993841 h 5993841"/>
              <a:gd name="connsiteX4" fmla="*/ 10048 w 2010379"/>
              <a:gd name="connsiteY4" fmla="*/ 0 h 5993841"/>
              <a:gd name="connsiteX0" fmla="*/ 10048 w 2010379"/>
              <a:gd name="connsiteY0" fmla="*/ 0 h 5993841"/>
              <a:gd name="connsiteX1" fmla="*/ 2007042 w 2010379"/>
              <a:gd name="connsiteY1" fmla="*/ 2023264 h 5993841"/>
              <a:gd name="connsiteX2" fmla="*/ 2010379 w 2010379"/>
              <a:gd name="connsiteY2" fmla="*/ 5993841 h 5993841"/>
              <a:gd name="connsiteX3" fmla="*/ 0 w 2010379"/>
              <a:gd name="connsiteY3" fmla="*/ 5993841 h 5993841"/>
              <a:gd name="connsiteX4" fmla="*/ 10048 w 2010379"/>
              <a:gd name="connsiteY4" fmla="*/ 0 h 5993841"/>
              <a:gd name="connsiteX0" fmla="*/ 10048 w 2007363"/>
              <a:gd name="connsiteY0" fmla="*/ 0 h 5993841"/>
              <a:gd name="connsiteX1" fmla="*/ 2007042 w 2007363"/>
              <a:gd name="connsiteY1" fmla="*/ 2023264 h 5993841"/>
              <a:gd name="connsiteX2" fmla="*/ 2007042 w 2007363"/>
              <a:gd name="connsiteY2" fmla="*/ 5993841 h 5993841"/>
              <a:gd name="connsiteX3" fmla="*/ 0 w 2007363"/>
              <a:gd name="connsiteY3" fmla="*/ 5993841 h 5993841"/>
              <a:gd name="connsiteX4" fmla="*/ 10048 w 2007363"/>
              <a:gd name="connsiteY4" fmla="*/ 0 h 5993841"/>
              <a:gd name="connsiteX0" fmla="*/ 3373 w 2007363"/>
              <a:gd name="connsiteY0" fmla="*/ 0 h 5980492"/>
              <a:gd name="connsiteX1" fmla="*/ 2007042 w 2007363"/>
              <a:gd name="connsiteY1" fmla="*/ 2009915 h 5980492"/>
              <a:gd name="connsiteX2" fmla="*/ 2007042 w 2007363"/>
              <a:gd name="connsiteY2" fmla="*/ 5980492 h 5980492"/>
              <a:gd name="connsiteX3" fmla="*/ 0 w 2007363"/>
              <a:gd name="connsiteY3" fmla="*/ 5980492 h 5980492"/>
              <a:gd name="connsiteX4" fmla="*/ 3373 w 2007363"/>
              <a:gd name="connsiteY4" fmla="*/ 0 h 5980492"/>
              <a:gd name="connsiteX0" fmla="*/ 743 w 2010651"/>
              <a:gd name="connsiteY0" fmla="*/ 0 h 5986410"/>
              <a:gd name="connsiteX1" fmla="*/ 2010330 w 2010651"/>
              <a:gd name="connsiteY1" fmla="*/ 2015833 h 5986410"/>
              <a:gd name="connsiteX2" fmla="*/ 2010330 w 2010651"/>
              <a:gd name="connsiteY2" fmla="*/ 5986410 h 5986410"/>
              <a:gd name="connsiteX3" fmla="*/ 3288 w 2010651"/>
              <a:gd name="connsiteY3" fmla="*/ 5986410 h 5986410"/>
              <a:gd name="connsiteX4" fmla="*/ 743 w 2010651"/>
              <a:gd name="connsiteY4" fmla="*/ 0 h 5986410"/>
              <a:gd name="connsiteX0" fmla="*/ 743 w 2010651"/>
              <a:gd name="connsiteY0" fmla="*/ 0 h 5986410"/>
              <a:gd name="connsiteX1" fmla="*/ 2010330 w 2010651"/>
              <a:gd name="connsiteY1" fmla="*/ 2015833 h 5986410"/>
              <a:gd name="connsiteX2" fmla="*/ 2010330 w 2010651"/>
              <a:gd name="connsiteY2" fmla="*/ 5986410 h 5986410"/>
              <a:gd name="connsiteX3" fmla="*/ 3288 w 2010651"/>
              <a:gd name="connsiteY3" fmla="*/ 5986410 h 5986410"/>
              <a:gd name="connsiteX4" fmla="*/ 743 w 2010651"/>
              <a:gd name="connsiteY4" fmla="*/ 0 h 5986410"/>
              <a:gd name="connsiteX0" fmla="*/ 3374 w 2007363"/>
              <a:gd name="connsiteY0" fmla="*/ 0 h 5986410"/>
              <a:gd name="connsiteX1" fmla="*/ 2007042 w 2007363"/>
              <a:gd name="connsiteY1" fmla="*/ 2015833 h 5986410"/>
              <a:gd name="connsiteX2" fmla="*/ 2007042 w 2007363"/>
              <a:gd name="connsiteY2" fmla="*/ 5986410 h 5986410"/>
              <a:gd name="connsiteX3" fmla="*/ 0 w 2007363"/>
              <a:gd name="connsiteY3" fmla="*/ 5986410 h 5986410"/>
              <a:gd name="connsiteX4" fmla="*/ 3374 w 2007363"/>
              <a:gd name="connsiteY4" fmla="*/ 0 h 5986410"/>
              <a:gd name="connsiteX0" fmla="*/ 1017 w 2007965"/>
              <a:gd name="connsiteY0" fmla="*/ 0 h 5998247"/>
              <a:gd name="connsiteX1" fmla="*/ 2007644 w 2007965"/>
              <a:gd name="connsiteY1" fmla="*/ 2027670 h 5998247"/>
              <a:gd name="connsiteX2" fmla="*/ 2007644 w 2007965"/>
              <a:gd name="connsiteY2" fmla="*/ 5998247 h 5998247"/>
              <a:gd name="connsiteX3" fmla="*/ 602 w 2007965"/>
              <a:gd name="connsiteY3" fmla="*/ 5998247 h 5998247"/>
              <a:gd name="connsiteX4" fmla="*/ 1017 w 2007965"/>
              <a:gd name="connsiteY4" fmla="*/ 0 h 5998247"/>
              <a:gd name="connsiteX0" fmla="*/ 743 w 2010650"/>
              <a:gd name="connsiteY0" fmla="*/ 0 h 5986410"/>
              <a:gd name="connsiteX1" fmla="*/ 2010329 w 2010650"/>
              <a:gd name="connsiteY1" fmla="*/ 2015833 h 5986410"/>
              <a:gd name="connsiteX2" fmla="*/ 2010329 w 2010650"/>
              <a:gd name="connsiteY2" fmla="*/ 5986410 h 5986410"/>
              <a:gd name="connsiteX3" fmla="*/ 3287 w 2010650"/>
              <a:gd name="connsiteY3" fmla="*/ 5986410 h 5986410"/>
              <a:gd name="connsiteX4" fmla="*/ 743 w 2010650"/>
              <a:gd name="connsiteY4" fmla="*/ 0 h 5986410"/>
              <a:gd name="connsiteX0" fmla="*/ 5694 w 2015601"/>
              <a:gd name="connsiteY0" fmla="*/ 0 h 5986410"/>
              <a:gd name="connsiteX1" fmla="*/ 2015280 w 2015601"/>
              <a:gd name="connsiteY1" fmla="*/ 2015833 h 5986410"/>
              <a:gd name="connsiteX2" fmla="*/ 2015280 w 2015601"/>
              <a:gd name="connsiteY2" fmla="*/ 5986410 h 5986410"/>
              <a:gd name="connsiteX3" fmla="*/ 0 w 2015601"/>
              <a:gd name="connsiteY3" fmla="*/ 5986410 h 5986410"/>
              <a:gd name="connsiteX4" fmla="*/ 5694 w 2015601"/>
              <a:gd name="connsiteY4" fmla="*/ 0 h 5986410"/>
              <a:gd name="connsiteX0" fmla="*/ 1575 w 2015601"/>
              <a:gd name="connsiteY0" fmla="*/ 0 h 5982291"/>
              <a:gd name="connsiteX1" fmla="*/ 2015280 w 2015601"/>
              <a:gd name="connsiteY1" fmla="*/ 2011714 h 5982291"/>
              <a:gd name="connsiteX2" fmla="*/ 2015280 w 2015601"/>
              <a:gd name="connsiteY2" fmla="*/ 5982291 h 5982291"/>
              <a:gd name="connsiteX3" fmla="*/ 0 w 2015601"/>
              <a:gd name="connsiteY3" fmla="*/ 5982291 h 5982291"/>
              <a:gd name="connsiteX4" fmla="*/ 1575 w 2015601"/>
              <a:gd name="connsiteY4" fmla="*/ 0 h 5982291"/>
              <a:gd name="connsiteX0" fmla="*/ 1575 w 2015601"/>
              <a:gd name="connsiteY0" fmla="*/ 0 h 5990529"/>
              <a:gd name="connsiteX1" fmla="*/ 2015280 w 2015601"/>
              <a:gd name="connsiteY1" fmla="*/ 2019952 h 5990529"/>
              <a:gd name="connsiteX2" fmla="*/ 2015280 w 2015601"/>
              <a:gd name="connsiteY2" fmla="*/ 5990529 h 5990529"/>
              <a:gd name="connsiteX3" fmla="*/ 0 w 2015601"/>
              <a:gd name="connsiteY3" fmla="*/ 5990529 h 5990529"/>
              <a:gd name="connsiteX4" fmla="*/ 1575 w 2015601"/>
              <a:gd name="connsiteY4" fmla="*/ 0 h 5990529"/>
              <a:gd name="connsiteX0" fmla="*/ 1575 w 2017830"/>
              <a:gd name="connsiteY0" fmla="*/ 0 h 5990529"/>
              <a:gd name="connsiteX1" fmla="*/ 2017656 w 2017830"/>
              <a:gd name="connsiteY1" fmla="*/ 2031859 h 5990529"/>
              <a:gd name="connsiteX2" fmla="*/ 2015280 w 2017830"/>
              <a:gd name="connsiteY2" fmla="*/ 5990529 h 5990529"/>
              <a:gd name="connsiteX3" fmla="*/ 0 w 2017830"/>
              <a:gd name="connsiteY3" fmla="*/ 5990529 h 5990529"/>
              <a:gd name="connsiteX4" fmla="*/ 1575 w 2017830"/>
              <a:gd name="connsiteY4" fmla="*/ 0 h 5990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7830" h="5990529">
                <a:moveTo>
                  <a:pt x="1575" y="0"/>
                </a:moveTo>
                <a:lnTo>
                  <a:pt x="2017656" y="2031859"/>
                </a:lnTo>
                <a:cubicBezTo>
                  <a:pt x="2018768" y="3355385"/>
                  <a:pt x="2014168" y="4667003"/>
                  <a:pt x="2015280" y="5990529"/>
                </a:cubicBezTo>
                <a:lnTo>
                  <a:pt x="0" y="5990529"/>
                </a:lnTo>
                <a:cubicBezTo>
                  <a:pt x="3349" y="3992582"/>
                  <a:pt x="-1774" y="1997947"/>
                  <a:pt x="1575"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05 Text Office" panose="020B0504040000000004" pitchFamily="34" charset="0"/>
            </a:endParaRPr>
          </a:p>
        </p:txBody>
      </p:sp>
    </p:spTree>
    <p:extLst>
      <p:ext uri="{BB962C8B-B14F-4D97-AF65-F5344CB8AC3E}">
        <p14:creationId xmlns:p14="http://schemas.microsoft.com/office/powerpoint/2010/main" val="2330706583"/>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ild mit Raster rechts w">
    <p:bg>
      <p:bgRef idx="1002">
        <a:schemeClr val="bg1"/>
      </p:bgRef>
    </p:bg>
    <p:spTree>
      <p:nvGrpSpPr>
        <p:cNvPr id="1" name=""/>
        <p:cNvGrpSpPr/>
        <p:nvPr/>
      </p:nvGrpSpPr>
      <p:grpSpPr>
        <a:xfrm>
          <a:off x="0" y="0"/>
          <a:ext cx="0" cy="0"/>
          <a:chOff x="0" y="0"/>
          <a:chExt cx="0" cy="0"/>
        </a:xfrm>
      </p:grpSpPr>
      <p:sp>
        <p:nvSpPr>
          <p:cNvPr id="9" name="Bildplatzhalter 19">
            <a:extLst>
              <a:ext uri="{FF2B5EF4-FFF2-40B4-BE49-F238E27FC236}">
                <a16:creationId xmlns:a16="http://schemas.microsoft.com/office/drawing/2014/main" id="{FD78B86D-D76F-490A-9199-B43295774BAE}"/>
              </a:ext>
            </a:extLst>
          </p:cNvPr>
          <p:cNvSpPr>
            <a:spLocks noGrp="1"/>
          </p:cNvSpPr>
          <p:nvPr>
            <p:ph type="pic" sz="quarter" idx="10"/>
          </p:nvPr>
        </p:nvSpPr>
        <p:spPr>
          <a:xfrm>
            <a:off x="-9977" y="-2718"/>
            <a:ext cx="10198800" cy="6868259"/>
          </a:xfrm>
          <a:custGeom>
            <a:avLst/>
            <a:gdLst>
              <a:gd name="connsiteX0" fmla="*/ 0 w 10172700"/>
              <a:gd name="connsiteY0" fmla="*/ 0 h 6858000"/>
              <a:gd name="connsiteX1" fmla="*/ 6743700 w 10172700"/>
              <a:gd name="connsiteY1" fmla="*/ 0 h 6858000"/>
              <a:gd name="connsiteX2" fmla="*/ 10172700 w 10172700"/>
              <a:gd name="connsiteY2" fmla="*/ 3429000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9525 h 6867525"/>
              <a:gd name="connsiteX1" fmla="*/ 4772025 w 10172700"/>
              <a:gd name="connsiteY1" fmla="*/ 0 h 6867525"/>
              <a:gd name="connsiteX2" fmla="*/ 10172700 w 10172700"/>
              <a:gd name="connsiteY2" fmla="*/ 3438525 h 6867525"/>
              <a:gd name="connsiteX3" fmla="*/ 10172700 w 10172700"/>
              <a:gd name="connsiteY3" fmla="*/ 6867525 h 6867525"/>
              <a:gd name="connsiteX4" fmla="*/ 0 w 10172700"/>
              <a:gd name="connsiteY4" fmla="*/ 6867525 h 6867525"/>
              <a:gd name="connsiteX5" fmla="*/ 0 w 10172700"/>
              <a:gd name="connsiteY5" fmla="*/ 9525 h 6867525"/>
              <a:gd name="connsiteX0" fmla="*/ 0 w 10172700"/>
              <a:gd name="connsiteY0" fmla="*/ 9525 h 6867525"/>
              <a:gd name="connsiteX1" fmla="*/ 4772025 w 10172700"/>
              <a:gd name="connsiteY1" fmla="*/ 0 h 6867525"/>
              <a:gd name="connsiteX2" fmla="*/ 9439275 w 10172700"/>
              <a:gd name="connsiteY2" fmla="*/ 4791075 h 6867525"/>
              <a:gd name="connsiteX3" fmla="*/ 10172700 w 10172700"/>
              <a:gd name="connsiteY3" fmla="*/ 6867525 h 6867525"/>
              <a:gd name="connsiteX4" fmla="*/ 0 w 10172700"/>
              <a:gd name="connsiteY4" fmla="*/ 6867525 h 6867525"/>
              <a:gd name="connsiteX5" fmla="*/ 0 w 10172700"/>
              <a:gd name="connsiteY5" fmla="*/ 9525 h 6867525"/>
              <a:gd name="connsiteX0" fmla="*/ 0 w 10191750"/>
              <a:gd name="connsiteY0" fmla="*/ 9525 h 6867525"/>
              <a:gd name="connsiteX1" fmla="*/ 4772025 w 10191750"/>
              <a:gd name="connsiteY1" fmla="*/ 0 h 6867525"/>
              <a:gd name="connsiteX2" fmla="*/ 10191750 w 10191750"/>
              <a:gd name="connsiteY2" fmla="*/ 5572125 h 6867525"/>
              <a:gd name="connsiteX3" fmla="*/ 10172700 w 10191750"/>
              <a:gd name="connsiteY3" fmla="*/ 6867525 h 6867525"/>
              <a:gd name="connsiteX4" fmla="*/ 0 w 10191750"/>
              <a:gd name="connsiteY4" fmla="*/ 6867525 h 6867525"/>
              <a:gd name="connsiteX5" fmla="*/ 0 w 10191750"/>
              <a:gd name="connsiteY5" fmla="*/ 9525 h 6867525"/>
              <a:gd name="connsiteX0" fmla="*/ 0 w 10191750"/>
              <a:gd name="connsiteY0" fmla="*/ 0 h 6858000"/>
              <a:gd name="connsiteX1" fmla="*/ 4076700 w 10191750"/>
              <a:gd name="connsiteY1" fmla="*/ 238125 h 6858000"/>
              <a:gd name="connsiteX2" fmla="*/ 10191750 w 10191750"/>
              <a:gd name="connsiteY2" fmla="*/ 5562600 h 6858000"/>
              <a:gd name="connsiteX3" fmla="*/ 10172700 w 10191750"/>
              <a:gd name="connsiteY3" fmla="*/ 6858000 h 6858000"/>
              <a:gd name="connsiteX4" fmla="*/ 0 w 10191750"/>
              <a:gd name="connsiteY4" fmla="*/ 6858000 h 6858000"/>
              <a:gd name="connsiteX5" fmla="*/ 0 w 10191750"/>
              <a:gd name="connsiteY5" fmla="*/ 0 h 6858000"/>
              <a:gd name="connsiteX0" fmla="*/ 0 w 10191750"/>
              <a:gd name="connsiteY0" fmla="*/ 0 h 6858000"/>
              <a:gd name="connsiteX1" fmla="*/ 4381500 w 10191750"/>
              <a:gd name="connsiteY1" fmla="*/ 0 h 6858000"/>
              <a:gd name="connsiteX2" fmla="*/ 10191750 w 10191750"/>
              <a:gd name="connsiteY2" fmla="*/ 5562600 h 6858000"/>
              <a:gd name="connsiteX3" fmla="*/ 10172700 w 10191750"/>
              <a:gd name="connsiteY3" fmla="*/ 6858000 h 6858000"/>
              <a:gd name="connsiteX4" fmla="*/ 0 w 10191750"/>
              <a:gd name="connsiteY4" fmla="*/ 6858000 h 6858000"/>
              <a:gd name="connsiteX5" fmla="*/ 0 w 10191750"/>
              <a:gd name="connsiteY5" fmla="*/ 0 h 6858000"/>
              <a:gd name="connsiteX0" fmla="*/ 0 w 10172700"/>
              <a:gd name="connsiteY0" fmla="*/ 0 h 6858000"/>
              <a:gd name="connsiteX1" fmla="*/ 4381500 w 10172700"/>
              <a:gd name="connsiteY1" fmla="*/ 0 h 6858000"/>
              <a:gd name="connsiteX2" fmla="*/ 10172700 w 10172700"/>
              <a:gd name="connsiteY2" fmla="*/ 5676900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0 h 6858000"/>
              <a:gd name="connsiteX1" fmla="*/ 4381500 w 10172700"/>
              <a:gd name="connsiteY1" fmla="*/ 0 h 6858000"/>
              <a:gd name="connsiteX2" fmla="*/ 10134600 w 10172700"/>
              <a:gd name="connsiteY2" fmla="*/ 5791200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91750"/>
              <a:gd name="connsiteY0" fmla="*/ 0 h 6858000"/>
              <a:gd name="connsiteX1" fmla="*/ 4381500 w 10191750"/>
              <a:gd name="connsiteY1" fmla="*/ 0 h 6858000"/>
              <a:gd name="connsiteX2" fmla="*/ 10191750 w 10191750"/>
              <a:gd name="connsiteY2" fmla="*/ 5791200 h 6858000"/>
              <a:gd name="connsiteX3" fmla="*/ 10172700 w 10191750"/>
              <a:gd name="connsiteY3" fmla="*/ 6858000 h 6858000"/>
              <a:gd name="connsiteX4" fmla="*/ 0 w 10191750"/>
              <a:gd name="connsiteY4" fmla="*/ 6858000 h 6858000"/>
              <a:gd name="connsiteX5" fmla="*/ 0 w 10191750"/>
              <a:gd name="connsiteY5" fmla="*/ 0 h 6858000"/>
              <a:gd name="connsiteX0" fmla="*/ 0 w 10191750"/>
              <a:gd name="connsiteY0" fmla="*/ 0 h 6858000"/>
              <a:gd name="connsiteX1" fmla="*/ 4400550 w 10191750"/>
              <a:gd name="connsiteY1" fmla="*/ 0 h 6858000"/>
              <a:gd name="connsiteX2" fmla="*/ 10191750 w 10191750"/>
              <a:gd name="connsiteY2" fmla="*/ 5791200 h 6858000"/>
              <a:gd name="connsiteX3" fmla="*/ 10172700 w 10191750"/>
              <a:gd name="connsiteY3" fmla="*/ 6858000 h 6858000"/>
              <a:gd name="connsiteX4" fmla="*/ 0 w 10191750"/>
              <a:gd name="connsiteY4" fmla="*/ 6858000 h 6858000"/>
              <a:gd name="connsiteX5" fmla="*/ 0 w 10191750"/>
              <a:gd name="connsiteY5" fmla="*/ 0 h 6858000"/>
              <a:gd name="connsiteX0" fmla="*/ 0 w 10191750"/>
              <a:gd name="connsiteY0" fmla="*/ 0 h 6858000"/>
              <a:gd name="connsiteX1" fmla="*/ 7367033 w 10191750"/>
              <a:gd name="connsiteY1" fmla="*/ 10633 h 6858000"/>
              <a:gd name="connsiteX2" fmla="*/ 10191750 w 10191750"/>
              <a:gd name="connsiteY2" fmla="*/ 5791200 h 6858000"/>
              <a:gd name="connsiteX3" fmla="*/ 10172700 w 10191750"/>
              <a:gd name="connsiteY3" fmla="*/ 6858000 h 6858000"/>
              <a:gd name="connsiteX4" fmla="*/ 0 w 10191750"/>
              <a:gd name="connsiteY4" fmla="*/ 6858000 h 6858000"/>
              <a:gd name="connsiteX5" fmla="*/ 0 w 10191750"/>
              <a:gd name="connsiteY5" fmla="*/ 0 h 6858000"/>
              <a:gd name="connsiteX0" fmla="*/ 0 w 10172700"/>
              <a:gd name="connsiteY0" fmla="*/ 0 h 6858000"/>
              <a:gd name="connsiteX1" fmla="*/ 7367033 w 10172700"/>
              <a:gd name="connsiteY1" fmla="*/ 10633 h 6858000"/>
              <a:gd name="connsiteX2" fmla="*/ 10170485 w 10172700"/>
              <a:gd name="connsiteY2" fmla="*/ 2856614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0 h 6858000"/>
              <a:gd name="connsiteX1" fmla="*/ 7367033 w 10172700"/>
              <a:gd name="connsiteY1" fmla="*/ 5222 h 6858000"/>
              <a:gd name="connsiteX2" fmla="*/ 10170485 w 10172700"/>
              <a:gd name="connsiteY2" fmla="*/ 2856614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0 h 6858000"/>
              <a:gd name="connsiteX1" fmla="*/ 7338458 w 10172700"/>
              <a:gd name="connsiteY1" fmla="*/ 5222 h 6858000"/>
              <a:gd name="connsiteX2" fmla="*/ 10170485 w 10172700"/>
              <a:gd name="connsiteY2" fmla="*/ 2856614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0 h 6858000"/>
              <a:gd name="connsiteX1" fmla="*/ 7241906 w 10172700"/>
              <a:gd name="connsiteY1" fmla="*/ 5222 h 6858000"/>
              <a:gd name="connsiteX2" fmla="*/ 10170485 w 10172700"/>
              <a:gd name="connsiteY2" fmla="*/ 2856614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0 h 6858000"/>
              <a:gd name="connsiteX1" fmla="*/ 7332779 w 10172700"/>
              <a:gd name="connsiteY1" fmla="*/ 5222 h 6858000"/>
              <a:gd name="connsiteX2" fmla="*/ 10170485 w 10172700"/>
              <a:gd name="connsiteY2" fmla="*/ 2856614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6240"/>
              <a:gd name="connsiteY0" fmla="*/ 0 h 6858000"/>
              <a:gd name="connsiteX1" fmla="*/ 7332779 w 10176240"/>
              <a:gd name="connsiteY1" fmla="*/ 5222 h 6858000"/>
              <a:gd name="connsiteX2" fmla="*/ 10176165 w 10176240"/>
              <a:gd name="connsiteY2" fmla="*/ 3004281 h 6858000"/>
              <a:gd name="connsiteX3" fmla="*/ 10172700 w 10176240"/>
              <a:gd name="connsiteY3" fmla="*/ 6858000 h 6858000"/>
              <a:gd name="connsiteX4" fmla="*/ 0 w 10176240"/>
              <a:gd name="connsiteY4" fmla="*/ 6858000 h 6858000"/>
              <a:gd name="connsiteX5" fmla="*/ 0 w 10176240"/>
              <a:gd name="connsiteY5" fmla="*/ 0 h 6858000"/>
              <a:gd name="connsiteX0" fmla="*/ 0 w 10181880"/>
              <a:gd name="connsiteY0" fmla="*/ 0 h 6858000"/>
              <a:gd name="connsiteX1" fmla="*/ 7332779 w 10181880"/>
              <a:gd name="connsiteY1" fmla="*/ 5222 h 6858000"/>
              <a:gd name="connsiteX2" fmla="*/ 10181844 w 10181880"/>
              <a:gd name="connsiteY2" fmla="*/ 2867973 h 6858000"/>
              <a:gd name="connsiteX3" fmla="*/ 10172700 w 10181880"/>
              <a:gd name="connsiteY3" fmla="*/ 6858000 h 6858000"/>
              <a:gd name="connsiteX4" fmla="*/ 0 w 10181880"/>
              <a:gd name="connsiteY4" fmla="*/ 6858000 h 6858000"/>
              <a:gd name="connsiteX5" fmla="*/ 0 w 10181880"/>
              <a:gd name="connsiteY5" fmla="*/ 0 h 6858000"/>
              <a:gd name="connsiteX0" fmla="*/ 0 w 10172700"/>
              <a:gd name="connsiteY0" fmla="*/ 0 h 6858000"/>
              <a:gd name="connsiteX1" fmla="*/ 7332779 w 10172700"/>
              <a:gd name="connsiteY1" fmla="*/ 5222 h 6858000"/>
              <a:gd name="connsiteX2" fmla="*/ 10164805 w 10172700"/>
              <a:gd name="connsiteY2" fmla="*/ 2867973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0 h 6858000"/>
              <a:gd name="connsiteX1" fmla="*/ 7332779 w 10172700"/>
              <a:gd name="connsiteY1" fmla="*/ 5222 h 6858000"/>
              <a:gd name="connsiteX2" fmla="*/ 10170484 w 10172700"/>
              <a:gd name="connsiteY2" fmla="*/ 2867973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81879"/>
              <a:gd name="connsiteY0" fmla="*/ 0 h 6858000"/>
              <a:gd name="connsiteX1" fmla="*/ 7332779 w 10181879"/>
              <a:gd name="connsiteY1" fmla="*/ 5222 h 6858000"/>
              <a:gd name="connsiteX2" fmla="*/ 10181843 w 10181879"/>
              <a:gd name="connsiteY2" fmla="*/ 2867973 h 6858000"/>
              <a:gd name="connsiteX3" fmla="*/ 10172700 w 10181879"/>
              <a:gd name="connsiteY3" fmla="*/ 6858000 h 6858000"/>
              <a:gd name="connsiteX4" fmla="*/ 0 w 10181879"/>
              <a:gd name="connsiteY4" fmla="*/ 6858000 h 6858000"/>
              <a:gd name="connsiteX5" fmla="*/ 0 w 10181879"/>
              <a:gd name="connsiteY5" fmla="*/ 0 h 6858000"/>
              <a:gd name="connsiteX0" fmla="*/ 0 w 10181879"/>
              <a:gd name="connsiteY0" fmla="*/ 0 h 6858000"/>
              <a:gd name="connsiteX1" fmla="*/ 7332779 w 10181879"/>
              <a:gd name="connsiteY1" fmla="*/ 5222 h 6858000"/>
              <a:gd name="connsiteX2" fmla="*/ 10181843 w 10181879"/>
              <a:gd name="connsiteY2" fmla="*/ 2867973 h 6858000"/>
              <a:gd name="connsiteX3" fmla="*/ 10172700 w 10181879"/>
              <a:gd name="connsiteY3" fmla="*/ 6858000 h 6858000"/>
              <a:gd name="connsiteX4" fmla="*/ 0 w 10181879"/>
              <a:gd name="connsiteY4" fmla="*/ 6858000 h 6858000"/>
              <a:gd name="connsiteX5" fmla="*/ 0 w 10181879"/>
              <a:gd name="connsiteY5" fmla="*/ 0 h 6858000"/>
              <a:gd name="connsiteX0" fmla="*/ 0 w 10172700"/>
              <a:gd name="connsiteY0" fmla="*/ 0 h 6858000"/>
              <a:gd name="connsiteX1" fmla="*/ 7332779 w 10172700"/>
              <a:gd name="connsiteY1" fmla="*/ 5222 h 6858000"/>
              <a:gd name="connsiteX2" fmla="*/ 10170484 w 10172700"/>
              <a:gd name="connsiteY2" fmla="*/ 2867973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0520"/>
              <a:gd name="connsiteY0" fmla="*/ 0 h 6858000"/>
              <a:gd name="connsiteX1" fmla="*/ 7332779 w 10170520"/>
              <a:gd name="connsiteY1" fmla="*/ 5222 h 6858000"/>
              <a:gd name="connsiteX2" fmla="*/ 10170484 w 10170520"/>
              <a:gd name="connsiteY2" fmla="*/ 2867973 h 6858000"/>
              <a:gd name="connsiteX3" fmla="*/ 10161341 w 10170520"/>
              <a:gd name="connsiteY3" fmla="*/ 6858000 h 6858000"/>
              <a:gd name="connsiteX4" fmla="*/ 0 w 10170520"/>
              <a:gd name="connsiteY4" fmla="*/ 6858000 h 6858000"/>
              <a:gd name="connsiteX5" fmla="*/ 0 w 10170520"/>
              <a:gd name="connsiteY5" fmla="*/ 0 h 6858000"/>
              <a:gd name="connsiteX0" fmla="*/ 0 w 10172700"/>
              <a:gd name="connsiteY0" fmla="*/ 0 h 6858000"/>
              <a:gd name="connsiteX1" fmla="*/ 7332779 w 10172700"/>
              <a:gd name="connsiteY1" fmla="*/ 5222 h 6858000"/>
              <a:gd name="connsiteX2" fmla="*/ 10170484 w 10172700"/>
              <a:gd name="connsiteY2" fmla="*/ 2867973 h 6858000"/>
              <a:gd name="connsiteX3" fmla="*/ 10172700 w 10172700"/>
              <a:gd name="connsiteY3" fmla="*/ 6858000 h 6858000"/>
              <a:gd name="connsiteX4" fmla="*/ 0 w 10172700"/>
              <a:gd name="connsiteY4" fmla="*/ 6858000 h 6858000"/>
              <a:gd name="connsiteX5" fmla="*/ 0 w 10172700"/>
              <a:gd name="connsiteY5" fmla="*/ 0 h 6858000"/>
              <a:gd name="connsiteX0" fmla="*/ 0 w 10172700"/>
              <a:gd name="connsiteY0" fmla="*/ 2462 h 6860462"/>
              <a:gd name="connsiteX1" fmla="*/ 7202150 w 10172700"/>
              <a:gd name="connsiteY1" fmla="*/ 0 h 6860462"/>
              <a:gd name="connsiteX2" fmla="*/ 10170484 w 10172700"/>
              <a:gd name="connsiteY2" fmla="*/ 2870435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302042 w 10172700"/>
              <a:gd name="connsiteY1" fmla="*/ 0 h 6860462"/>
              <a:gd name="connsiteX2" fmla="*/ 10170484 w 10172700"/>
              <a:gd name="connsiteY2" fmla="*/ 2870435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302042 w 10172700"/>
              <a:gd name="connsiteY1" fmla="*/ 0 h 6860462"/>
              <a:gd name="connsiteX2" fmla="*/ 10163110 w 10172700"/>
              <a:gd name="connsiteY2" fmla="*/ 288518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302042 w 10172700"/>
              <a:gd name="connsiteY1" fmla="*/ 0 h 6860462"/>
              <a:gd name="connsiteX2" fmla="*/ 10170484 w 10172700"/>
              <a:gd name="connsiteY2" fmla="*/ 288518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317282 w 10172700"/>
              <a:gd name="connsiteY1" fmla="*/ 0 h 6860462"/>
              <a:gd name="connsiteX2" fmla="*/ 10170484 w 10172700"/>
              <a:gd name="connsiteY2" fmla="*/ 288518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8159"/>
              <a:gd name="connsiteY0" fmla="*/ 2462 h 6860462"/>
              <a:gd name="connsiteX1" fmla="*/ 7317282 w 10178159"/>
              <a:gd name="connsiteY1" fmla="*/ 0 h 6860462"/>
              <a:gd name="connsiteX2" fmla="*/ 10178104 w 10178159"/>
              <a:gd name="connsiteY2" fmla="*/ 2869943 h 6860462"/>
              <a:gd name="connsiteX3" fmla="*/ 10172700 w 10178159"/>
              <a:gd name="connsiteY3" fmla="*/ 6860462 h 6860462"/>
              <a:gd name="connsiteX4" fmla="*/ 0 w 10178159"/>
              <a:gd name="connsiteY4" fmla="*/ 6860462 h 6860462"/>
              <a:gd name="connsiteX5" fmla="*/ 0 w 10178159"/>
              <a:gd name="connsiteY5" fmla="*/ 2462 h 6860462"/>
              <a:gd name="connsiteX0" fmla="*/ 0 w 10174409"/>
              <a:gd name="connsiteY0" fmla="*/ 2462 h 6860462"/>
              <a:gd name="connsiteX1" fmla="*/ 7317282 w 10174409"/>
              <a:gd name="connsiteY1" fmla="*/ 0 h 6860462"/>
              <a:gd name="connsiteX2" fmla="*/ 10174294 w 10174409"/>
              <a:gd name="connsiteY2" fmla="*/ 2869943 h 6860462"/>
              <a:gd name="connsiteX3" fmla="*/ 10172700 w 10174409"/>
              <a:gd name="connsiteY3" fmla="*/ 6860462 h 6860462"/>
              <a:gd name="connsiteX4" fmla="*/ 0 w 10174409"/>
              <a:gd name="connsiteY4" fmla="*/ 6860462 h 6860462"/>
              <a:gd name="connsiteX5" fmla="*/ 0 w 10174409"/>
              <a:gd name="connsiteY5" fmla="*/ 2462 h 6860462"/>
              <a:gd name="connsiteX0" fmla="*/ 0 w 10174409"/>
              <a:gd name="connsiteY0" fmla="*/ 2462 h 6860462"/>
              <a:gd name="connsiteX1" fmla="*/ 7198013 w 10174409"/>
              <a:gd name="connsiteY1" fmla="*/ 0 h 6860462"/>
              <a:gd name="connsiteX2" fmla="*/ 10174294 w 10174409"/>
              <a:gd name="connsiteY2" fmla="*/ 2869943 h 6860462"/>
              <a:gd name="connsiteX3" fmla="*/ 10172700 w 10174409"/>
              <a:gd name="connsiteY3" fmla="*/ 6860462 h 6860462"/>
              <a:gd name="connsiteX4" fmla="*/ 0 w 10174409"/>
              <a:gd name="connsiteY4" fmla="*/ 6860462 h 6860462"/>
              <a:gd name="connsiteX5" fmla="*/ 0 w 10174409"/>
              <a:gd name="connsiteY5" fmla="*/ 2462 h 6860462"/>
              <a:gd name="connsiteX0" fmla="*/ 0 w 10174409"/>
              <a:gd name="connsiteY0" fmla="*/ 2462 h 6860462"/>
              <a:gd name="connsiteX1" fmla="*/ 7307344 w 10174409"/>
              <a:gd name="connsiteY1" fmla="*/ 0 h 6860462"/>
              <a:gd name="connsiteX2" fmla="*/ 10174294 w 10174409"/>
              <a:gd name="connsiteY2" fmla="*/ 2869943 h 6860462"/>
              <a:gd name="connsiteX3" fmla="*/ 10172700 w 10174409"/>
              <a:gd name="connsiteY3" fmla="*/ 6860462 h 6860462"/>
              <a:gd name="connsiteX4" fmla="*/ 0 w 10174409"/>
              <a:gd name="connsiteY4" fmla="*/ 6860462 h 6860462"/>
              <a:gd name="connsiteX5" fmla="*/ 0 w 10174409"/>
              <a:gd name="connsiteY5" fmla="*/ 2462 h 6860462"/>
              <a:gd name="connsiteX0" fmla="*/ 0 w 10174409"/>
              <a:gd name="connsiteY0" fmla="*/ 2462 h 6860462"/>
              <a:gd name="connsiteX1" fmla="*/ 7318541 w 10174409"/>
              <a:gd name="connsiteY1" fmla="*/ 0 h 6860462"/>
              <a:gd name="connsiteX2" fmla="*/ 10174294 w 10174409"/>
              <a:gd name="connsiteY2" fmla="*/ 2869943 h 6860462"/>
              <a:gd name="connsiteX3" fmla="*/ 10172700 w 10174409"/>
              <a:gd name="connsiteY3" fmla="*/ 6860462 h 6860462"/>
              <a:gd name="connsiteX4" fmla="*/ 0 w 10174409"/>
              <a:gd name="connsiteY4" fmla="*/ 6860462 h 6860462"/>
              <a:gd name="connsiteX5" fmla="*/ 0 w 10174409"/>
              <a:gd name="connsiteY5" fmla="*/ 2462 h 6860462"/>
              <a:gd name="connsiteX0" fmla="*/ 0 w 10174409"/>
              <a:gd name="connsiteY0" fmla="*/ 2462 h 6860462"/>
              <a:gd name="connsiteX1" fmla="*/ 7318541 w 10174409"/>
              <a:gd name="connsiteY1" fmla="*/ 0 h 6860462"/>
              <a:gd name="connsiteX2" fmla="*/ 10174294 w 10174409"/>
              <a:gd name="connsiteY2" fmla="*/ 2869943 h 6860462"/>
              <a:gd name="connsiteX3" fmla="*/ 10172700 w 10174409"/>
              <a:gd name="connsiteY3" fmla="*/ 6860462 h 6860462"/>
              <a:gd name="connsiteX4" fmla="*/ 0 w 10174409"/>
              <a:gd name="connsiteY4" fmla="*/ 6860462 h 6860462"/>
              <a:gd name="connsiteX5" fmla="*/ 0 w 10174409"/>
              <a:gd name="connsiteY5" fmla="*/ 2462 h 6860462"/>
              <a:gd name="connsiteX0" fmla="*/ 0 w 10172700"/>
              <a:gd name="connsiteY0" fmla="*/ 2462 h 6860462"/>
              <a:gd name="connsiteX1" fmla="*/ 7318541 w 10172700"/>
              <a:gd name="connsiteY1" fmla="*/ 0 h 6860462"/>
              <a:gd name="connsiteX2" fmla="*/ 10170562 w 10172700"/>
              <a:gd name="connsiteY2" fmla="*/ 286994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278819 w 10172700"/>
              <a:gd name="connsiteY1" fmla="*/ 0 h 6860462"/>
              <a:gd name="connsiteX2" fmla="*/ 10170562 w 10172700"/>
              <a:gd name="connsiteY2" fmla="*/ 286994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278819 w 10172700"/>
              <a:gd name="connsiteY1" fmla="*/ 0 h 6860462"/>
              <a:gd name="connsiteX2" fmla="*/ 10167914 w 10172700"/>
              <a:gd name="connsiteY2" fmla="*/ 288581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278819 w 10172700"/>
              <a:gd name="connsiteY1" fmla="*/ 0 h 6860462"/>
              <a:gd name="connsiteX2" fmla="*/ 10170562 w 10172700"/>
              <a:gd name="connsiteY2" fmla="*/ 288581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278819 w 10172700"/>
              <a:gd name="connsiteY1" fmla="*/ 0 h 6860462"/>
              <a:gd name="connsiteX2" fmla="*/ 10167913 w 10172700"/>
              <a:gd name="connsiteY2" fmla="*/ 288581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2700"/>
              <a:gd name="connsiteY0" fmla="*/ 2462 h 6860462"/>
              <a:gd name="connsiteX1" fmla="*/ 7278819 w 10172700"/>
              <a:gd name="connsiteY1" fmla="*/ 0 h 6860462"/>
              <a:gd name="connsiteX2" fmla="*/ 10170562 w 10172700"/>
              <a:gd name="connsiteY2" fmla="*/ 2885813 h 6860462"/>
              <a:gd name="connsiteX3" fmla="*/ 10172700 w 10172700"/>
              <a:gd name="connsiteY3" fmla="*/ 6860462 h 6860462"/>
              <a:gd name="connsiteX4" fmla="*/ 0 w 10172700"/>
              <a:gd name="connsiteY4" fmla="*/ 6860462 h 6860462"/>
              <a:gd name="connsiteX5" fmla="*/ 0 w 10172700"/>
              <a:gd name="connsiteY5" fmla="*/ 2462 h 6860462"/>
              <a:gd name="connsiteX0" fmla="*/ 0 w 10170729"/>
              <a:gd name="connsiteY0" fmla="*/ 2462 h 6860462"/>
              <a:gd name="connsiteX1" fmla="*/ 7278819 w 10170729"/>
              <a:gd name="connsiteY1" fmla="*/ 0 h 6860462"/>
              <a:gd name="connsiteX2" fmla="*/ 10170562 w 10170729"/>
              <a:gd name="connsiteY2" fmla="*/ 2885813 h 6860462"/>
              <a:gd name="connsiteX3" fmla="*/ 10170052 w 10170729"/>
              <a:gd name="connsiteY3" fmla="*/ 6855172 h 6860462"/>
              <a:gd name="connsiteX4" fmla="*/ 0 w 10170729"/>
              <a:gd name="connsiteY4" fmla="*/ 6860462 h 6860462"/>
              <a:gd name="connsiteX5" fmla="*/ 0 w 10170729"/>
              <a:gd name="connsiteY5" fmla="*/ 2462 h 6860462"/>
              <a:gd name="connsiteX0" fmla="*/ 0 w 10170729"/>
              <a:gd name="connsiteY0" fmla="*/ 0 h 6860858"/>
              <a:gd name="connsiteX1" fmla="*/ 7278819 w 10170729"/>
              <a:gd name="connsiteY1" fmla="*/ 396 h 6860858"/>
              <a:gd name="connsiteX2" fmla="*/ 10170562 w 10170729"/>
              <a:gd name="connsiteY2" fmla="*/ 2886209 h 6860858"/>
              <a:gd name="connsiteX3" fmla="*/ 10170052 w 10170729"/>
              <a:gd name="connsiteY3" fmla="*/ 6855568 h 6860858"/>
              <a:gd name="connsiteX4" fmla="*/ 0 w 10170729"/>
              <a:gd name="connsiteY4" fmla="*/ 6860858 h 6860858"/>
              <a:gd name="connsiteX5" fmla="*/ 0 w 10170729"/>
              <a:gd name="connsiteY5" fmla="*/ 0 h 6860858"/>
              <a:gd name="connsiteX0" fmla="*/ 0 w 10172905"/>
              <a:gd name="connsiteY0" fmla="*/ 0 h 6861283"/>
              <a:gd name="connsiteX1" fmla="*/ 7278819 w 10172905"/>
              <a:gd name="connsiteY1" fmla="*/ 396 h 6861283"/>
              <a:gd name="connsiteX2" fmla="*/ 10170562 w 10172905"/>
              <a:gd name="connsiteY2" fmla="*/ 2886209 h 6861283"/>
              <a:gd name="connsiteX3" fmla="*/ 10172905 w 10172905"/>
              <a:gd name="connsiteY3" fmla="*/ 6861283 h 6861283"/>
              <a:gd name="connsiteX4" fmla="*/ 0 w 10172905"/>
              <a:gd name="connsiteY4" fmla="*/ 6860858 h 6861283"/>
              <a:gd name="connsiteX5" fmla="*/ 0 w 10172905"/>
              <a:gd name="connsiteY5" fmla="*/ 0 h 6861283"/>
              <a:gd name="connsiteX0" fmla="*/ 0 w 10176345"/>
              <a:gd name="connsiteY0" fmla="*/ 0 h 6861283"/>
              <a:gd name="connsiteX1" fmla="*/ 7278819 w 10176345"/>
              <a:gd name="connsiteY1" fmla="*/ 396 h 6861283"/>
              <a:gd name="connsiteX2" fmla="*/ 10176269 w 10176345"/>
              <a:gd name="connsiteY2" fmla="*/ 2900497 h 6861283"/>
              <a:gd name="connsiteX3" fmla="*/ 10172905 w 10176345"/>
              <a:gd name="connsiteY3" fmla="*/ 6861283 h 6861283"/>
              <a:gd name="connsiteX4" fmla="*/ 0 w 10176345"/>
              <a:gd name="connsiteY4" fmla="*/ 6860858 h 6861283"/>
              <a:gd name="connsiteX5" fmla="*/ 0 w 10176345"/>
              <a:gd name="connsiteY5" fmla="*/ 0 h 6861283"/>
              <a:gd name="connsiteX0" fmla="*/ 0 w 10178612"/>
              <a:gd name="connsiteY0" fmla="*/ 0 h 6861283"/>
              <a:gd name="connsiteX1" fmla="*/ 7278819 w 10178612"/>
              <a:gd name="connsiteY1" fmla="*/ 396 h 6861283"/>
              <a:gd name="connsiteX2" fmla="*/ 10176269 w 10178612"/>
              <a:gd name="connsiteY2" fmla="*/ 2900497 h 6861283"/>
              <a:gd name="connsiteX3" fmla="*/ 10178612 w 10178612"/>
              <a:gd name="connsiteY3" fmla="*/ 6861283 h 6861283"/>
              <a:gd name="connsiteX4" fmla="*/ 0 w 10178612"/>
              <a:gd name="connsiteY4" fmla="*/ 6860858 h 6861283"/>
              <a:gd name="connsiteX5" fmla="*/ 0 w 10178612"/>
              <a:gd name="connsiteY5" fmla="*/ 0 h 6861283"/>
              <a:gd name="connsiteX0" fmla="*/ 0 w 10178612"/>
              <a:gd name="connsiteY0" fmla="*/ 0 h 6861283"/>
              <a:gd name="connsiteX1" fmla="*/ 7278819 w 10178612"/>
              <a:gd name="connsiteY1" fmla="*/ 396 h 6861283"/>
              <a:gd name="connsiteX2" fmla="*/ 10176269 w 10178612"/>
              <a:gd name="connsiteY2" fmla="*/ 2893381 h 6861283"/>
              <a:gd name="connsiteX3" fmla="*/ 10178612 w 10178612"/>
              <a:gd name="connsiteY3" fmla="*/ 6861283 h 6861283"/>
              <a:gd name="connsiteX4" fmla="*/ 0 w 10178612"/>
              <a:gd name="connsiteY4" fmla="*/ 6860858 h 6861283"/>
              <a:gd name="connsiteX5" fmla="*/ 0 w 10178612"/>
              <a:gd name="connsiteY5" fmla="*/ 0 h 6861283"/>
              <a:gd name="connsiteX0" fmla="*/ 0 w 10183439"/>
              <a:gd name="connsiteY0" fmla="*/ 0 h 6861283"/>
              <a:gd name="connsiteX1" fmla="*/ 7278819 w 10183439"/>
              <a:gd name="connsiteY1" fmla="*/ 396 h 6861283"/>
              <a:gd name="connsiteX2" fmla="*/ 10183379 w 10183439"/>
              <a:gd name="connsiteY2" fmla="*/ 2893381 h 6861283"/>
              <a:gd name="connsiteX3" fmla="*/ 10178612 w 10183439"/>
              <a:gd name="connsiteY3" fmla="*/ 6861283 h 6861283"/>
              <a:gd name="connsiteX4" fmla="*/ 0 w 10183439"/>
              <a:gd name="connsiteY4" fmla="*/ 6860858 h 6861283"/>
              <a:gd name="connsiteX5" fmla="*/ 0 w 10183439"/>
              <a:gd name="connsiteY5" fmla="*/ 0 h 6861283"/>
              <a:gd name="connsiteX0" fmla="*/ 0 w 10185722"/>
              <a:gd name="connsiteY0" fmla="*/ 0 h 6860858"/>
              <a:gd name="connsiteX1" fmla="*/ 7278819 w 10185722"/>
              <a:gd name="connsiteY1" fmla="*/ 396 h 6860858"/>
              <a:gd name="connsiteX2" fmla="*/ 10183379 w 10185722"/>
              <a:gd name="connsiteY2" fmla="*/ 2893381 h 6860858"/>
              <a:gd name="connsiteX3" fmla="*/ 10185722 w 10185722"/>
              <a:gd name="connsiteY3" fmla="*/ 6857725 h 6860858"/>
              <a:gd name="connsiteX4" fmla="*/ 0 w 10185722"/>
              <a:gd name="connsiteY4" fmla="*/ 6860858 h 6860858"/>
              <a:gd name="connsiteX5" fmla="*/ 0 w 10185722"/>
              <a:gd name="connsiteY5" fmla="*/ 0 h 6860858"/>
              <a:gd name="connsiteX0" fmla="*/ 0 w 10185722"/>
              <a:gd name="connsiteY0" fmla="*/ 0 h 6864841"/>
              <a:gd name="connsiteX1" fmla="*/ 7278819 w 10185722"/>
              <a:gd name="connsiteY1" fmla="*/ 396 h 6864841"/>
              <a:gd name="connsiteX2" fmla="*/ 10183379 w 10185722"/>
              <a:gd name="connsiteY2" fmla="*/ 2893381 h 6864841"/>
              <a:gd name="connsiteX3" fmla="*/ 10185722 w 10185722"/>
              <a:gd name="connsiteY3" fmla="*/ 6864841 h 6864841"/>
              <a:gd name="connsiteX4" fmla="*/ 0 w 10185722"/>
              <a:gd name="connsiteY4" fmla="*/ 6860858 h 6864841"/>
              <a:gd name="connsiteX5" fmla="*/ 0 w 10185722"/>
              <a:gd name="connsiteY5" fmla="*/ 0 h 6864841"/>
              <a:gd name="connsiteX0" fmla="*/ 0 w 10185722"/>
              <a:gd name="connsiteY0" fmla="*/ 0 h 6867974"/>
              <a:gd name="connsiteX1" fmla="*/ 7278819 w 10185722"/>
              <a:gd name="connsiteY1" fmla="*/ 396 h 6867974"/>
              <a:gd name="connsiteX2" fmla="*/ 10183379 w 10185722"/>
              <a:gd name="connsiteY2" fmla="*/ 2893381 h 6867974"/>
              <a:gd name="connsiteX3" fmla="*/ 10185722 w 10185722"/>
              <a:gd name="connsiteY3" fmla="*/ 6864841 h 6867974"/>
              <a:gd name="connsiteX4" fmla="*/ 0 w 10185722"/>
              <a:gd name="connsiteY4" fmla="*/ 6867974 h 6867974"/>
              <a:gd name="connsiteX5" fmla="*/ 0 w 10185722"/>
              <a:gd name="connsiteY5" fmla="*/ 0 h 6867974"/>
              <a:gd name="connsiteX0" fmla="*/ 0 w 10185722"/>
              <a:gd name="connsiteY0" fmla="*/ 0 h 6864841"/>
              <a:gd name="connsiteX1" fmla="*/ 7278819 w 10185722"/>
              <a:gd name="connsiteY1" fmla="*/ 396 h 6864841"/>
              <a:gd name="connsiteX2" fmla="*/ 10183379 w 10185722"/>
              <a:gd name="connsiteY2" fmla="*/ 2893381 h 6864841"/>
              <a:gd name="connsiteX3" fmla="*/ 10185722 w 10185722"/>
              <a:gd name="connsiteY3" fmla="*/ 6864841 h 6864841"/>
              <a:gd name="connsiteX4" fmla="*/ 0 w 10185722"/>
              <a:gd name="connsiteY4" fmla="*/ 6860858 h 6864841"/>
              <a:gd name="connsiteX5" fmla="*/ 0 w 10185722"/>
              <a:gd name="connsiteY5" fmla="*/ 0 h 6864841"/>
              <a:gd name="connsiteX0" fmla="*/ 0 w 10185722"/>
              <a:gd name="connsiteY0" fmla="*/ 0 h 6871532"/>
              <a:gd name="connsiteX1" fmla="*/ 7278819 w 10185722"/>
              <a:gd name="connsiteY1" fmla="*/ 396 h 6871532"/>
              <a:gd name="connsiteX2" fmla="*/ 10183379 w 10185722"/>
              <a:gd name="connsiteY2" fmla="*/ 2893381 h 6871532"/>
              <a:gd name="connsiteX3" fmla="*/ 10185722 w 10185722"/>
              <a:gd name="connsiteY3" fmla="*/ 6864841 h 6871532"/>
              <a:gd name="connsiteX4" fmla="*/ 0 w 10185722"/>
              <a:gd name="connsiteY4" fmla="*/ 6871532 h 6871532"/>
              <a:gd name="connsiteX5" fmla="*/ 0 w 10185722"/>
              <a:gd name="connsiteY5" fmla="*/ 0 h 6871532"/>
              <a:gd name="connsiteX0" fmla="*/ 0 w 10185722"/>
              <a:gd name="connsiteY0" fmla="*/ 0 h 6871532"/>
              <a:gd name="connsiteX1" fmla="*/ 7278819 w 10185722"/>
              <a:gd name="connsiteY1" fmla="*/ 396 h 6871532"/>
              <a:gd name="connsiteX2" fmla="*/ 10183379 w 10185722"/>
              <a:gd name="connsiteY2" fmla="*/ 2893381 h 6871532"/>
              <a:gd name="connsiteX3" fmla="*/ 10185722 w 10185722"/>
              <a:gd name="connsiteY3" fmla="*/ 6864841 h 6871532"/>
              <a:gd name="connsiteX4" fmla="*/ 0 w 10185722"/>
              <a:gd name="connsiteY4" fmla="*/ 6871532 h 6871532"/>
              <a:gd name="connsiteX5" fmla="*/ 0 w 10185722"/>
              <a:gd name="connsiteY5" fmla="*/ 0 h 6871532"/>
              <a:gd name="connsiteX0" fmla="*/ 3555 w 10189277"/>
              <a:gd name="connsiteY0" fmla="*/ 0 h 6871532"/>
              <a:gd name="connsiteX1" fmla="*/ 7282374 w 10189277"/>
              <a:gd name="connsiteY1" fmla="*/ 396 h 6871532"/>
              <a:gd name="connsiteX2" fmla="*/ 10186934 w 10189277"/>
              <a:gd name="connsiteY2" fmla="*/ 2893381 h 6871532"/>
              <a:gd name="connsiteX3" fmla="*/ 10189277 w 10189277"/>
              <a:gd name="connsiteY3" fmla="*/ 6864841 h 6871532"/>
              <a:gd name="connsiteX4" fmla="*/ 0 w 10189277"/>
              <a:gd name="connsiteY4" fmla="*/ 6871532 h 6871532"/>
              <a:gd name="connsiteX5" fmla="*/ 3555 w 10189277"/>
              <a:gd name="connsiteY5" fmla="*/ 0 h 6871532"/>
              <a:gd name="connsiteX0" fmla="*/ 3555 w 10189277"/>
              <a:gd name="connsiteY0" fmla="*/ 0 h 6871532"/>
              <a:gd name="connsiteX1" fmla="*/ 7282374 w 10189277"/>
              <a:gd name="connsiteY1" fmla="*/ 396 h 6871532"/>
              <a:gd name="connsiteX2" fmla="*/ 10186934 w 10189277"/>
              <a:gd name="connsiteY2" fmla="*/ 2893381 h 6871532"/>
              <a:gd name="connsiteX3" fmla="*/ 10189277 w 10189277"/>
              <a:gd name="connsiteY3" fmla="*/ 6864841 h 6871532"/>
              <a:gd name="connsiteX4" fmla="*/ 0 w 10189277"/>
              <a:gd name="connsiteY4" fmla="*/ 6871532 h 6871532"/>
              <a:gd name="connsiteX5" fmla="*/ 3555 w 10189277"/>
              <a:gd name="connsiteY5" fmla="*/ 0 h 6871532"/>
              <a:gd name="connsiteX0" fmla="*/ 3555 w 10189277"/>
              <a:gd name="connsiteY0" fmla="*/ 0 h 6867974"/>
              <a:gd name="connsiteX1" fmla="*/ 7282374 w 10189277"/>
              <a:gd name="connsiteY1" fmla="*/ 396 h 6867974"/>
              <a:gd name="connsiteX2" fmla="*/ 10186934 w 10189277"/>
              <a:gd name="connsiteY2" fmla="*/ 2893381 h 6867974"/>
              <a:gd name="connsiteX3" fmla="*/ 10189277 w 10189277"/>
              <a:gd name="connsiteY3" fmla="*/ 6864841 h 6867974"/>
              <a:gd name="connsiteX4" fmla="*/ 0 w 10189277"/>
              <a:gd name="connsiteY4" fmla="*/ 6867974 h 6867974"/>
              <a:gd name="connsiteX5" fmla="*/ 3555 w 10189277"/>
              <a:gd name="connsiteY5" fmla="*/ 0 h 6867974"/>
              <a:gd name="connsiteX0" fmla="*/ 3555 w 10192832"/>
              <a:gd name="connsiteY0" fmla="*/ 0 h 6868399"/>
              <a:gd name="connsiteX1" fmla="*/ 7282374 w 10192832"/>
              <a:gd name="connsiteY1" fmla="*/ 396 h 6868399"/>
              <a:gd name="connsiteX2" fmla="*/ 10186934 w 10192832"/>
              <a:gd name="connsiteY2" fmla="*/ 2893381 h 6868399"/>
              <a:gd name="connsiteX3" fmla="*/ 10192832 w 10192832"/>
              <a:gd name="connsiteY3" fmla="*/ 6868399 h 6868399"/>
              <a:gd name="connsiteX4" fmla="*/ 0 w 10192832"/>
              <a:gd name="connsiteY4" fmla="*/ 6867974 h 6868399"/>
              <a:gd name="connsiteX5" fmla="*/ 3555 w 10192832"/>
              <a:gd name="connsiteY5" fmla="*/ 0 h 6868399"/>
              <a:gd name="connsiteX0" fmla="*/ 3555 w 10192832"/>
              <a:gd name="connsiteY0" fmla="*/ 0 h 6868399"/>
              <a:gd name="connsiteX1" fmla="*/ 7282374 w 10192832"/>
              <a:gd name="connsiteY1" fmla="*/ 396 h 6868399"/>
              <a:gd name="connsiteX2" fmla="*/ 10190489 w 10192832"/>
              <a:gd name="connsiteY2" fmla="*/ 2896939 h 6868399"/>
              <a:gd name="connsiteX3" fmla="*/ 10192832 w 10192832"/>
              <a:gd name="connsiteY3" fmla="*/ 6868399 h 6868399"/>
              <a:gd name="connsiteX4" fmla="*/ 0 w 10192832"/>
              <a:gd name="connsiteY4" fmla="*/ 6867974 h 6868399"/>
              <a:gd name="connsiteX5" fmla="*/ 3555 w 10192832"/>
              <a:gd name="connsiteY5" fmla="*/ 0 h 686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92832" h="6868399">
                <a:moveTo>
                  <a:pt x="3555" y="0"/>
                </a:moveTo>
                <a:lnTo>
                  <a:pt x="7282374" y="396"/>
                </a:lnTo>
                <a:lnTo>
                  <a:pt x="10190489" y="2896939"/>
                </a:lnTo>
                <a:cubicBezTo>
                  <a:pt x="10191227" y="4230734"/>
                  <a:pt x="10192094" y="5534604"/>
                  <a:pt x="10192832" y="6868399"/>
                </a:cubicBezTo>
                <a:lnTo>
                  <a:pt x="0" y="6867974"/>
                </a:lnTo>
                <a:lnTo>
                  <a:pt x="3555" y="0"/>
                </a:lnTo>
                <a:close/>
              </a:path>
            </a:pathLst>
          </a:custGeom>
          <a:solidFill>
            <a:schemeClr val="accent2"/>
          </a:solidFill>
          <a:ln>
            <a:noFill/>
          </a:ln>
        </p:spPr>
        <p:txBody>
          <a:bodyPr/>
          <a:lstStyle>
            <a:lvl1pPr>
              <a:defRPr>
                <a:latin typeface="M05 Text Office" panose="020B0504040000000004" pitchFamily="34" charset="0"/>
              </a:defRPr>
            </a:lvl1pPr>
          </a:lstStyle>
          <a:p>
            <a:r>
              <a:rPr lang="de-DE"/>
              <a:t>Bild durch Klicken auf Symbol hinzufügen</a:t>
            </a:r>
          </a:p>
        </p:txBody>
      </p:sp>
      <p:sp>
        <p:nvSpPr>
          <p:cNvPr id="6" name="Rechteck: eine Ecke abgeschnitten 1">
            <a:extLst>
              <a:ext uri="{FF2B5EF4-FFF2-40B4-BE49-F238E27FC236}">
                <a16:creationId xmlns:a16="http://schemas.microsoft.com/office/drawing/2014/main" id="{65F72C75-C0F8-4CD7-82D7-F7BA15304D4C}"/>
              </a:ext>
            </a:extLst>
          </p:cNvPr>
          <p:cNvSpPr/>
          <p:nvPr userDrawn="1"/>
        </p:nvSpPr>
        <p:spPr>
          <a:xfrm rot="5400000">
            <a:off x="9739629" y="441952"/>
            <a:ext cx="2894273" cy="2010378"/>
          </a:xfrm>
          <a:custGeom>
            <a:avLst/>
            <a:gdLst>
              <a:gd name="connsiteX0" fmla="*/ 0 w 2865341"/>
              <a:gd name="connsiteY0" fmla="*/ 0 h 2010376"/>
              <a:gd name="connsiteX1" fmla="*/ 1860153 w 2865341"/>
              <a:gd name="connsiteY1" fmla="*/ 0 h 2010376"/>
              <a:gd name="connsiteX2" fmla="*/ 2865341 w 2865341"/>
              <a:gd name="connsiteY2" fmla="*/ 1005188 h 2010376"/>
              <a:gd name="connsiteX3" fmla="*/ 2865341 w 2865341"/>
              <a:gd name="connsiteY3" fmla="*/ 2010376 h 2010376"/>
              <a:gd name="connsiteX4" fmla="*/ 0 w 2865341"/>
              <a:gd name="connsiteY4" fmla="*/ 2010376 h 2010376"/>
              <a:gd name="connsiteX5" fmla="*/ 0 w 2865341"/>
              <a:gd name="connsiteY5" fmla="*/ 0 h 2010376"/>
              <a:gd name="connsiteX0" fmla="*/ 0 w 2865341"/>
              <a:gd name="connsiteY0" fmla="*/ 10634 h 2021010"/>
              <a:gd name="connsiteX1" fmla="*/ 913858 w 2865341"/>
              <a:gd name="connsiteY1" fmla="*/ 0 h 2021010"/>
              <a:gd name="connsiteX2" fmla="*/ 2865341 w 2865341"/>
              <a:gd name="connsiteY2" fmla="*/ 1015822 h 2021010"/>
              <a:gd name="connsiteX3" fmla="*/ 2865341 w 2865341"/>
              <a:gd name="connsiteY3" fmla="*/ 2021010 h 2021010"/>
              <a:gd name="connsiteX4" fmla="*/ 0 w 2865341"/>
              <a:gd name="connsiteY4" fmla="*/ 2021010 h 2021010"/>
              <a:gd name="connsiteX5" fmla="*/ 0 w 2865341"/>
              <a:gd name="connsiteY5" fmla="*/ 10634 h 2021010"/>
              <a:gd name="connsiteX0" fmla="*/ 0 w 2875976"/>
              <a:gd name="connsiteY0" fmla="*/ 10634 h 2021010"/>
              <a:gd name="connsiteX1" fmla="*/ 913858 w 2875976"/>
              <a:gd name="connsiteY1" fmla="*/ 0 h 2021010"/>
              <a:gd name="connsiteX2" fmla="*/ 2875976 w 2875976"/>
              <a:gd name="connsiteY2" fmla="*/ 2004650 h 2021010"/>
              <a:gd name="connsiteX3" fmla="*/ 2865341 w 2875976"/>
              <a:gd name="connsiteY3" fmla="*/ 2021010 h 2021010"/>
              <a:gd name="connsiteX4" fmla="*/ 0 w 2875976"/>
              <a:gd name="connsiteY4" fmla="*/ 2021010 h 2021010"/>
              <a:gd name="connsiteX5" fmla="*/ 0 w 2875976"/>
              <a:gd name="connsiteY5" fmla="*/ 10634 h 2021010"/>
              <a:gd name="connsiteX0" fmla="*/ 0 w 2875976"/>
              <a:gd name="connsiteY0" fmla="*/ 2 h 2010378"/>
              <a:gd name="connsiteX1" fmla="*/ 871328 w 2875976"/>
              <a:gd name="connsiteY1" fmla="*/ 0 h 2010378"/>
              <a:gd name="connsiteX2" fmla="*/ 2875976 w 2875976"/>
              <a:gd name="connsiteY2" fmla="*/ 1994018 h 2010378"/>
              <a:gd name="connsiteX3" fmla="*/ 2865341 w 2875976"/>
              <a:gd name="connsiteY3" fmla="*/ 2010378 h 2010378"/>
              <a:gd name="connsiteX4" fmla="*/ 0 w 2875976"/>
              <a:gd name="connsiteY4" fmla="*/ 2010378 h 2010378"/>
              <a:gd name="connsiteX5" fmla="*/ 0 w 2875976"/>
              <a:gd name="connsiteY5" fmla="*/ 2 h 2010378"/>
              <a:gd name="connsiteX0" fmla="*/ 0 w 2880137"/>
              <a:gd name="connsiteY0" fmla="*/ 2 h 2010378"/>
              <a:gd name="connsiteX1" fmla="*/ 871328 w 2880137"/>
              <a:gd name="connsiteY1" fmla="*/ 0 h 2010378"/>
              <a:gd name="connsiteX2" fmla="*/ 2875976 w 2880137"/>
              <a:gd name="connsiteY2" fmla="*/ 1994018 h 2010378"/>
              <a:gd name="connsiteX3" fmla="*/ 2880137 w 2880137"/>
              <a:gd name="connsiteY3" fmla="*/ 2010378 h 2010378"/>
              <a:gd name="connsiteX4" fmla="*/ 0 w 2880137"/>
              <a:gd name="connsiteY4" fmla="*/ 2010378 h 2010378"/>
              <a:gd name="connsiteX5" fmla="*/ 0 w 2880137"/>
              <a:gd name="connsiteY5" fmla="*/ 2 h 2010378"/>
              <a:gd name="connsiteX0" fmla="*/ 0 w 2880139"/>
              <a:gd name="connsiteY0" fmla="*/ 2 h 2010378"/>
              <a:gd name="connsiteX1" fmla="*/ 871328 w 2880139"/>
              <a:gd name="connsiteY1" fmla="*/ 0 h 2010378"/>
              <a:gd name="connsiteX2" fmla="*/ 2875976 w 2880139"/>
              <a:gd name="connsiteY2" fmla="*/ 1994018 h 2010378"/>
              <a:gd name="connsiteX3" fmla="*/ 2880139 w 2880139"/>
              <a:gd name="connsiteY3" fmla="*/ 2010378 h 2010378"/>
              <a:gd name="connsiteX4" fmla="*/ 0 w 2880139"/>
              <a:gd name="connsiteY4" fmla="*/ 2010378 h 2010378"/>
              <a:gd name="connsiteX5" fmla="*/ 0 w 2880139"/>
              <a:gd name="connsiteY5" fmla="*/ 2 h 2010378"/>
              <a:gd name="connsiteX0" fmla="*/ 0 w 2884855"/>
              <a:gd name="connsiteY0" fmla="*/ 2 h 2010378"/>
              <a:gd name="connsiteX1" fmla="*/ 871328 w 2884855"/>
              <a:gd name="connsiteY1" fmla="*/ 0 h 2010378"/>
              <a:gd name="connsiteX2" fmla="*/ 2884855 w 2884855"/>
              <a:gd name="connsiteY2" fmla="*/ 2002896 h 2010378"/>
              <a:gd name="connsiteX3" fmla="*/ 2880139 w 2884855"/>
              <a:gd name="connsiteY3" fmla="*/ 2010378 h 2010378"/>
              <a:gd name="connsiteX4" fmla="*/ 0 w 2884855"/>
              <a:gd name="connsiteY4" fmla="*/ 2010378 h 2010378"/>
              <a:gd name="connsiteX5" fmla="*/ 0 w 2884855"/>
              <a:gd name="connsiteY5" fmla="*/ 2 h 2010378"/>
              <a:gd name="connsiteX0" fmla="*/ 0 w 2880139"/>
              <a:gd name="connsiteY0" fmla="*/ 2 h 2010378"/>
              <a:gd name="connsiteX1" fmla="*/ 871328 w 2880139"/>
              <a:gd name="connsiteY1" fmla="*/ 0 h 2010378"/>
              <a:gd name="connsiteX2" fmla="*/ 2880139 w 2880139"/>
              <a:gd name="connsiteY2" fmla="*/ 2010378 h 2010378"/>
              <a:gd name="connsiteX3" fmla="*/ 0 w 2880139"/>
              <a:gd name="connsiteY3" fmla="*/ 2010378 h 2010378"/>
              <a:gd name="connsiteX4" fmla="*/ 0 w 2880139"/>
              <a:gd name="connsiteY4" fmla="*/ 2 h 2010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139" h="2010378">
                <a:moveTo>
                  <a:pt x="0" y="2"/>
                </a:moveTo>
                <a:lnTo>
                  <a:pt x="871328" y="0"/>
                </a:lnTo>
                <a:lnTo>
                  <a:pt x="2880139" y="2010378"/>
                </a:lnTo>
                <a:lnTo>
                  <a:pt x="0" y="2010378"/>
                </a:lnTo>
                <a:lnTo>
                  <a:pt x="0" y="2"/>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05 Text Office" panose="020B0504040000000004" pitchFamily="34" charset="0"/>
            </a:endParaRPr>
          </a:p>
        </p:txBody>
      </p:sp>
      <p:sp>
        <p:nvSpPr>
          <p:cNvPr id="7" name="Rechtwinkliges Dreieck 6">
            <a:extLst>
              <a:ext uri="{FF2B5EF4-FFF2-40B4-BE49-F238E27FC236}">
                <a16:creationId xmlns:a16="http://schemas.microsoft.com/office/drawing/2014/main" id="{7BE868DB-6408-4E0E-8F82-1C4A04A4AB90}"/>
              </a:ext>
            </a:extLst>
          </p:cNvPr>
          <p:cNvSpPr>
            <a:spLocks/>
          </p:cNvSpPr>
          <p:nvPr userDrawn="1"/>
        </p:nvSpPr>
        <p:spPr>
          <a:xfrm rot="10800000">
            <a:off x="7279975" y="-2323"/>
            <a:ext cx="2901600" cy="2896597"/>
          </a:xfrm>
          <a:prstGeom prst="rtTriangl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814" tIns="38407" rIns="76814" bIns="38407" numCol="1" spcCol="0" rtlCol="0" fromWordArt="0" anchor="ctr" anchorCtr="0" forceAA="0" compatLnSpc="1">
            <a:prstTxWarp prst="textNoShape">
              <a:avLst/>
            </a:prstTxWarp>
            <a:noAutofit/>
          </a:bodyPr>
          <a:lstStyle/>
          <a:p>
            <a:pPr algn="ctr"/>
            <a:endParaRPr lang="de-DE" sz="1512">
              <a:latin typeface="M05 Text Office" panose="020B0504040000000004" pitchFamily="34" charset="0"/>
            </a:endParaRPr>
          </a:p>
        </p:txBody>
      </p:sp>
      <p:sp>
        <p:nvSpPr>
          <p:cNvPr id="2" name="Rechteck: eine Ecke abgeschnitten 1">
            <a:extLst>
              <a:ext uri="{FF2B5EF4-FFF2-40B4-BE49-F238E27FC236}">
                <a16:creationId xmlns:a16="http://schemas.microsoft.com/office/drawing/2014/main" id="{55ED00CC-6F36-4185-B516-28E2FE13A7F8}"/>
              </a:ext>
            </a:extLst>
          </p:cNvPr>
          <p:cNvSpPr/>
          <p:nvPr userDrawn="1"/>
        </p:nvSpPr>
        <p:spPr>
          <a:xfrm flipH="1">
            <a:off x="10182372" y="867472"/>
            <a:ext cx="2009583" cy="5990529"/>
          </a:xfrm>
          <a:custGeom>
            <a:avLst/>
            <a:gdLst>
              <a:gd name="connsiteX0" fmla="*/ 0 w 2010379"/>
              <a:gd name="connsiteY0" fmla="*/ 0 h 6124470"/>
              <a:gd name="connsiteX1" fmla="*/ 1005190 w 2010379"/>
              <a:gd name="connsiteY1" fmla="*/ 0 h 6124470"/>
              <a:gd name="connsiteX2" fmla="*/ 2010379 w 2010379"/>
              <a:gd name="connsiteY2" fmla="*/ 1005190 h 6124470"/>
              <a:gd name="connsiteX3" fmla="*/ 2010379 w 2010379"/>
              <a:gd name="connsiteY3" fmla="*/ 6124470 h 6124470"/>
              <a:gd name="connsiteX4" fmla="*/ 0 w 2010379"/>
              <a:gd name="connsiteY4" fmla="*/ 6124470 h 6124470"/>
              <a:gd name="connsiteX5" fmla="*/ 0 w 2010379"/>
              <a:gd name="connsiteY5" fmla="*/ 0 h 6124470"/>
              <a:gd name="connsiteX0" fmla="*/ 0 w 2010379"/>
              <a:gd name="connsiteY0" fmla="*/ 0 h 6124470"/>
              <a:gd name="connsiteX1" fmla="*/ 1005190 w 2010379"/>
              <a:gd name="connsiteY1" fmla="*/ 0 h 6124470"/>
              <a:gd name="connsiteX2" fmla="*/ 2010379 w 2010379"/>
              <a:gd name="connsiteY2" fmla="*/ 2110509 h 6124470"/>
              <a:gd name="connsiteX3" fmla="*/ 2010379 w 2010379"/>
              <a:gd name="connsiteY3" fmla="*/ 6124470 h 6124470"/>
              <a:gd name="connsiteX4" fmla="*/ 0 w 2010379"/>
              <a:gd name="connsiteY4" fmla="*/ 6124470 h 6124470"/>
              <a:gd name="connsiteX5" fmla="*/ 0 w 2010379"/>
              <a:gd name="connsiteY5" fmla="*/ 0 h 6124470"/>
              <a:gd name="connsiteX0" fmla="*/ 0 w 2010379"/>
              <a:gd name="connsiteY0" fmla="*/ 0 h 6124470"/>
              <a:gd name="connsiteX1" fmla="*/ 2010379 w 2010379"/>
              <a:gd name="connsiteY1" fmla="*/ 2110509 h 6124470"/>
              <a:gd name="connsiteX2" fmla="*/ 2010379 w 2010379"/>
              <a:gd name="connsiteY2" fmla="*/ 6124470 h 6124470"/>
              <a:gd name="connsiteX3" fmla="*/ 0 w 2010379"/>
              <a:gd name="connsiteY3" fmla="*/ 6124470 h 6124470"/>
              <a:gd name="connsiteX4" fmla="*/ 0 w 2010379"/>
              <a:gd name="connsiteY4" fmla="*/ 0 h 6124470"/>
              <a:gd name="connsiteX0" fmla="*/ 10048 w 2010379"/>
              <a:gd name="connsiteY0" fmla="*/ 0 h 5993841"/>
              <a:gd name="connsiteX1" fmla="*/ 2010379 w 2010379"/>
              <a:gd name="connsiteY1" fmla="*/ 1979880 h 5993841"/>
              <a:gd name="connsiteX2" fmla="*/ 2010379 w 2010379"/>
              <a:gd name="connsiteY2" fmla="*/ 5993841 h 5993841"/>
              <a:gd name="connsiteX3" fmla="*/ 0 w 2010379"/>
              <a:gd name="connsiteY3" fmla="*/ 5993841 h 5993841"/>
              <a:gd name="connsiteX4" fmla="*/ 10048 w 2010379"/>
              <a:gd name="connsiteY4" fmla="*/ 0 h 5993841"/>
              <a:gd name="connsiteX0" fmla="*/ 10048 w 2010379"/>
              <a:gd name="connsiteY0" fmla="*/ 0 h 5993841"/>
              <a:gd name="connsiteX1" fmla="*/ 2007042 w 2010379"/>
              <a:gd name="connsiteY1" fmla="*/ 2023264 h 5993841"/>
              <a:gd name="connsiteX2" fmla="*/ 2010379 w 2010379"/>
              <a:gd name="connsiteY2" fmla="*/ 5993841 h 5993841"/>
              <a:gd name="connsiteX3" fmla="*/ 0 w 2010379"/>
              <a:gd name="connsiteY3" fmla="*/ 5993841 h 5993841"/>
              <a:gd name="connsiteX4" fmla="*/ 10048 w 2010379"/>
              <a:gd name="connsiteY4" fmla="*/ 0 h 5993841"/>
              <a:gd name="connsiteX0" fmla="*/ 10048 w 2010379"/>
              <a:gd name="connsiteY0" fmla="*/ 0 h 5993841"/>
              <a:gd name="connsiteX1" fmla="*/ 2007042 w 2010379"/>
              <a:gd name="connsiteY1" fmla="*/ 2023264 h 5993841"/>
              <a:gd name="connsiteX2" fmla="*/ 2010379 w 2010379"/>
              <a:gd name="connsiteY2" fmla="*/ 5993841 h 5993841"/>
              <a:gd name="connsiteX3" fmla="*/ 0 w 2010379"/>
              <a:gd name="connsiteY3" fmla="*/ 5993841 h 5993841"/>
              <a:gd name="connsiteX4" fmla="*/ 10048 w 2010379"/>
              <a:gd name="connsiteY4" fmla="*/ 0 h 5993841"/>
              <a:gd name="connsiteX0" fmla="*/ 10048 w 2007363"/>
              <a:gd name="connsiteY0" fmla="*/ 0 h 5993841"/>
              <a:gd name="connsiteX1" fmla="*/ 2007042 w 2007363"/>
              <a:gd name="connsiteY1" fmla="*/ 2023264 h 5993841"/>
              <a:gd name="connsiteX2" fmla="*/ 2007042 w 2007363"/>
              <a:gd name="connsiteY2" fmla="*/ 5993841 h 5993841"/>
              <a:gd name="connsiteX3" fmla="*/ 0 w 2007363"/>
              <a:gd name="connsiteY3" fmla="*/ 5993841 h 5993841"/>
              <a:gd name="connsiteX4" fmla="*/ 10048 w 2007363"/>
              <a:gd name="connsiteY4" fmla="*/ 0 h 5993841"/>
              <a:gd name="connsiteX0" fmla="*/ 3373 w 2007363"/>
              <a:gd name="connsiteY0" fmla="*/ 0 h 5980492"/>
              <a:gd name="connsiteX1" fmla="*/ 2007042 w 2007363"/>
              <a:gd name="connsiteY1" fmla="*/ 2009915 h 5980492"/>
              <a:gd name="connsiteX2" fmla="*/ 2007042 w 2007363"/>
              <a:gd name="connsiteY2" fmla="*/ 5980492 h 5980492"/>
              <a:gd name="connsiteX3" fmla="*/ 0 w 2007363"/>
              <a:gd name="connsiteY3" fmla="*/ 5980492 h 5980492"/>
              <a:gd name="connsiteX4" fmla="*/ 3373 w 2007363"/>
              <a:gd name="connsiteY4" fmla="*/ 0 h 5980492"/>
              <a:gd name="connsiteX0" fmla="*/ 743 w 2010651"/>
              <a:gd name="connsiteY0" fmla="*/ 0 h 5986410"/>
              <a:gd name="connsiteX1" fmla="*/ 2010330 w 2010651"/>
              <a:gd name="connsiteY1" fmla="*/ 2015833 h 5986410"/>
              <a:gd name="connsiteX2" fmla="*/ 2010330 w 2010651"/>
              <a:gd name="connsiteY2" fmla="*/ 5986410 h 5986410"/>
              <a:gd name="connsiteX3" fmla="*/ 3288 w 2010651"/>
              <a:gd name="connsiteY3" fmla="*/ 5986410 h 5986410"/>
              <a:gd name="connsiteX4" fmla="*/ 743 w 2010651"/>
              <a:gd name="connsiteY4" fmla="*/ 0 h 5986410"/>
              <a:gd name="connsiteX0" fmla="*/ 743 w 2010651"/>
              <a:gd name="connsiteY0" fmla="*/ 0 h 5986410"/>
              <a:gd name="connsiteX1" fmla="*/ 2010330 w 2010651"/>
              <a:gd name="connsiteY1" fmla="*/ 2015833 h 5986410"/>
              <a:gd name="connsiteX2" fmla="*/ 2010330 w 2010651"/>
              <a:gd name="connsiteY2" fmla="*/ 5986410 h 5986410"/>
              <a:gd name="connsiteX3" fmla="*/ 3288 w 2010651"/>
              <a:gd name="connsiteY3" fmla="*/ 5986410 h 5986410"/>
              <a:gd name="connsiteX4" fmla="*/ 743 w 2010651"/>
              <a:gd name="connsiteY4" fmla="*/ 0 h 5986410"/>
              <a:gd name="connsiteX0" fmla="*/ 3374 w 2007363"/>
              <a:gd name="connsiteY0" fmla="*/ 0 h 5986410"/>
              <a:gd name="connsiteX1" fmla="*/ 2007042 w 2007363"/>
              <a:gd name="connsiteY1" fmla="*/ 2015833 h 5986410"/>
              <a:gd name="connsiteX2" fmla="*/ 2007042 w 2007363"/>
              <a:gd name="connsiteY2" fmla="*/ 5986410 h 5986410"/>
              <a:gd name="connsiteX3" fmla="*/ 0 w 2007363"/>
              <a:gd name="connsiteY3" fmla="*/ 5986410 h 5986410"/>
              <a:gd name="connsiteX4" fmla="*/ 3374 w 2007363"/>
              <a:gd name="connsiteY4" fmla="*/ 0 h 5986410"/>
              <a:gd name="connsiteX0" fmla="*/ 1017 w 2007965"/>
              <a:gd name="connsiteY0" fmla="*/ 0 h 5998247"/>
              <a:gd name="connsiteX1" fmla="*/ 2007644 w 2007965"/>
              <a:gd name="connsiteY1" fmla="*/ 2027670 h 5998247"/>
              <a:gd name="connsiteX2" fmla="*/ 2007644 w 2007965"/>
              <a:gd name="connsiteY2" fmla="*/ 5998247 h 5998247"/>
              <a:gd name="connsiteX3" fmla="*/ 602 w 2007965"/>
              <a:gd name="connsiteY3" fmla="*/ 5998247 h 5998247"/>
              <a:gd name="connsiteX4" fmla="*/ 1017 w 2007965"/>
              <a:gd name="connsiteY4" fmla="*/ 0 h 5998247"/>
              <a:gd name="connsiteX0" fmla="*/ 743 w 2010650"/>
              <a:gd name="connsiteY0" fmla="*/ 0 h 5986410"/>
              <a:gd name="connsiteX1" fmla="*/ 2010329 w 2010650"/>
              <a:gd name="connsiteY1" fmla="*/ 2015833 h 5986410"/>
              <a:gd name="connsiteX2" fmla="*/ 2010329 w 2010650"/>
              <a:gd name="connsiteY2" fmla="*/ 5986410 h 5986410"/>
              <a:gd name="connsiteX3" fmla="*/ 3287 w 2010650"/>
              <a:gd name="connsiteY3" fmla="*/ 5986410 h 5986410"/>
              <a:gd name="connsiteX4" fmla="*/ 743 w 2010650"/>
              <a:gd name="connsiteY4" fmla="*/ 0 h 5986410"/>
              <a:gd name="connsiteX0" fmla="*/ 5694 w 2015601"/>
              <a:gd name="connsiteY0" fmla="*/ 0 h 5986410"/>
              <a:gd name="connsiteX1" fmla="*/ 2015280 w 2015601"/>
              <a:gd name="connsiteY1" fmla="*/ 2015833 h 5986410"/>
              <a:gd name="connsiteX2" fmla="*/ 2015280 w 2015601"/>
              <a:gd name="connsiteY2" fmla="*/ 5986410 h 5986410"/>
              <a:gd name="connsiteX3" fmla="*/ 0 w 2015601"/>
              <a:gd name="connsiteY3" fmla="*/ 5986410 h 5986410"/>
              <a:gd name="connsiteX4" fmla="*/ 5694 w 2015601"/>
              <a:gd name="connsiteY4" fmla="*/ 0 h 5986410"/>
              <a:gd name="connsiteX0" fmla="*/ 1575 w 2015601"/>
              <a:gd name="connsiteY0" fmla="*/ 0 h 5982291"/>
              <a:gd name="connsiteX1" fmla="*/ 2015280 w 2015601"/>
              <a:gd name="connsiteY1" fmla="*/ 2011714 h 5982291"/>
              <a:gd name="connsiteX2" fmla="*/ 2015280 w 2015601"/>
              <a:gd name="connsiteY2" fmla="*/ 5982291 h 5982291"/>
              <a:gd name="connsiteX3" fmla="*/ 0 w 2015601"/>
              <a:gd name="connsiteY3" fmla="*/ 5982291 h 5982291"/>
              <a:gd name="connsiteX4" fmla="*/ 1575 w 2015601"/>
              <a:gd name="connsiteY4" fmla="*/ 0 h 5982291"/>
              <a:gd name="connsiteX0" fmla="*/ 1575 w 2015601"/>
              <a:gd name="connsiteY0" fmla="*/ 0 h 5990529"/>
              <a:gd name="connsiteX1" fmla="*/ 2015280 w 2015601"/>
              <a:gd name="connsiteY1" fmla="*/ 2019952 h 5990529"/>
              <a:gd name="connsiteX2" fmla="*/ 2015280 w 2015601"/>
              <a:gd name="connsiteY2" fmla="*/ 5990529 h 5990529"/>
              <a:gd name="connsiteX3" fmla="*/ 0 w 2015601"/>
              <a:gd name="connsiteY3" fmla="*/ 5990529 h 5990529"/>
              <a:gd name="connsiteX4" fmla="*/ 1575 w 2015601"/>
              <a:gd name="connsiteY4" fmla="*/ 0 h 5990529"/>
              <a:gd name="connsiteX0" fmla="*/ 1575 w 2017830"/>
              <a:gd name="connsiteY0" fmla="*/ 0 h 5990529"/>
              <a:gd name="connsiteX1" fmla="*/ 2017656 w 2017830"/>
              <a:gd name="connsiteY1" fmla="*/ 2031859 h 5990529"/>
              <a:gd name="connsiteX2" fmla="*/ 2015280 w 2017830"/>
              <a:gd name="connsiteY2" fmla="*/ 5990529 h 5990529"/>
              <a:gd name="connsiteX3" fmla="*/ 0 w 2017830"/>
              <a:gd name="connsiteY3" fmla="*/ 5990529 h 5990529"/>
              <a:gd name="connsiteX4" fmla="*/ 1575 w 2017830"/>
              <a:gd name="connsiteY4" fmla="*/ 0 h 5990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7830" h="5990529">
                <a:moveTo>
                  <a:pt x="1575" y="0"/>
                </a:moveTo>
                <a:lnTo>
                  <a:pt x="2017656" y="2031859"/>
                </a:lnTo>
                <a:cubicBezTo>
                  <a:pt x="2018768" y="3355385"/>
                  <a:pt x="2014168" y="4667003"/>
                  <a:pt x="2015280" y="5990529"/>
                </a:cubicBezTo>
                <a:lnTo>
                  <a:pt x="0" y="5990529"/>
                </a:lnTo>
                <a:cubicBezTo>
                  <a:pt x="3349" y="3992582"/>
                  <a:pt x="-1774" y="1997947"/>
                  <a:pt x="157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05 Text Office" panose="020B0504040000000004" pitchFamily="34" charset="0"/>
            </a:endParaRPr>
          </a:p>
        </p:txBody>
      </p:sp>
    </p:spTree>
    <p:extLst>
      <p:ext uri="{BB962C8B-B14F-4D97-AF65-F5344CB8AC3E}">
        <p14:creationId xmlns:p14="http://schemas.microsoft.com/office/powerpoint/2010/main" val="307946279"/>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große Bilder mit Überschrif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6" name="Rechteck: eine Ecke abgeschnitten 5">
            <a:extLst>
              <a:ext uri="{FF2B5EF4-FFF2-40B4-BE49-F238E27FC236}">
                <a16:creationId xmlns:a16="http://schemas.microsoft.com/office/drawing/2014/main" id="{A7E2ABEC-DF66-405B-82CA-AF75090D6233}"/>
              </a:ext>
            </a:extLst>
          </p:cNvPr>
          <p:cNvSpPr/>
          <p:nvPr userDrawn="1"/>
        </p:nvSpPr>
        <p:spPr>
          <a:xfrm flipV="1">
            <a:off x="330198" y="1287153"/>
            <a:ext cx="5166829" cy="277198"/>
          </a:xfrm>
          <a:prstGeom prst="snip1Rect">
            <a:avLst>
              <a:gd name="adj" fmla="val 35199"/>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platzhalter 12">
            <a:extLst>
              <a:ext uri="{FF2B5EF4-FFF2-40B4-BE49-F238E27FC236}">
                <a16:creationId xmlns:a16="http://schemas.microsoft.com/office/drawing/2014/main" id="{F39CD020-FFEC-463C-95EF-D8DA1D9485EE}"/>
              </a:ext>
            </a:extLst>
          </p:cNvPr>
          <p:cNvSpPr txBox="1">
            <a:spLocks/>
          </p:cNvSpPr>
          <p:nvPr userDrawn="1"/>
        </p:nvSpPr>
        <p:spPr>
          <a:xfrm>
            <a:off x="330202" y="1239683"/>
            <a:ext cx="4262988" cy="365125"/>
          </a:xfrm>
          <a:prstGeom prst="rect">
            <a:avLst/>
          </a:prstGeom>
        </p:spPr>
        <p:txBody>
          <a:bodyPr/>
          <a:lst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1400" b="1">
              <a:latin typeface="M05 Text Office" panose="020B0504040000000004" pitchFamily="34" charset="0"/>
            </a:endParaRPr>
          </a:p>
        </p:txBody>
      </p:sp>
      <p:sp>
        <p:nvSpPr>
          <p:cNvPr id="30" name="Bildplatzhalter 29">
            <a:extLst>
              <a:ext uri="{FF2B5EF4-FFF2-40B4-BE49-F238E27FC236}">
                <a16:creationId xmlns:a16="http://schemas.microsoft.com/office/drawing/2014/main" id="{0D3FDAF7-636A-489F-8107-392A4D47363D}"/>
              </a:ext>
            </a:extLst>
          </p:cNvPr>
          <p:cNvSpPr>
            <a:spLocks noGrp="1"/>
          </p:cNvSpPr>
          <p:nvPr>
            <p:ph type="pic" sz="quarter" idx="14"/>
          </p:nvPr>
        </p:nvSpPr>
        <p:spPr>
          <a:xfrm>
            <a:off x="330856" y="1621456"/>
            <a:ext cx="5165817" cy="2111375"/>
          </a:xfrm>
          <a:prstGeom prst="rect">
            <a:avLst/>
          </a:prstGeom>
          <a:solidFill>
            <a:schemeClr val="accent2"/>
          </a:solidFill>
        </p:spPr>
        <p:txBody>
          <a:bodyPr/>
          <a:lstStyle/>
          <a:p>
            <a:endParaRPr lang="de-DE"/>
          </a:p>
        </p:txBody>
      </p:sp>
      <p:sp>
        <p:nvSpPr>
          <p:cNvPr id="32" name="Textplatzhalter 31">
            <a:extLst>
              <a:ext uri="{FF2B5EF4-FFF2-40B4-BE49-F238E27FC236}">
                <a16:creationId xmlns:a16="http://schemas.microsoft.com/office/drawing/2014/main" id="{271E1DA2-5965-456C-979A-7C1E1083E88E}"/>
              </a:ext>
            </a:extLst>
          </p:cNvPr>
          <p:cNvSpPr>
            <a:spLocks noGrp="1"/>
          </p:cNvSpPr>
          <p:nvPr>
            <p:ph type="body" sz="quarter" idx="15" hasCustomPrompt="1"/>
          </p:nvPr>
        </p:nvSpPr>
        <p:spPr>
          <a:xfrm>
            <a:off x="330198" y="1279074"/>
            <a:ext cx="5165817" cy="264730"/>
          </a:xfrm>
          <a:prstGeom prst="rect">
            <a:avLst/>
          </a:prstGeom>
        </p:spPr>
        <p:txBody>
          <a:bodyPr/>
          <a:lstStyle>
            <a:lvl1pPr marL="0" indent="0">
              <a:buNone/>
              <a:defRPr sz="1400">
                <a:latin typeface="M05 Text Office Bold" panose="020B0804040000000004" pitchFamily="34" charset="0"/>
              </a:defRPr>
            </a:lvl1pPr>
          </a:lstStyle>
          <a:p>
            <a:pPr lvl="0"/>
            <a:r>
              <a:rPr lang="de-DE"/>
              <a:t>Überschrift</a:t>
            </a:r>
          </a:p>
        </p:txBody>
      </p:sp>
      <p:sp>
        <p:nvSpPr>
          <p:cNvPr id="53" name="Rechteck: eine Ecke abgeschnitten 52">
            <a:extLst>
              <a:ext uri="{FF2B5EF4-FFF2-40B4-BE49-F238E27FC236}">
                <a16:creationId xmlns:a16="http://schemas.microsoft.com/office/drawing/2014/main" id="{D96ED242-DA6B-4124-B93C-C9BAB30A530C}"/>
              </a:ext>
            </a:extLst>
          </p:cNvPr>
          <p:cNvSpPr/>
          <p:nvPr userDrawn="1"/>
        </p:nvSpPr>
        <p:spPr>
          <a:xfrm flipV="1">
            <a:off x="329540" y="3874829"/>
            <a:ext cx="5166829" cy="277198"/>
          </a:xfrm>
          <a:prstGeom prst="snip1Rect">
            <a:avLst>
              <a:gd name="adj" fmla="val 35199"/>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platzhalter 12">
            <a:extLst>
              <a:ext uri="{FF2B5EF4-FFF2-40B4-BE49-F238E27FC236}">
                <a16:creationId xmlns:a16="http://schemas.microsoft.com/office/drawing/2014/main" id="{4234A86E-E8FB-4C33-8359-5CFE2120CB79}"/>
              </a:ext>
            </a:extLst>
          </p:cNvPr>
          <p:cNvSpPr txBox="1">
            <a:spLocks/>
          </p:cNvSpPr>
          <p:nvPr userDrawn="1"/>
        </p:nvSpPr>
        <p:spPr>
          <a:xfrm>
            <a:off x="329544" y="3817085"/>
            <a:ext cx="4262988" cy="365125"/>
          </a:xfrm>
          <a:prstGeom prst="rect">
            <a:avLst/>
          </a:prstGeom>
        </p:spPr>
        <p:txBody>
          <a:bodyPr/>
          <a:lst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1400" b="1">
              <a:latin typeface="M05 Text Office" panose="020B0504040000000004" pitchFamily="34" charset="0"/>
            </a:endParaRPr>
          </a:p>
        </p:txBody>
      </p:sp>
      <p:sp>
        <p:nvSpPr>
          <p:cNvPr id="55" name="Bildplatzhalter 29">
            <a:extLst>
              <a:ext uri="{FF2B5EF4-FFF2-40B4-BE49-F238E27FC236}">
                <a16:creationId xmlns:a16="http://schemas.microsoft.com/office/drawing/2014/main" id="{35C07CDB-E242-4B97-94F2-10AD5EA40002}"/>
              </a:ext>
            </a:extLst>
          </p:cNvPr>
          <p:cNvSpPr>
            <a:spLocks noGrp="1"/>
          </p:cNvSpPr>
          <p:nvPr>
            <p:ph type="pic" sz="quarter" idx="20"/>
          </p:nvPr>
        </p:nvSpPr>
        <p:spPr>
          <a:xfrm>
            <a:off x="330198" y="4198858"/>
            <a:ext cx="5165817" cy="2111375"/>
          </a:xfrm>
          <a:prstGeom prst="rect">
            <a:avLst/>
          </a:prstGeom>
          <a:solidFill>
            <a:schemeClr val="accent2"/>
          </a:solidFill>
        </p:spPr>
        <p:txBody>
          <a:bodyPr/>
          <a:lstStyle/>
          <a:p>
            <a:endParaRPr lang="de-DE"/>
          </a:p>
        </p:txBody>
      </p:sp>
      <p:sp>
        <p:nvSpPr>
          <p:cNvPr id="56" name="Textplatzhalter 31">
            <a:extLst>
              <a:ext uri="{FF2B5EF4-FFF2-40B4-BE49-F238E27FC236}">
                <a16:creationId xmlns:a16="http://schemas.microsoft.com/office/drawing/2014/main" id="{4001D951-435A-4647-908B-44AAA59871D3}"/>
              </a:ext>
            </a:extLst>
          </p:cNvPr>
          <p:cNvSpPr>
            <a:spLocks noGrp="1"/>
          </p:cNvSpPr>
          <p:nvPr>
            <p:ph type="body" sz="quarter" idx="21" hasCustomPrompt="1"/>
          </p:nvPr>
        </p:nvSpPr>
        <p:spPr>
          <a:xfrm>
            <a:off x="329540" y="3846202"/>
            <a:ext cx="5165817" cy="264730"/>
          </a:xfrm>
          <a:prstGeom prst="rect">
            <a:avLst/>
          </a:prstGeom>
        </p:spPr>
        <p:txBody>
          <a:bodyPr/>
          <a:lstStyle>
            <a:lvl1pPr marL="0" indent="0">
              <a:buNone/>
              <a:defRPr sz="1400">
                <a:latin typeface="M05 Text Office Bold" panose="020B0804040000000004" pitchFamily="34" charset="0"/>
              </a:defRPr>
            </a:lvl1pPr>
          </a:lstStyle>
          <a:p>
            <a:pPr lvl="0"/>
            <a:r>
              <a:rPr lang="de-DE"/>
              <a:t>Überschrift</a:t>
            </a:r>
          </a:p>
        </p:txBody>
      </p:sp>
      <p:sp>
        <p:nvSpPr>
          <p:cNvPr id="67" name="Rechteck: eine Ecke abgeschnitten 66">
            <a:extLst>
              <a:ext uri="{FF2B5EF4-FFF2-40B4-BE49-F238E27FC236}">
                <a16:creationId xmlns:a16="http://schemas.microsoft.com/office/drawing/2014/main" id="{BD2A5354-8B54-4EDC-B34C-A21EBA746B9F}"/>
              </a:ext>
            </a:extLst>
          </p:cNvPr>
          <p:cNvSpPr/>
          <p:nvPr userDrawn="1"/>
        </p:nvSpPr>
        <p:spPr>
          <a:xfrm flipV="1">
            <a:off x="5891549" y="1283641"/>
            <a:ext cx="5166829" cy="277198"/>
          </a:xfrm>
          <a:prstGeom prst="snip1Rect">
            <a:avLst>
              <a:gd name="adj" fmla="val 35199"/>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Textplatzhalter 12">
            <a:extLst>
              <a:ext uri="{FF2B5EF4-FFF2-40B4-BE49-F238E27FC236}">
                <a16:creationId xmlns:a16="http://schemas.microsoft.com/office/drawing/2014/main" id="{7FBE1D81-A4CE-429B-8667-2DA64075AA64}"/>
              </a:ext>
            </a:extLst>
          </p:cNvPr>
          <p:cNvSpPr txBox="1">
            <a:spLocks/>
          </p:cNvSpPr>
          <p:nvPr userDrawn="1"/>
        </p:nvSpPr>
        <p:spPr>
          <a:xfrm>
            <a:off x="5891553" y="1246445"/>
            <a:ext cx="4262988" cy="365125"/>
          </a:xfrm>
          <a:prstGeom prst="rect">
            <a:avLst/>
          </a:prstGeom>
        </p:spPr>
        <p:txBody>
          <a:bodyPr/>
          <a:lst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1400" b="1">
              <a:latin typeface="M05 Text Office" panose="020B0504040000000004" pitchFamily="34" charset="0"/>
            </a:endParaRPr>
          </a:p>
        </p:txBody>
      </p:sp>
      <p:sp>
        <p:nvSpPr>
          <p:cNvPr id="69" name="Bildplatzhalter 29">
            <a:extLst>
              <a:ext uri="{FF2B5EF4-FFF2-40B4-BE49-F238E27FC236}">
                <a16:creationId xmlns:a16="http://schemas.microsoft.com/office/drawing/2014/main" id="{38D4FA45-3C44-476D-A313-5FE851310BA9}"/>
              </a:ext>
            </a:extLst>
          </p:cNvPr>
          <p:cNvSpPr>
            <a:spLocks noGrp="1"/>
          </p:cNvSpPr>
          <p:nvPr>
            <p:ph type="pic" sz="quarter" idx="22"/>
          </p:nvPr>
        </p:nvSpPr>
        <p:spPr>
          <a:xfrm>
            <a:off x="5892207" y="1628218"/>
            <a:ext cx="5165817" cy="2111375"/>
          </a:xfrm>
          <a:prstGeom prst="rect">
            <a:avLst/>
          </a:prstGeom>
          <a:solidFill>
            <a:schemeClr val="accent2"/>
          </a:solidFill>
        </p:spPr>
        <p:txBody>
          <a:bodyPr/>
          <a:lstStyle/>
          <a:p>
            <a:endParaRPr lang="de-DE"/>
          </a:p>
        </p:txBody>
      </p:sp>
      <p:sp>
        <p:nvSpPr>
          <p:cNvPr id="70" name="Textplatzhalter 31">
            <a:extLst>
              <a:ext uri="{FF2B5EF4-FFF2-40B4-BE49-F238E27FC236}">
                <a16:creationId xmlns:a16="http://schemas.microsoft.com/office/drawing/2014/main" id="{3EAA043C-0BE1-44BE-BC3B-55A97DA1386E}"/>
              </a:ext>
            </a:extLst>
          </p:cNvPr>
          <p:cNvSpPr>
            <a:spLocks noGrp="1"/>
          </p:cNvSpPr>
          <p:nvPr>
            <p:ph type="body" sz="quarter" idx="23" hasCustomPrompt="1"/>
          </p:nvPr>
        </p:nvSpPr>
        <p:spPr>
          <a:xfrm>
            <a:off x="5891549" y="1285836"/>
            <a:ext cx="5165817" cy="264730"/>
          </a:xfrm>
          <a:prstGeom prst="rect">
            <a:avLst/>
          </a:prstGeom>
        </p:spPr>
        <p:txBody>
          <a:bodyPr/>
          <a:lstStyle>
            <a:lvl1pPr marL="0" indent="0">
              <a:buNone/>
              <a:defRPr sz="1400">
                <a:latin typeface="M05 Text Office Bold" panose="020B0804040000000004" pitchFamily="34" charset="0"/>
              </a:defRPr>
            </a:lvl1pPr>
          </a:lstStyle>
          <a:p>
            <a:pPr lvl="0"/>
            <a:r>
              <a:rPr lang="de-DE"/>
              <a:t>Überschrift</a:t>
            </a:r>
          </a:p>
        </p:txBody>
      </p:sp>
      <p:sp>
        <p:nvSpPr>
          <p:cNvPr id="71" name="Rechteck: eine Ecke abgeschnitten 70">
            <a:extLst>
              <a:ext uri="{FF2B5EF4-FFF2-40B4-BE49-F238E27FC236}">
                <a16:creationId xmlns:a16="http://schemas.microsoft.com/office/drawing/2014/main" id="{9549A9CC-9799-401F-8E80-6F02AC95C488}"/>
              </a:ext>
            </a:extLst>
          </p:cNvPr>
          <p:cNvSpPr/>
          <p:nvPr userDrawn="1"/>
        </p:nvSpPr>
        <p:spPr>
          <a:xfrm flipV="1">
            <a:off x="5890891" y="3871317"/>
            <a:ext cx="5166829" cy="277198"/>
          </a:xfrm>
          <a:prstGeom prst="snip1Rect">
            <a:avLst>
              <a:gd name="adj" fmla="val 35199"/>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Textplatzhalter 12">
            <a:extLst>
              <a:ext uri="{FF2B5EF4-FFF2-40B4-BE49-F238E27FC236}">
                <a16:creationId xmlns:a16="http://schemas.microsoft.com/office/drawing/2014/main" id="{D660F79D-EECD-4639-8039-D039FD0E5B50}"/>
              </a:ext>
            </a:extLst>
          </p:cNvPr>
          <p:cNvSpPr txBox="1">
            <a:spLocks/>
          </p:cNvSpPr>
          <p:nvPr userDrawn="1"/>
        </p:nvSpPr>
        <p:spPr>
          <a:xfrm>
            <a:off x="5890895" y="3823847"/>
            <a:ext cx="4262988" cy="365125"/>
          </a:xfrm>
          <a:prstGeom prst="rect">
            <a:avLst/>
          </a:prstGeom>
        </p:spPr>
        <p:txBody>
          <a:bodyPr/>
          <a:lst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1400" b="1">
              <a:latin typeface="M05 Text Office" panose="020B0504040000000004" pitchFamily="34" charset="0"/>
            </a:endParaRPr>
          </a:p>
        </p:txBody>
      </p:sp>
      <p:sp>
        <p:nvSpPr>
          <p:cNvPr id="73" name="Bildplatzhalter 29">
            <a:extLst>
              <a:ext uri="{FF2B5EF4-FFF2-40B4-BE49-F238E27FC236}">
                <a16:creationId xmlns:a16="http://schemas.microsoft.com/office/drawing/2014/main" id="{B3245B22-6CE9-475C-9418-CF9D0222427C}"/>
              </a:ext>
            </a:extLst>
          </p:cNvPr>
          <p:cNvSpPr>
            <a:spLocks noGrp="1"/>
          </p:cNvSpPr>
          <p:nvPr>
            <p:ph type="pic" sz="quarter" idx="24"/>
          </p:nvPr>
        </p:nvSpPr>
        <p:spPr>
          <a:xfrm>
            <a:off x="5891549" y="4205620"/>
            <a:ext cx="5165817" cy="2111375"/>
          </a:xfrm>
          <a:prstGeom prst="rect">
            <a:avLst/>
          </a:prstGeom>
          <a:solidFill>
            <a:schemeClr val="accent2"/>
          </a:solidFill>
        </p:spPr>
        <p:txBody>
          <a:bodyPr/>
          <a:lstStyle/>
          <a:p>
            <a:endParaRPr lang="de-DE"/>
          </a:p>
        </p:txBody>
      </p:sp>
      <p:sp>
        <p:nvSpPr>
          <p:cNvPr id="74" name="Textplatzhalter 31">
            <a:extLst>
              <a:ext uri="{FF2B5EF4-FFF2-40B4-BE49-F238E27FC236}">
                <a16:creationId xmlns:a16="http://schemas.microsoft.com/office/drawing/2014/main" id="{12B4D1B6-0CCF-41DE-A3D3-E6A59FB9F460}"/>
              </a:ext>
            </a:extLst>
          </p:cNvPr>
          <p:cNvSpPr>
            <a:spLocks noGrp="1"/>
          </p:cNvSpPr>
          <p:nvPr>
            <p:ph type="body" sz="quarter" idx="25" hasCustomPrompt="1"/>
          </p:nvPr>
        </p:nvSpPr>
        <p:spPr>
          <a:xfrm>
            <a:off x="5890891" y="3852964"/>
            <a:ext cx="5165817" cy="264730"/>
          </a:xfrm>
          <a:prstGeom prst="rect">
            <a:avLst/>
          </a:prstGeom>
        </p:spPr>
        <p:txBody>
          <a:bodyPr/>
          <a:lstStyle>
            <a:lvl1pPr marL="0" indent="0">
              <a:buNone/>
              <a:defRPr sz="1400">
                <a:latin typeface="M05 Text Office Bold" panose="020B0804040000000004" pitchFamily="34" charset="0"/>
              </a:defRPr>
            </a:lvl1pPr>
          </a:lstStyle>
          <a:p>
            <a:pPr lvl="0"/>
            <a:r>
              <a:rPr lang="de-DE"/>
              <a:t>Überschrift</a:t>
            </a:r>
          </a:p>
        </p:txBody>
      </p:sp>
    </p:spTree>
    <p:extLst>
      <p:ext uri="{BB962C8B-B14F-4D97-AF65-F5344CB8AC3E}">
        <p14:creationId xmlns:p14="http://schemas.microsoft.com/office/powerpoint/2010/main" val="34855342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große Bilder mit Überschrif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6" name="Rechteck: eine Ecke abgeschnitten 5">
            <a:extLst>
              <a:ext uri="{FF2B5EF4-FFF2-40B4-BE49-F238E27FC236}">
                <a16:creationId xmlns:a16="http://schemas.microsoft.com/office/drawing/2014/main" id="{A7E2ABEC-DF66-405B-82CA-AF75090D6233}"/>
              </a:ext>
            </a:extLst>
          </p:cNvPr>
          <p:cNvSpPr/>
          <p:nvPr userDrawn="1"/>
        </p:nvSpPr>
        <p:spPr>
          <a:xfrm flipV="1">
            <a:off x="329541" y="1270476"/>
            <a:ext cx="3512366" cy="277198"/>
          </a:xfrm>
          <a:prstGeom prst="snip1Rect">
            <a:avLst>
              <a:gd name="adj" fmla="val 35199"/>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platzhalter 12">
            <a:extLst>
              <a:ext uri="{FF2B5EF4-FFF2-40B4-BE49-F238E27FC236}">
                <a16:creationId xmlns:a16="http://schemas.microsoft.com/office/drawing/2014/main" id="{F39CD020-FFEC-463C-95EF-D8DA1D9485EE}"/>
              </a:ext>
            </a:extLst>
          </p:cNvPr>
          <p:cNvSpPr txBox="1">
            <a:spLocks/>
          </p:cNvSpPr>
          <p:nvPr userDrawn="1"/>
        </p:nvSpPr>
        <p:spPr>
          <a:xfrm>
            <a:off x="329544" y="1253828"/>
            <a:ext cx="2897942" cy="365125"/>
          </a:xfrm>
          <a:prstGeom prst="rect">
            <a:avLst/>
          </a:prstGeom>
        </p:spPr>
        <p:txBody>
          <a:bodyPr/>
          <a:lst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1400" b="1">
              <a:latin typeface="M05 Text Office" panose="020B0504040000000004" pitchFamily="34" charset="0"/>
            </a:endParaRPr>
          </a:p>
        </p:txBody>
      </p:sp>
      <p:sp>
        <p:nvSpPr>
          <p:cNvPr id="30" name="Bildplatzhalter 29">
            <a:extLst>
              <a:ext uri="{FF2B5EF4-FFF2-40B4-BE49-F238E27FC236}">
                <a16:creationId xmlns:a16="http://schemas.microsoft.com/office/drawing/2014/main" id="{0D3FDAF7-636A-489F-8107-392A4D47363D}"/>
              </a:ext>
            </a:extLst>
          </p:cNvPr>
          <p:cNvSpPr>
            <a:spLocks noGrp="1"/>
          </p:cNvSpPr>
          <p:nvPr>
            <p:ph type="pic" sz="quarter" idx="14"/>
          </p:nvPr>
        </p:nvSpPr>
        <p:spPr>
          <a:xfrm>
            <a:off x="330199" y="1635601"/>
            <a:ext cx="3511678" cy="2111375"/>
          </a:xfrm>
          <a:prstGeom prst="rect">
            <a:avLst/>
          </a:prstGeom>
          <a:solidFill>
            <a:schemeClr val="accent2"/>
          </a:solidFill>
        </p:spPr>
        <p:txBody>
          <a:bodyPr/>
          <a:lstStyle/>
          <a:p>
            <a:endParaRPr lang="de-DE"/>
          </a:p>
        </p:txBody>
      </p:sp>
      <p:sp>
        <p:nvSpPr>
          <p:cNvPr id="32" name="Textplatzhalter 31">
            <a:extLst>
              <a:ext uri="{FF2B5EF4-FFF2-40B4-BE49-F238E27FC236}">
                <a16:creationId xmlns:a16="http://schemas.microsoft.com/office/drawing/2014/main" id="{271E1DA2-5965-456C-979A-7C1E1083E88E}"/>
              </a:ext>
            </a:extLst>
          </p:cNvPr>
          <p:cNvSpPr>
            <a:spLocks noGrp="1"/>
          </p:cNvSpPr>
          <p:nvPr>
            <p:ph type="body" sz="quarter" idx="15" hasCustomPrompt="1"/>
          </p:nvPr>
        </p:nvSpPr>
        <p:spPr>
          <a:xfrm>
            <a:off x="329541" y="1293219"/>
            <a:ext cx="3511678" cy="264730"/>
          </a:xfrm>
          <a:prstGeom prst="rect">
            <a:avLst/>
          </a:prstGeom>
        </p:spPr>
        <p:txBody>
          <a:bodyPr/>
          <a:lstStyle>
            <a:lvl1pPr marL="0" indent="0">
              <a:buNone/>
              <a:defRPr sz="1400">
                <a:latin typeface="M05 Text Office Bold" panose="020B0804040000000004" pitchFamily="34" charset="0"/>
              </a:defRPr>
            </a:lvl1pPr>
          </a:lstStyle>
          <a:p>
            <a:pPr lvl="0"/>
            <a:r>
              <a:rPr lang="de-DE"/>
              <a:t>Überschrift</a:t>
            </a:r>
          </a:p>
        </p:txBody>
      </p:sp>
      <p:sp>
        <p:nvSpPr>
          <p:cNvPr id="45" name="Rechteck: eine Ecke abgeschnitten 44">
            <a:extLst>
              <a:ext uri="{FF2B5EF4-FFF2-40B4-BE49-F238E27FC236}">
                <a16:creationId xmlns:a16="http://schemas.microsoft.com/office/drawing/2014/main" id="{7D0795B7-FF7C-4C62-AEA8-50D5AD45A1D8}"/>
              </a:ext>
            </a:extLst>
          </p:cNvPr>
          <p:cNvSpPr/>
          <p:nvPr userDrawn="1"/>
        </p:nvSpPr>
        <p:spPr>
          <a:xfrm flipV="1">
            <a:off x="7543143" y="1270476"/>
            <a:ext cx="3512366" cy="277198"/>
          </a:xfrm>
          <a:prstGeom prst="snip1Rect">
            <a:avLst>
              <a:gd name="adj" fmla="val 35199"/>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Textplatzhalter 12">
            <a:extLst>
              <a:ext uri="{FF2B5EF4-FFF2-40B4-BE49-F238E27FC236}">
                <a16:creationId xmlns:a16="http://schemas.microsoft.com/office/drawing/2014/main" id="{383CFD03-72CA-418B-B153-468CD1A6902D}"/>
              </a:ext>
            </a:extLst>
          </p:cNvPr>
          <p:cNvSpPr txBox="1">
            <a:spLocks/>
          </p:cNvSpPr>
          <p:nvPr userDrawn="1"/>
        </p:nvSpPr>
        <p:spPr>
          <a:xfrm>
            <a:off x="7543146" y="1253828"/>
            <a:ext cx="2897942" cy="365125"/>
          </a:xfrm>
          <a:prstGeom prst="rect">
            <a:avLst/>
          </a:prstGeom>
        </p:spPr>
        <p:txBody>
          <a:bodyPr/>
          <a:lst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1400" b="1">
              <a:latin typeface="M05 Text Office" panose="020B0504040000000004" pitchFamily="34" charset="0"/>
            </a:endParaRPr>
          </a:p>
        </p:txBody>
      </p:sp>
      <p:sp>
        <p:nvSpPr>
          <p:cNvPr id="47" name="Bildplatzhalter 29">
            <a:extLst>
              <a:ext uri="{FF2B5EF4-FFF2-40B4-BE49-F238E27FC236}">
                <a16:creationId xmlns:a16="http://schemas.microsoft.com/office/drawing/2014/main" id="{21BA2B95-0B1E-4C9B-825D-DF7B0C127E41}"/>
              </a:ext>
            </a:extLst>
          </p:cNvPr>
          <p:cNvSpPr>
            <a:spLocks noGrp="1"/>
          </p:cNvSpPr>
          <p:nvPr>
            <p:ph type="pic" sz="quarter" idx="16"/>
          </p:nvPr>
        </p:nvSpPr>
        <p:spPr>
          <a:xfrm>
            <a:off x="7543801" y="1635601"/>
            <a:ext cx="3511678" cy="2111375"/>
          </a:xfrm>
          <a:prstGeom prst="rect">
            <a:avLst/>
          </a:prstGeom>
          <a:solidFill>
            <a:schemeClr val="accent2"/>
          </a:solidFill>
        </p:spPr>
        <p:txBody>
          <a:bodyPr/>
          <a:lstStyle/>
          <a:p>
            <a:endParaRPr lang="de-DE"/>
          </a:p>
        </p:txBody>
      </p:sp>
      <p:sp>
        <p:nvSpPr>
          <p:cNvPr id="48" name="Textplatzhalter 31">
            <a:extLst>
              <a:ext uri="{FF2B5EF4-FFF2-40B4-BE49-F238E27FC236}">
                <a16:creationId xmlns:a16="http://schemas.microsoft.com/office/drawing/2014/main" id="{C8989475-3631-4F09-957D-530740B8C43B}"/>
              </a:ext>
            </a:extLst>
          </p:cNvPr>
          <p:cNvSpPr>
            <a:spLocks noGrp="1"/>
          </p:cNvSpPr>
          <p:nvPr>
            <p:ph type="body" sz="quarter" idx="17" hasCustomPrompt="1"/>
          </p:nvPr>
        </p:nvSpPr>
        <p:spPr>
          <a:xfrm>
            <a:off x="7543143" y="1282945"/>
            <a:ext cx="3511678" cy="264730"/>
          </a:xfrm>
          <a:prstGeom prst="rect">
            <a:avLst/>
          </a:prstGeom>
        </p:spPr>
        <p:txBody>
          <a:bodyPr/>
          <a:lstStyle>
            <a:lvl1pPr marL="0" indent="0">
              <a:buNone/>
              <a:defRPr sz="1400">
                <a:latin typeface="M05 Text Office Bold" panose="020B0804040000000004" pitchFamily="34" charset="0"/>
              </a:defRPr>
            </a:lvl1pPr>
          </a:lstStyle>
          <a:p>
            <a:pPr lvl="0"/>
            <a:r>
              <a:rPr lang="de-DE"/>
              <a:t>Überschrift</a:t>
            </a:r>
          </a:p>
        </p:txBody>
      </p:sp>
      <p:sp>
        <p:nvSpPr>
          <p:cNvPr id="49" name="Rechteck: eine Ecke abgeschnitten 48">
            <a:extLst>
              <a:ext uri="{FF2B5EF4-FFF2-40B4-BE49-F238E27FC236}">
                <a16:creationId xmlns:a16="http://schemas.microsoft.com/office/drawing/2014/main" id="{E0C6EDE1-FE0C-4282-A381-C4CC6AF9CC2A}"/>
              </a:ext>
            </a:extLst>
          </p:cNvPr>
          <p:cNvSpPr/>
          <p:nvPr userDrawn="1"/>
        </p:nvSpPr>
        <p:spPr>
          <a:xfrm flipV="1">
            <a:off x="3934156" y="1270476"/>
            <a:ext cx="3512366" cy="277198"/>
          </a:xfrm>
          <a:prstGeom prst="snip1Rect">
            <a:avLst>
              <a:gd name="adj" fmla="val 35199"/>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Textplatzhalter 12">
            <a:extLst>
              <a:ext uri="{FF2B5EF4-FFF2-40B4-BE49-F238E27FC236}">
                <a16:creationId xmlns:a16="http://schemas.microsoft.com/office/drawing/2014/main" id="{FD2EE360-6FF3-4E7A-80B7-1D565D90A9F7}"/>
              </a:ext>
            </a:extLst>
          </p:cNvPr>
          <p:cNvSpPr txBox="1">
            <a:spLocks/>
          </p:cNvSpPr>
          <p:nvPr userDrawn="1"/>
        </p:nvSpPr>
        <p:spPr>
          <a:xfrm>
            <a:off x="3934159" y="1253828"/>
            <a:ext cx="2897942" cy="365125"/>
          </a:xfrm>
          <a:prstGeom prst="rect">
            <a:avLst/>
          </a:prstGeom>
        </p:spPr>
        <p:txBody>
          <a:bodyPr/>
          <a:lst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1400" b="1">
              <a:latin typeface="M05 Text Office" panose="020B0504040000000004" pitchFamily="34" charset="0"/>
            </a:endParaRPr>
          </a:p>
        </p:txBody>
      </p:sp>
      <p:sp>
        <p:nvSpPr>
          <p:cNvPr id="51" name="Bildplatzhalter 29">
            <a:extLst>
              <a:ext uri="{FF2B5EF4-FFF2-40B4-BE49-F238E27FC236}">
                <a16:creationId xmlns:a16="http://schemas.microsoft.com/office/drawing/2014/main" id="{FE82991B-2C21-4AF6-9227-C28A3725D7F8}"/>
              </a:ext>
            </a:extLst>
          </p:cNvPr>
          <p:cNvSpPr>
            <a:spLocks noGrp="1"/>
          </p:cNvSpPr>
          <p:nvPr>
            <p:ph type="pic" sz="quarter" idx="18"/>
          </p:nvPr>
        </p:nvSpPr>
        <p:spPr>
          <a:xfrm>
            <a:off x="3934814" y="1635601"/>
            <a:ext cx="3511678" cy="2111375"/>
          </a:xfrm>
          <a:prstGeom prst="rect">
            <a:avLst/>
          </a:prstGeom>
          <a:solidFill>
            <a:schemeClr val="accent2"/>
          </a:solidFill>
        </p:spPr>
        <p:txBody>
          <a:bodyPr/>
          <a:lstStyle/>
          <a:p>
            <a:endParaRPr lang="de-DE"/>
          </a:p>
        </p:txBody>
      </p:sp>
      <p:sp>
        <p:nvSpPr>
          <p:cNvPr id="52" name="Textplatzhalter 31">
            <a:extLst>
              <a:ext uri="{FF2B5EF4-FFF2-40B4-BE49-F238E27FC236}">
                <a16:creationId xmlns:a16="http://schemas.microsoft.com/office/drawing/2014/main" id="{99F6CE9D-3F6A-47DF-9D69-12662E392A4B}"/>
              </a:ext>
            </a:extLst>
          </p:cNvPr>
          <p:cNvSpPr>
            <a:spLocks noGrp="1"/>
          </p:cNvSpPr>
          <p:nvPr>
            <p:ph type="body" sz="quarter" idx="19" hasCustomPrompt="1"/>
          </p:nvPr>
        </p:nvSpPr>
        <p:spPr>
          <a:xfrm>
            <a:off x="3934156" y="1282945"/>
            <a:ext cx="3511678" cy="264730"/>
          </a:xfrm>
          <a:prstGeom prst="rect">
            <a:avLst/>
          </a:prstGeom>
        </p:spPr>
        <p:txBody>
          <a:bodyPr/>
          <a:lstStyle>
            <a:lvl1pPr marL="0" indent="0">
              <a:buNone/>
              <a:defRPr sz="1400">
                <a:latin typeface="M05 Text Office Bold" panose="020B0804040000000004" pitchFamily="34" charset="0"/>
              </a:defRPr>
            </a:lvl1pPr>
          </a:lstStyle>
          <a:p>
            <a:pPr lvl="0"/>
            <a:r>
              <a:rPr lang="de-DE"/>
              <a:t>Überschrift</a:t>
            </a:r>
          </a:p>
        </p:txBody>
      </p:sp>
      <p:sp>
        <p:nvSpPr>
          <p:cNvPr id="53" name="Rechteck: eine Ecke abgeschnitten 52">
            <a:extLst>
              <a:ext uri="{FF2B5EF4-FFF2-40B4-BE49-F238E27FC236}">
                <a16:creationId xmlns:a16="http://schemas.microsoft.com/office/drawing/2014/main" id="{D96ED242-DA6B-4124-B93C-C9BAB30A530C}"/>
              </a:ext>
            </a:extLst>
          </p:cNvPr>
          <p:cNvSpPr/>
          <p:nvPr userDrawn="1"/>
        </p:nvSpPr>
        <p:spPr>
          <a:xfrm flipV="1">
            <a:off x="329541" y="3867989"/>
            <a:ext cx="3512366" cy="277198"/>
          </a:xfrm>
          <a:prstGeom prst="snip1Rect">
            <a:avLst>
              <a:gd name="adj" fmla="val 35199"/>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platzhalter 12">
            <a:extLst>
              <a:ext uri="{FF2B5EF4-FFF2-40B4-BE49-F238E27FC236}">
                <a16:creationId xmlns:a16="http://schemas.microsoft.com/office/drawing/2014/main" id="{4234A86E-E8FB-4C33-8359-5CFE2120CB79}"/>
              </a:ext>
            </a:extLst>
          </p:cNvPr>
          <p:cNvSpPr txBox="1">
            <a:spLocks/>
          </p:cNvSpPr>
          <p:nvPr userDrawn="1"/>
        </p:nvSpPr>
        <p:spPr>
          <a:xfrm>
            <a:off x="329544" y="3841067"/>
            <a:ext cx="2897942" cy="365125"/>
          </a:xfrm>
          <a:prstGeom prst="rect">
            <a:avLst/>
          </a:prstGeom>
        </p:spPr>
        <p:txBody>
          <a:bodyPr/>
          <a:lst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1400" b="1">
              <a:latin typeface="M05 Text Office" panose="020B0504040000000004" pitchFamily="34" charset="0"/>
            </a:endParaRPr>
          </a:p>
        </p:txBody>
      </p:sp>
      <p:sp>
        <p:nvSpPr>
          <p:cNvPr id="55" name="Bildplatzhalter 29">
            <a:extLst>
              <a:ext uri="{FF2B5EF4-FFF2-40B4-BE49-F238E27FC236}">
                <a16:creationId xmlns:a16="http://schemas.microsoft.com/office/drawing/2014/main" id="{35C07CDB-E242-4B97-94F2-10AD5EA40002}"/>
              </a:ext>
            </a:extLst>
          </p:cNvPr>
          <p:cNvSpPr>
            <a:spLocks noGrp="1"/>
          </p:cNvSpPr>
          <p:nvPr>
            <p:ph type="pic" sz="quarter" idx="20"/>
          </p:nvPr>
        </p:nvSpPr>
        <p:spPr>
          <a:xfrm>
            <a:off x="330199" y="4222840"/>
            <a:ext cx="3511678" cy="2111375"/>
          </a:xfrm>
          <a:prstGeom prst="rect">
            <a:avLst/>
          </a:prstGeom>
          <a:solidFill>
            <a:schemeClr val="accent2"/>
          </a:solidFill>
        </p:spPr>
        <p:txBody>
          <a:bodyPr/>
          <a:lstStyle/>
          <a:p>
            <a:endParaRPr lang="de-DE"/>
          </a:p>
        </p:txBody>
      </p:sp>
      <p:sp>
        <p:nvSpPr>
          <p:cNvPr id="56" name="Textplatzhalter 31">
            <a:extLst>
              <a:ext uri="{FF2B5EF4-FFF2-40B4-BE49-F238E27FC236}">
                <a16:creationId xmlns:a16="http://schemas.microsoft.com/office/drawing/2014/main" id="{4001D951-435A-4647-908B-44AAA59871D3}"/>
              </a:ext>
            </a:extLst>
          </p:cNvPr>
          <p:cNvSpPr>
            <a:spLocks noGrp="1"/>
          </p:cNvSpPr>
          <p:nvPr>
            <p:ph type="body" sz="quarter" idx="21" hasCustomPrompt="1"/>
          </p:nvPr>
        </p:nvSpPr>
        <p:spPr>
          <a:xfrm>
            <a:off x="329541" y="3870184"/>
            <a:ext cx="3511678" cy="264730"/>
          </a:xfrm>
          <a:prstGeom prst="rect">
            <a:avLst/>
          </a:prstGeom>
        </p:spPr>
        <p:txBody>
          <a:bodyPr/>
          <a:lstStyle>
            <a:lvl1pPr marL="0" indent="0">
              <a:buNone/>
              <a:defRPr sz="1400">
                <a:latin typeface="M05 Text Office Bold" panose="020B0804040000000004" pitchFamily="34" charset="0"/>
              </a:defRPr>
            </a:lvl1pPr>
          </a:lstStyle>
          <a:p>
            <a:pPr lvl="0"/>
            <a:r>
              <a:rPr lang="de-DE"/>
              <a:t>Überschrift</a:t>
            </a:r>
          </a:p>
        </p:txBody>
      </p:sp>
      <p:sp>
        <p:nvSpPr>
          <p:cNvPr id="57" name="Rechteck: eine Ecke abgeschnitten 56">
            <a:extLst>
              <a:ext uri="{FF2B5EF4-FFF2-40B4-BE49-F238E27FC236}">
                <a16:creationId xmlns:a16="http://schemas.microsoft.com/office/drawing/2014/main" id="{CEC92DBF-53CF-49CD-A23E-1C18327C74A3}"/>
              </a:ext>
            </a:extLst>
          </p:cNvPr>
          <p:cNvSpPr/>
          <p:nvPr userDrawn="1"/>
        </p:nvSpPr>
        <p:spPr>
          <a:xfrm flipV="1">
            <a:off x="7552421" y="3862218"/>
            <a:ext cx="3512366" cy="277198"/>
          </a:xfrm>
          <a:prstGeom prst="snip1Rect">
            <a:avLst>
              <a:gd name="adj" fmla="val 35199"/>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Textplatzhalter 12">
            <a:extLst>
              <a:ext uri="{FF2B5EF4-FFF2-40B4-BE49-F238E27FC236}">
                <a16:creationId xmlns:a16="http://schemas.microsoft.com/office/drawing/2014/main" id="{3ABE1CDC-58AF-450A-BA82-06C48A30C498}"/>
              </a:ext>
            </a:extLst>
          </p:cNvPr>
          <p:cNvSpPr txBox="1">
            <a:spLocks/>
          </p:cNvSpPr>
          <p:nvPr userDrawn="1"/>
        </p:nvSpPr>
        <p:spPr>
          <a:xfrm>
            <a:off x="7552424" y="3845570"/>
            <a:ext cx="2897942" cy="365125"/>
          </a:xfrm>
          <a:prstGeom prst="rect">
            <a:avLst/>
          </a:prstGeom>
        </p:spPr>
        <p:txBody>
          <a:bodyPr/>
          <a:lst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1400" b="1">
              <a:latin typeface="M05 Text Office" panose="020B0504040000000004" pitchFamily="34" charset="0"/>
            </a:endParaRPr>
          </a:p>
        </p:txBody>
      </p:sp>
      <p:sp>
        <p:nvSpPr>
          <p:cNvPr id="59" name="Bildplatzhalter 29">
            <a:extLst>
              <a:ext uri="{FF2B5EF4-FFF2-40B4-BE49-F238E27FC236}">
                <a16:creationId xmlns:a16="http://schemas.microsoft.com/office/drawing/2014/main" id="{F0644854-8895-445F-B097-1CC17E3A4A3E}"/>
              </a:ext>
            </a:extLst>
          </p:cNvPr>
          <p:cNvSpPr>
            <a:spLocks noGrp="1"/>
          </p:cNvSpPr>
          <p:nvPr>
            <p:ph type="pic" sz="quarter" idx="22"/>
          </p:nvPr>
        </p:nvSpPr>
        <p:spPr>
          <a:xfrm>
            <a:off x="7553079" y="4227343"/>
            <a:ext cx="3511678" cy="2111375"/>
          </a:xfrm>
          <a:prstGeom prst="rect">
            <a:avLst/>
          </a:prstGeom>
          <a:solidFill>
            <a:schemeClr val="accent2"/>
          </a:solidFill>
        </p:spPr>
        <p:txBody>
          <a:bodyPr/>
          <a:lstStyle/>
          <a:p>
            <a:endParaRPr lang="de-DE"/>
          </a:p>
        </p:txBody>
      </p:sp>
      <p:sp>
        <p:nvSpPr>
          <p:cNvPr id="60" name="Textplatzhalter 31">
            <a:extLst>
              <a:ext uri="{FF2B5EF4-FFF2-40B4-BE49-F238E27FC236}">
                <a16:creationId xmlns:a16="http://schemas.microsoft.com/office/drawing/2014/main" id="{5FA53000-BEA3-41D3-A2ED-BA853F3D2203}"/>
              </a:ext>
            </a:extLst>
          </p:cNvPr>
          <p:cNvSpPr>
            <a:spLocks noGrp="1"/>
          </p:cNvSpPr>
          <p:nvPr>
            <p:ph type="body" sz="quarter" idx="23" hasCustomPrompt="1"/>
          </p:nvPr>
        </p:nvSpPr>
        <p:spPr>
          <a:xfrm>
            <a:off x="7552421" y="3874687"/>
            <a:ext cx="3511678" cy="264730"/>
          </a:xfrm>
          <a:prstGeom prst="rect">
            <a:avLst/>
          </a:prstGeom>
        </p:spPr>
        <p:txBody>
          <a:bodyPr/>
          <a:lstStyle>
            <a:lvl1pPr marL="0" indent="0">
              <a:buNone/>
              <a:defRPr sz="1400">
                <a:latin typeface="M05 Text Office Bold" panose="020B0804040000000004" pitchFamily="34" charset="0"/>
              </a:defRPr>
            </a:lvl1pPr>
          </a:lstStyle>
          <a:p>
            <a:pPr lvl="0"/>
            <a:r>
              <a:rPr lang="de-DE"/>
              <a:t>Überschrift</a:t>
            </a:r>
          </a:p>
        </p:txBody>
      </p:sp>
      <p:sp>
        <p:nvSpPr>
          <p:cNvPr id="61" name="Rechteck: eine Ecke abgeschnitten 60">
            <a:extLst>
              <a:ext uri="{FF2B5EF4-FFF2-40B4-BE49-F238E27FC236}">
                <a16:creationId xmlns:a16="http://schemas.microsoft.com/office/drawing/2014/main" id="{ED9E8BE3-EC1F-42A1-B910-7CA379FC99AA}"/>
              </a:ext>
            </a:extLst>
          </p:cNvPr>
          <p:cNvSpPr/>
          <p:nvPr userDrawn="1"/>
        </p:nvSpPr>
        <p:spPr>
          <a:xfrm flipV="1">
            <a:off x="3934156" y="3847878"/>
            <a:ext cx="3512366" cy="277198"/>
          </a:xfrm>
          <a:prstGeom prst="snip1Rect">
            <a:avLst>
              <a:gd name="adj" fmla="val 35199"/>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Textplatzhalter 12">
            <a:extLst>
              <a:ext uri="{FF2B5EF4-FFF2-40B4-BE49-F238E27FC236}">
                <a16:creationId xmlns:a16="http://schemas.microsoft.com/office/drawing/2014/main" id="{955E74A3-86B8-4287-9594-003BBDBE14D0}"/>
              </a:ext>
            </a:extLst>
          </p:cNvPr>
          <p:cNvSpPr txBox="1">
            <a:spLocks/>
          </p:cNvSpPr>
          <p:nvPr userDrawn="1"/>
        </p:nvSpPr>
        <p:spPr>
          <a:xfrm>
            <a:off x="3934159" y="3831230"/>
            <a:ext cx="2897942" cy="365125"/>
          </a:xfrm>
          <a:prstGeom prst="rect">
            <a:avLst/>
          </a:prstGeom>
        </p:spPr>
        <p:txBody>
          <a:bodyPr/>
          <a:lst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1400" b="1">
              <a:latin typeface="M05 Text Office" panose="020B0504040000000004" pitchFamily="34" charset="0"/>
            </a:endParaRPr>
          </a:p>
        </p:txBody>
      </p:sp>
      <p:sp>
        <p:nvSpPr>
          <p:cNvPr id="63" name="Bildplatzhalter 29">
            <a:extLst>
              <a:ext uri="{FF2B5EF4-FFF2-40B4-BE49-F238E27FC236}">
                <a16:creationId xmlns:a16="http://schemas.microsoft.com/office/drawing/2014/main" id="{2F4C3985-9705-49C6-A7F8-FB83625BAF8A}"/>
              </a:ext>
            </a:extLst>
          </p:cNvPr>
          <p:cNvSpPr>
            <a:spLocks noGrp="1"/>
          </p:cNvSpPr>
          <p:nvPr>
            <p:ph type="pic" sz="quarter" idx="24"/>
          </p:nvPr>
        </p:nvSpPr>
        <p:spPr>
          <a:xfrm>
            <a:off x="3934814" y="4213003"/>
            <a:ext cx="3511678" cy="2111375"/>
          </a:xfrm>
          <a:prstGeom prst="rect">
            <a:avLst/>
          </a:prstGeom>
          <a:solidFill>
            <a:schemeClr val="accent2"/>
          </a:solidFill>
        </p:spPr>
        <p:txBody>
          <a:bodyPr/>
          <a:lstStyle/>
          <a:p>
            <a:endParaRPr lang="de-DE"/>
          </a:p>
        </p:txBody>
      </p:sp>
      <p:sp>
        <p:nvSpPr>
          <p:cNvPr id="64" name="Textplatzhalter 31">
            <a:extLst>
              <a:ext uri="{FF2B5EF4-FFF2-40B4-BE49-F238E27FC236}">
                <a16:creationId xmlns:a16="http://schemas.microsoft.com/office/drawing/2014/main" id="{1E947B73-10BE-4CCC-8F4D-25763DCAE1BA}"/>
              </a:ext>
            </a:extLst>
          </p:cNvPr>
          <p:cNvSpPr>
            <a:spLocks noGrp="1"/>
          </p:cNvSpPr>
          <p:nvPr>
            <p:ph type="body" sz="quarter" idx="25" hasCustomPrompt="1"/>
          </p:nvPr>
        </p:nvSpPr>
        <p:spPr>
          <a:xfrm>
            <a:off x="3934156" y="3860347"/>
            <a:ext cx="3511678" cy="264730"/>
          </a:xfrm>
          <a:prstGeom prst="rect">
            <a:avLst/>
          </a:prstGeom>
        </p:spPr>
        <p:txBody>
          <a:bodyPr/>
          <a:lstStyle>
            <a:lvl1pPr marL="0" indent="0">
              <a:buNone/>
              <a:defRPr sz="1400">
                <a:latin typeface="M05 Text Office Bold" panose="020B0804040000000004" pitchFamily="34" charset="0"/>
              </a:defRPr>
            </a:lvl1pPr>
          </a:lstStyle>
          <a:p>
            <a:pPr lvl="0"/>
            <a:r>
              <a:rPr lang="de-DE"/>
              <a:t>Überschrift</a:t>
            </a:r>
          </a:p>
        </p:txBody>
      </p:sp>
    </p:spTree>
    <p:extLst>
      <p:ext uri="{BB962C8B-B14F-4D97-AF65-F5344CB8AC3E}">
        <p14:creationId xmlns:p14="http://schemas.microsoft.com/office/powerpoint/2010/main" val="18336968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8E53ED2-00CD-42A2-BD8E-F22BFE0A052F}"/>
              </a:ext>
            </a:extLst>
          </p:cNvPr>
          <p:cNvSpPr>
            <a:spLocks noGrp="1"/>
          </p:cNvSpPr>
          <p:nvPr>
            <p:ph type="sldNum" sz="quarter" idx="10"/>
          </p:nvPr>
        </p:nvSpPr>
        <p:spPr/>
        <p:txBody>
          <a:bodyPr/>
          <a:lstStyle>
            <a:lvl1pPr>
              <a:defRPr>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8" name="Textplatzhalter 7">
            <a:extLst>
              <a:ext uri="{FF2B5EF4-FFF2-40B4-BE49-F238E27FC236}">
                <a16:creationId xmlns:a16="http://schemas.microsoft.com/office/drawing/2014/main" id="{BBEFE128-1CDD-4627-AD89-96958E567B3B}"/>
              </a:ext>
            </a:extLst>
          </p:cNvPr>
          <p:cNvSpPr>
            <a:spLocks noGrp="1"/>
          </p:cNvSpPr>
          <p:nvPr>
            <p:ph type="body" sz="quarter" idx="12" hasCustomPrompt="1"/>
          </p:nvPr>
        </p:nvSpPr>
        <p:spPr>
          <a:xfrm>
            <a:off x="341758" y="2085975"/>
            <a:ext cx="864000" cy="628650"/>
          </a:xfrm>
          <a:prstGeom prst="rect">
            <a:avLst/>
          </a:prstGeom>
        </p:spPr>
        <p:txBody>
          <a:bodyPr lIns="0" rIns="0"/>
          <a:lstStyle>
            <a:lvl1pPr marL="0" indent="0" algn="l">
              <a:buNone/>
              <a:defRPr sz="4800">
                <a:latin typeface="M05 Headline Office Bold" panose="020B0804040000000001" pitchFamily="34" charset="0"/>
              </a:defRPr>
            </a:lvl1pPr>
          </a:lstStyle>
          <a:p>
            <a:pPr lvl="0"/>
            <a:r>
              <a:rPr lang="de-DE"/>
              <a:t>01</a:t>
            </a:r>
          </a:p>
        </p:txBody>
      </p:sp>
      <p:cxnSp>
        <p:nvCxnSpPr>
          <p:cNvPr id="10" name="Gerader Verbinder 9">
            <a:extLst>
              <a:ext uri="{FF2B5EF4-FFF2-40B4-BE49-F238E27FC236}">
                <a16:creationId xmlns:a16="http://schemas.microsoft.com/office/drawing/2014/main" id="{54F73629-5F7A-4FCB-8260-478E98EF18ED}"/>
              </a:ext>
            </a:extLst>
          </p:cNvPr>
          <p:cNvCxnSpPr/>
          <p:nvPr userDrawn="1"/>
        </p:nvCxnSpPr>
        <p:spPr>
          <a:xfrm>
            <a:off x="341758" y="2743200"/>
            <a:ext cx="1044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Textplatzhalter 12">
            <a:extLst>
              <a:ext uri="{FF2B5EF4-FFF2-40B4-BE49-F238E27FC236}">
                <a16:creationId xmlns:a16="http://schemas.microsoft.com/office/drawing/2014/main" id="{2BA897EA-8848-4AE8-A2B9-6C1F85E65127}"/>
              </a:ext>
            </a:extLst>
          </p:cNvPr>
          <p:cNvSpPr>
            <a:spLocks noGrp="1"/>
          </p:cNvSpPr>
          <p:nvPr>
            <p:ph type="body" sz="quarter" idx="13"/>
          </p:nvPr>
        </p:nvSpPr>
        <p:spPr>
          <a:xfrm>
            <a:off x="341758" y="2946796"/>
            <a:ext cx="2951162" cy="914400"/>
          </a:xfrm>
          <a:prstGeom prst="rect">
            <a:avLst/>
          </a:prstGeom>
        </p:spPr>
        <p:txBody>
          <a:bodyPr lIns="0" rIns="0"/>
          <a:lstStyle>
            <a:lvl1pPr marL="0" indent="0">
              <a:buNone/>
              <a:defRPr>
                <a:latin typeface="M05 Text Office" panose="020B0504040000000004" pitchFamily="34" charset="0"/>
              </a:defRPr>
            </a:lvl1pPr>
          </a:lstStyle>
          <a:p>
            <a:pPr lvl="0"/>
            <a:r>
              <a:rPr lang="de-DE"/>
              <a:t>Mastertextformat bearbeiten</a:t>
            </a:r>
          </a:p>
        </p:txBody>
      </p:sp>
      <p:sp>
        <p:nvSpPr>
          <p:cNvPr id="14" name="Textplatzhalter 7">
            <a:extLst>
              <a:ext uri="{FF2B5EF4-FFF2-40B4-BE49-F238E27FC236}">
                <a16:creationId xmlns:a16="http://schemas.microsoft.com/office/drawing/2014/main" id="{2ADF1892-EE3B-4468-BA67-103F1238B72F}"/>
              </a:ext>
            </a:extLst>
          </p:cNvPr>
          <p:cNvSpPr>
            <a:spLocks noGrp="1"/>
          </p:cNvSpPr>
          <p:nvPr>
            <p:ph type="body" sz="quarter" idx="14" hasCustomPrompt="1"/>
          </p:nvPr>
        </p:nvSpPr>
        <p:spPr>
          <a:xfrm>
            <a:off x="4323208" y="2085975"/>
            <a:ext cx="864000" cy="628650"/>
          </a:xfrm>
          <a:prstGeom prst="rect">
            <a:avLst/>
          </a:prstGeom>
        </p:spPr>
        <p:txBody>
          <a:bodyPr lIns="0" rIns="0"/>
          <a:lstStyle>
            <a:lvl1pPr marL="0" indent="0" algn="l">
              <a:buNone/>
              <a:defRPr sz="4800">
                <a:latin typeface="M05 Headline Office Bold" panose="020B0804040000000001" pitchFamily="34" charset="0"/>
              </a:defRPr>
            </a:lvl1pPr>
          </a:lstStyle>
          <a:p>
            <a:pPr lvl="0"/>
            <a:r>
              <a:rPr lang="de-DE"/>
              <a:t>02</a:t>
            </a:r>
          </a:p>
        </p:txBody>
      </p:sp>
      <p:cxnSp>
        <p:nvCxnSpPr>
          <p:cNvPr id="15" name="Gerader Verbinder 14">
            <a:extLst>
              <a:ext uri="{FF2B5EF4-FFF2-40B4-BE49-F238E27FC236}">
                <a16:creationId xmlns:a16="http://schemas.microsoft.com/office/drawing/2014/main" id="{DD777979-3C4D-4352-8558-D669C620F8F0}"/>
              </a:ext>
            </a:extLst>
          </p:cNvPr>
          <p:cNvCxnSpPr/>
          <p:nvPr userDrawn="1"/>
        </p:nvCxnSpPr>
        <p:spPr>
          <a:xfrm>
            <a:off x="4323208" y="2743200"/>
            <a:ext cx="1044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platzhalter 12">
            <a:extLst>
              <a:ext uri="{FF2B5EF4-FFF2-40B4-BE49-F238E27FC236}">
                <a16:creationId xmlns:a16="http://schemas.microsoft.com/office/drawing/2014/main" id="{B650F13A-3BA0-4ADA-B79D-A957B1499B49}"/>
              </a:ext>
            </a:extLst>
          </p:cNvPr>
          <p:cNvSpPr>
            <a:spLocks noGrp="1"/>
          </p:cNvSpPr>
          <p:nvPr>
            <p:ph type="body" sz="quarter" idx="15"/>
          </p:nvPr>
        </p:nvSpPr>
        <p:spPr>
          <a:xfrm>
            <a:off x="4323208" y="2946796"/>
            <a:ext cx="2951162" cy="914400"/>
          </a:xfrm>
          <a:prstGeom prst="rect">
            <a:avLst/>
          </a:prstGeom>
        </p:spPr>
        <p:txBody>
          <a:bodyPr lIns="0" rIns="0"/>
          <a:lstStyle>
            <a:lvl1pPr marL="0" indent="0">
              <a:buNone/>
              <a:defRPr>
                <a:latin typeface="M05 Text Office" panose="020B0504040000000004" pitchFamily="34" charset="0"/>
              </a:defRPr>
            </a:lvl1pPr>
          </a:lstStyle>
          <a:p>
            <a:pPr lvl="0"/>
            <a:r>
              <a:rPr lang="de-DE"/>
              <a:t>Mastertextformat bearbeiten</a:t>
            </a:r>
          </a:p>
        </p:txBody>
      </p:sp>
      <p:sp>
        <p:nvSpPr>
          <p:cNvPr id="17" name="Textplatzhalter 7">
            <a:extLst>
              <a:ext uri="{FF2B5EF4-FFF2-40B4-BE49-F238E27FC236}">
                <a16:creationId xmlns:a16="http://schemas.microsoft.com/office/drawing/2014/main" id="{F51A2617-6024-4B28-B6E7-9FE1183B8582}"/>
              </a:ext>
            </a:extLst>
          </p:cNvPr>
          <p:cNvSpPr>
            <a:spLocks noGrp="1"/>
          </p:cNvSpPr>
          <p:nvPr>
            <p:ph type="body" sz="quarter" idx="16" hasCustomPrompt="1"/>
          </p:nvPr>
        </p:nvSpPr>
        <p:spPr>
          <a:xfrm>
            <a:off x="8304658" y="2085975"/>
            <a:ext cx="864000" cy="628650"/>
          </a:xfrm>
          <a:prstGeom prst="rect">
            <a:avLst/>
          </a:prstGeom>
        </p:spPr>
        <p:txBody>
          <a:bodyPr lIns="0" rIns="0"/>
          <a:lstStyle>
            <a:lvl1pPr marL="0" indent="0" algn="l">
              <a:buNone/>
              <a:defRPr sz="4800">
                <a:latin typeface="M05 Headline Office Bold" panose="020B0804040000000001" pitchFamily="34" charset="0"/>
              </a:defRPr>
            </a:lvl1pPr>
          </a:lstStyle>
          <a:p>
            <a:pPr lvl="0"/>
            <a:r>
              <a:rPr lang="de-DE"/>
              <a:t>03</a:t>
            </a:r>
          </a:p>
        </p:txBody>
      </p:sp>
      <p:cxnSp>
        <p:nvCxnSpPr>
          <p:cNvPr id="18" name="Gerader Verbinder 17">
            <a:extLst>
              <a:ext uri="{FF2B5EF4-FFF2-40B4-BE49-F238E27FC236}">
                <a16:creationId xmlns:a16="http://schemas.microsoft.com/office/drawing/2014/main" id="{A366D583-D43C-45CF-9CAA-3842B66E55C2}"/>
              </a:ext>
            </a:extLst>
          </p:cNvPr>
          <p:cNvCxnSpPr/>
          <p:nvPr userDrawn="1"/>
        </p:nvCxnSpPr>
        <p:spPr>
          <a:xfrm>
            <a:off x="8304658" y="2743200"/>
            <a:ext cx="1044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platzhalter 12">
            <a:extLst>
              <a:ext uri="{FF2B5EF4-FFF2-40B4-BE49-F238E27FC236}">
                <a16:creationId xmlns:a16="http://schemas.microsoft.com/office/drawing/2014/main" id="{0ACB5EE8-49D1-4C88-AEC7-60B29307D2D0}"/>
              </a:ext>
            </a:extLst>
          </p:cNvPr>
          <p:cNvSpPr>
            <a:spLocks noGrp="1"/>
          </p:cNvSpPr>
          <p:nvPr>
            <p:ph type="body" sz="quarter" idx="17"/>
          </p:nvPr>
        </p:nvSpPr>
        <p:spPr>
          <a:xfrm>
            <a:off x="8304658" y="2946796"/>
            <a:ext cx="2951162" cy="914400"/>
          </a:xfrm>
          <a:prstGeom prst="rect">
            <a:avLst/>
          </a:prstGeom>
        </p:spPr>
        <p:txBody>
          <a:bodyPr lIns="0" rIns="0"/>
          <a:lstStyle>
            <a:lvl1pPr marL="0" indent="0">
              <a:buNone/>
              <a:defRPr>
                <a:latin typeface="M05 Text Office" panose="020B0504040000000004" pitchFamily="34" charset="0"/>
              </a:defRPr>
            </a:lvl1pPr>
          </a:lstStyle>
          <a:p>
            <a:pPr lvl="0"/>
            <a:r>
              <a:rPr lang="de-DE"/>
              <a:t>Mastertextformat bearbeiten</a:t>
            </a:r>
          </a:p>
        </p:txBody>
      </p:sp>
      <p:sp>
        <p:nvSpPr>
          <p:cNvPr id="20" name="Textplatzhalter 7">
            <a:extLst>
              <a:ext uri="{FF2B5EF4-FFF2-40B4-BE49-F238E27FC236}">
                <a16:creationId xmlns:a16="http://schemas.microsoft.com/office/drawing/2014/main" id="{4A626A33-7310-41B9-ABDB-685F27625DF1}"/>
              </a:ext>
            </a:extLst>
          </p:cNvPr>
          <p:cNvSpPr>
            <a:spLocks noGrp="1"/>
          </p:cNvSpPr>
          <p:nvPr>
            <p:ph type="body" sz="quarter" idx="18" hasCustomPrompt="1"/>
          </p:nvPr>
        </p:nvSpPr>
        <p:spPr>
          <a:xfrm>
            <a:off x="341758" y="4362054"/>
            <a:ext cx="864000" cy="628650"/>
          </a:xfrm>
          <a:prstGeom prst="rect">
            <a:avLst/>
          </a:prstGeom>
        </p:spPr>
        <p:txBody>
          <a:bodyPr lIns="0" rIns="0"/>
          <a:lstStyle>
            <a:lvl1pPr marL="0" indent="0" algn="l">
              <a:buNone/>
              <a:defRPr sz="4800">
                <a:latin typeface="M05 Headline Office Bold" panose="020B0804040000000001" pitchFamily="34" charset="0"/>
              </a:defRPr>
            </a:lvl1pPr>
          </a:lstStyle>
          <a:p>
            <a:pPr lvl="0"/>
            <a:r>
              <a:rPr lang="de-DE"/>
              <a:t>04</a:t>
            </a:r>
          </a:p>
        </p:txBody>
      </p:sp>
      <p:cxnSp>
        <p:nvCxnSpPr>
          <p:cNvPr id="21" name="Gerader Verbinder 20">
            <a:extLst>
              <a:ext uri="{FF2B5EF4-FFF2-40B4-BE49-F238E27FC236}">
                <a16:creationId xmlns:a16="http://schemas.microsoft.com/office/drawing/2014/main" id="{19E26AC8-8D09-4929-AA75-4F3589B35308}"/>
              </a:ext>
            </a:extLst>
          </p:cNvPr>
          <p:cNvCxnSpPr/>
          <p:nvPr userDrawn="1"/>
        </p:nvCxnSpPr>
        <p:spPr>
          <a:xfrm>
            <a:off x="341758" y="5019279"/>
            <a:ext cx="1044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Textplatzhalter 12">
            <a:extLst>
              <a:ext uri="{FF2B5EF4-FFF2-40B4-BE49-F238E27FC236}">
                <a16:creationId xmlns:a16="http://schemas.microsoft.com/office/drawing/2014/main" id="{FEC358A4-567C-43EB-9D57-CEAE3FD48D40}"/>
              </a:ext>
            </a:extLst>
          </p:cNvPr>
          <p:cNvSpPr>
            <a:spLocks noGrp="1"/>
          </p:cNvSpPr>
          <p:nvPr>
            <p:ph type="body" sz="quarter" idx="19"/>
          </p:nvPr>
        </p:nvSpPr>
        <p:spPr>
          <a:xfrm>
            <a:off x="341758" y="5222875"/>
            <a:ext cx="2951162" cy="914400"/>
          </a:xfrm>
          <a:prstGeom prst="rect">
            <a:avLst/>
          </a:prstGeom>
        </p:spPr>
        <p:txBody>
          <a:bodyPr lIns="0" rIns="0"/>
          <a:lstStyle>
            <a:lvl1pPr marL="0" indent="0">
              <a:buNone/>
              <a:defRPr>
                <a:latin typeface="M05 Text Office" panose="020B0504040000000004" pitchFamily="34" charset="0"/>
              </a:defRPr>
            </a:lvl1pPr>
          </a:lstStyle>
          <a:p>
            <a:pPr lvl="0"/>
            <a:r>
              <a:rPr lang="de-DE"/>
              <a:t>Mastertextformat bearbeiten</a:t>
            </a:r>
          </a:p>
        </p:txBody>
      </p:sp>
      <p:sp>
        <p:nvSpPr>
          <p:cNvPr id="23" name="Textplatzhalter 7">
            <a:extLst>
              <a:ext uri="{FF2B5EF4-FFF2-40B4-BE49-F238E27FC236}">
                <a16:creationId xmlns:a16="http://schemas.microsoft.com/office/drawing/2014/main" id="{D2023E98-E7B0-4F24-A9AD-3023F30A1F31}"/>
              </a:ext>
            </a:extLst>
          </p:cNvPr>
          <p:cNvSpPr>
            <a:spLocks noGrp="1"/>
          </p:cNvSpPr>
          <p:nvPr>
            <p:ph type="body" sz="quarter" idx="20" hasCustomPrompt="1"/>
          </p:nvPr>
        </p:nvSpPr>
        <p:spPr>
          <a:xfrm>
            <a:off x="4323208" y="4362054"/>
            <a:ext cx="864000" cy="628650"/>
          </a:xfrm>
          <a:prstGeom prst="rect">
            <a:avLst/>
          </a:prstGeom>
        </p:spPr>
        <p:txBody>
          <a:bodyPr lIns="0" rIns="0"/>
          <a:lstStyle>
            <a:lvl1pPr marL="0" indent="0" algn="l">
              <a:buNone/>
              <a:defRPr sz="4800">
                <a:latin typeface="M05 Headline Office Bold" panose="020B0804040000000001" pitchFamily="34" charset="0"/>
              </a:defRPr>
            </a:lvl1pPr>
          </a:lstStyle>
          <a:p>
            <a:pPr lvl="0"/>
            <a:r>
              <a:rPr lang="de-DE"/>
              <a:t>05</a:t>
            </a:r>
          </a:p>
        </p:txBody>
      </p:sp>
      <p:cxnSp>
        <p:nvCxnSpPr>
          <p:cNvPr id="24" name="Gerader Verbinder 23">
            <a:extLst>
              <a:ext uri="{FF2B5EF4-FFF2-40B4-BE49-F238E27FC236}">
                <a16:creationId xmlns:a16="http://schemas.microsoft.com/office/drawing/2014/main" id="{725033EF-A6D1-43C2-A68E-A8C1223CA25B}"/>
              </a:ext>
            </a:extLst>
          </p:cNvPr>
          <p:cNvCxnSpPr/>
          <p:nvPr userDrawn="1"/>
        </p:nvCxnSpPr>
        <p:spPr>
          <a:xfrm>
            <a:off x="4323208" y="5019279"/>
            <a:ext cx="1044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extplatzhalter 12">
            <a:extLst>
              <a:ext uri="{FF2B5EF4-FFF2-40B4-BE49-F238E27FC236}">
                <a16:creationId xmlns:a16="http://schemas.microsoft.com/office/drawing/2014/main" id="{8A4BA631-8F41-4966-A638-FC9DE7184658}"/>
              </a:ext>
            </a:extLst>
          </p:cNvPr>
          <p:cNvSpPr>
            <a:spLocks noGrp="1"/>
          </p:cNvSpPr>
          <p:nvPr>
            <p:ph type="body" sz="quarter" idx="21"/>
          </p:nvPr>
        </p:nvSpPr>
        <p:spPr>
          <a:xfrm>
            <a:off x="4323208" y="5222875"/>
            <a:ext cx="2951162" cy="914400"/>
          </a:xfrm>
          <a:prstGeom prst="rect">
            <a:avLst/>
          </a:prstGeom>
        </p:spPr>
        <p:txBody>
          <a:bodyPr lIns="0" rIns="0"/>
          <a:lstStyle>
            <a:lvl1pPr marL="0" indent="0">
              <a:buNone/>
              <a:defRPr>
                <a:latin typeface="M05 Text Office" panose="020B0504040000000004" pitchFamily="34" charset="0"/>
              </a:defRPr>
            </a:lvl1pPr>
          </a:lstStyle>
          <a:p>
            <a:pPr lvl="0"/>
            <a:r>
              <a:rPr lang="de-DE"/>
              <a:t>Mastertextformat bearbeiten</a:t>
            </a:r>
          </a:p>
        </p:txBody>
      </p:sp>
      <p:sp>
        <p:nvSpPr>
          <p:cNvPr id="26" name="Textplatzhalter 7">
            <a:extLst>
              <a:ext uri="{FF2B5EF4-FFF2-40B4-BE49-F238E27FC236}">
                <a16:creationId xmlns:a16="http://schemas.microsoft.com/office/drawing/2014/main" id="{F30742DC-5BDD-4E64-B222-471DE4A481A8}"/>
              </a:ext>
            </a:extLst>
          </p:cNvPr>
          <p:cNvSpPr>
            <a:spLocks noGrp="1"/>
          </p:cNvSpPr>
          <p:nvPr>
            <p:ph type="body" sz="quarter" idx="22" hasCustomPrompt="1"/>
          </p:nvPr>
        </p:nvSpPr>
        <p:spPr>
          <a:xfrm>
            <a:off x="8304658" y="4362054"/>
            <a:ext cx="864000" cy="628650"/>
          </a:xfrm>
          <a:prstGeom prst="rect">
            <a:avLst/>
          </a:prstGeom>
        </p:spPr>
        <p:txBody>
          <a:bodyPr lIns="0" rIns="0"/>
          <a:lstStyle>
            <a:lvl1pPr marL="0" indent="0" algn="l">
              <a:buNone/>
              <a:defRPr sz="4800">
                <a:latin typeface="M05 Headline Office Bold" panose="020B0804040000000001" pitchFamily="34" charset="0"/>
              </a:defRPr>
            </a:lvl1pPr>
          </a:lstStyle>
          <a:p>
            <a:pPr lvl="0"/>
            <a:r>
              <a:rPr lang="de-DE"/>
              <a:t>06</a:t>
            </a:r>
          </a:p>
        </p:txBody>
      </p:sp>
      <p:cxnSp>
        <p:nvCxnSpPr>
          <p:cNvPr id="27" name="Gerader Verbinder 26">
            <a:extLst>
              <a:ext uri="{FF2B5EF4-FFF2-40B4-BE49-F238E27FC236}">
                <a16:creationId xmlns:a16="http://schemas.microsoft.com/office/drawing/2014/main" id="{1D157B54-4F5A-401E-B282-345B9CAFB226}"/>
              </a:ext>
            </a:extLst>
          </p:cNvPr>
          <p:cNvCxnSpPr/>
          <p:nvPr userDrawn="1"/>
        </p:nvCxnSpPr>
        <p:spPr>
          <a:xfrm>
            <a:off x="8304658" y="5019279"/>
            <a:ext cx="1044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8" name="Textplatzhalter 12">
            <a:extLst>
              <a:ext uri="{FF2B5EF4-FFF2-40B4-BE49-F238E27FC236}">
                <a16:creationId xmlns:a16="http://schemas.microsoft.com/office/drawing/2014/main" id="{3667D43E-FE24-4541-9DC1-2F0C255AAF91}"/>
              </a:ext>
            </a:extLst>
          </p:cNvPr>
          <p:cNvSpPr>
            <a:spLocks noGrp="1"/>
          </p:cNvSpPr>
          <p:nvPr>
            <p:ph type="body" sz="quarter" idx="23"/>
          </p:nvPr>
        </p:nvSpPr>
        <p:spPr>
          <a:xfrm>
            <a:off x="8304658" y="5222875"/>
            <a:ext cx="2951162" cy="914400"/>
          </a:xfrm>
          <a:prstGeom prst="rect">
            <a:avLst/>
          </a:prstGeom>
        </p:spPr>
        <p:txBody>
          <a:bodyPr lIns="0" rIns="0"/>
          <a:lstStyle>
            <a:lvl1pPr marL="0" indent="0">
              <a:buNone/>
              <a:defRPr>
                <a:latin typeface="M05 Text Office" panose="020B0504040000000004" pitchFamily="34" charset="0"/>
              </a:defRPr>
            </a:lvl1pPr>
          </a:lstStyle>
          <a:p>
            <a:pPr lvl="0"/>
            <a:r>
              <a:rPr lang="de-DE"/>
              <a:t>Mastertextformat bearbeiten</a:t>
            </a:r>
          </a:p>
        </p:txBody>
      </p:sp>
      <p:sp>
        <p:nvSpPr>
          <p:cNvPr id="5" name="Titel 4">
            <a:extLst>
              <a:ext uri="{FF2B5EF4-FFF2-40B4-BE49-F238E27FC236}">
                <a16:creationId xmlns:a16="http://schemas.microsoft.com/office/drawing/2014/main" id="{96C13AC2-06DE-48FB-AD43-483D410CFBDF}"/>
              </a:ext>
            </a:extLst>
          </p:cNvPr>
          <p:cNvSpPr>
            <a:spLocks noGrp="1"/>
          </p:cNvSpPr>
          <p:nvPr>
            <p:ph type="title" hasCustomPrompt="1"/>
          </p:nvPr>
        </p:nvSpPr>
        <p:spPr/>
        <p:txBody>
          <a:bodyPr/>
          <a:lstStyle>
            <a:lvl1pPr>
              <a:defRPr>
                <a:latin typeface="M05 Text Office Bold" panose="020B0804040000000004" pitchFamily="34" charset="0"/>
              </a:defRPr>
            </a:lvl1pPr>
          </a:lstStyle>
          <a:p>
            <a:r>
              <a:rPr lang="de-DE"/>
              <a:t>AGENDA</a:t>
            </a:r>
          </a:p>
        </p:txBody>
      </p:sp>
    </p:spTree>
    <p:extLst>
      <p:ext uri="{BB962C8B-B14F-4D97-AF65-F5344CB8AC3E}">
        <p14:creationId xmlns:p14="http://schemas.microsoft.com/office/powerpoint/2010/main" val="37702366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o mit Headline">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837B619-2E58-4615-80C2-74DEBBD98F0C}"/>
              </a:ext>
            </a:extLst>
          </p:cNvPr>
          <p:cNvSpPr>
            <a:spLocks noGrp="1"/>
          </p:cNvSpPr>
          <p:nvPr>
            <p:ph type="sldNum" sz="quarter" idx="10"/>
          </p:nvPr>
        </p:nvSpPr>
        <p:spPr/>
        <p:txBody>
          <a:bodyPr/>
          <a:lstStyle>
            <a:lvl1pPr>
              <a:defRPr>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5" name="Titel 4">
            <a:extLst>
              <a:ext uri="{FF2B5EF4-FFF2-40B4-BE49-F238E27FC236}">
                <a16:creationId xmlns:a16="http://schemas.microsoft.com/office/drawing/2014/main" id="{0B4C79B8-5C2A-4F38-93C9-C1C4B52AA84E}"/>
              </a:ext>
            </a:extLst>
          </p:cNvPr>
          <p:cNvSpPr>
            <a:spLocks noGrp="1"/>
          </p:cNvSpPr>
          <p:nvPr>
            <p:ph type="title" hasCustomPrompt="1"/>
          </p:nvPr>
        </p:nvSpPr>
        <p:spPr/>
        <p:txBody>
          <a:bodyPr/>
          <a:lstStyle>
            <a:lvl1pPr>
              <a:defRPr>
                <a:latin typeface="M05 Text Office Bold" panose="020B0804040000000004" pitchFamily="34" charset="0"/>
              </a:defRPr>
            </a:lvl1pPr>
          </a:lstStyle>
          <a:p>
            <a:r>
              <a:rPr lang="de-DE"/>
              <a:t>MASTERTITELFORMAT BEARBEITEN</a:t>
            </a:r>
          </a:p>
        </p:txBody>
      </p:sp>
    </p:spTree>
    <p:extLst>
      <p:ext uri="{BB962C8B-B14F-4D97-AF65-F5344CB8AC3E}">
        <p14:creationId xmlns:p14="http://schemas.microsoft.com/office/powerpoint/2010/main" val="5366175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rennchart Rot">
    <p:spTree>
      <p:nvGrpSpPr>
        <p:cNvPr id="1" name=""/>
        <p:cNvGrpSpPr/>
        <p:nvPr/>
      </p:nvGrpSpPr>
      <p:grpSpPr>
        <a:xfrm>
          <a:off x="0" y="0"/>
          <a:ext cx="0" cy="0"/>
          <a:chOff x="0" y="0"/>
          <a:chExt cx="0" cy="0"/>
        </a:xfrm>
      </p:grpSpPr>
      <p:pic>
        <p:nvPicPr>
          <p:cNvPr id="1027" name="65C4E809-78E4-4D71-888B-E39568BAFB12" descr="F1CD90D9-92FD-4BB8-B51B-BDBCAD1A6E13@fritz">
            <a:extLst>
              <a:ext uri="{FF2B5EF4-FFF2-40B4-BE49-F238E27FC236}">
                <a16:creationId xmlns:a16="http://schemas.microsoft.com/office/drawing/2014/main" id="{6F9F6135-3997-4E64-AF4F-8DBB0D1119B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platzhalter 5">
            <a:extLst>
              <a:ext uri="{FF2B5EF4-FFF2-40B4-BE49-F238E27FC236}">
                <a16:creationId xmlns:a16="http://schemas.microsoft.com/office/drawing/2014/main" id="{74F1B272-1873-4E85-A802-37E279402CA1}"/>
              </a:ext>
            </a:extLst>
          </p:cNvPr>
          <p:cNvSpPr>
            <a:spLocks noGrp="1"/>
          </p:cNvSpPr>
          <p:nvPr>
            <p:ph type="body" sz="quarter" idx="10" hasCustomPrompt="1"/>
          </p:nvPr>
        </p:nvSpPr>
        <p:spPr>
          <a:xfrm>
            <a:off x="515938" y="1881187"/>
            <a:ext cx="9428162" cy="3405187"/>
          </a:xfrm>
          <a:prstGeom prst="rect">
            <a:avLst/>
          </a:prstGeom>
        </p:spPr>
        <p:txBody>
          <a:bodyPr/>
          <a:lstStyle>
            <a:lvl1pPr marL="0" indent="0">
              <a:buNone/>
              <a:defRPr sz="4800" b="1" cap="all" baseline="0">
                <a:solidFill>
                  <a:schemeClr val="bg1"/>
                </a:solidFill>
                <a:latin typeface="M05 Text Office Bold" panose="020B0804040000000004" pitchFamily="34" charset="0"/>
              </a:defRPr>
            </a:lvl1pPr>
          </a:lstStyle>
          <a:p>
            <a:pPr lvl="0"/>
            <a:r>
              <a:rPr lang="de-DE"/>
              <a:t>TRENNCHART M05 </a:t>
            </a:r>
            <a:r>
              <a:rPr lang="de-DE" err="1"/>
              <a:t>text</a:t>
            </a:r>
            <a:r>
              <a:rPr lang="de-DE"/>
              <a:t> bold 48 pt – reines textchart mit kernaussage zur </a:t>
            </a:r>
            <a:r>
              <a:rPr lang="de-DE" err="1"/>
              <a:t>überleitung</a:t>
            </a:r>
            <a:r>
              <a:rPr lang="de-DE"/>
              <a:t> auf das nächste </a:t>
            </a:r>
            <a:r>
              <a:rPr lang="de-DE" err="1"/>
              <a:t>kapitel</a:t>
            </a:r>
            <a:endParaRPr lang="de-DE"/>
          </a:p>
        </p:txBody>
      </p:sp>
    </p:spTree>
    <p:extLst>
      <p:ext uri="{BB962C8B-B14F-4D97-AF65-F5344CB8AC3E}">
        <p14:creationId xmlns:p14="http://schemas.microsoft.com/office/powerpoint/2010/main" val="30904053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o mit Headline und Sach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Tree>
    <p:extLst>
      <p:ext uri="{BB962C8B-B14F-4D97-AF65-F5344CB8AC3E}">
        <p14:creationId xmlns:p14="http://schemas.microsoft.com/office/powerpoint/2010/main" val="22731128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mit Headline und Sach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7C015474-0E64-4F21-AE44-E9FC07042380}"/>
              </a:ext>
            </a:extLst>
          </p:cNvPr>
          <p:cNvSpPr>
            <a:spLocks noGrp="1"/>
          </p:cNvSpPr>
          <p:nvPr>
            <p:ph type="body" sz="quarter" idx="13" hasCustomPrompt="1"/>
          </p:nvPr>
        </p:nvSpPr>
        <p:spPr>
          <a:xfrm>
            <a:off x="330201" y="1881188"/>
            <a:ext cx="10734674" cy="4427537"/>
          </a:xfrm>
          <a:prstGeom prst="rect">
            <a:avLst/>
          </a:prstGeom>
        </p:spPr>
        <p:txBody>
          <a:bodyPr/>
          <a:lstStyle>
            <a:lvl1pPr>
              <a:defRPr sz="1800">
                <a:latin typeface="M05 Text Office" panose="020B0504040000000004" pitchFamily="34" charset="0"/>
              </a:defRPr>
            </a:lvl1pPr>
            <a:lvl2pPr>
              <a:defRPr sz="1600">
                <a:latin typeface="M05 Text Office" panose="020B0504040000000004" pitchFamily="34" charset="0"/>
              </a:defRPr>
            </a:lvl2pPr>
            <a:lvl3pPr>
              <a:defRPr sz="1400">
                <a:latin typeface="M05 Text Office" panose="020B0504040000000004" pitchFamily="34" charset="0"/>
              </a:defRPr>
            </a:lvl3pPr>
            <a:lvl4pPr>
              <a:defRPr sz="1200">
                <a:latin typeface="M05 Text Office" panose="020B0504040000000004" pitchFamily="34" charset="0"/>
              </a:defRPr>
            </a:lvl4pPr>
            <a:lvl5pPr>
              <a:defRPr sz="1200">
                <a:latin typeface="M05 Text Office" panose="020B0504040000000004" pitchFamily="34" charset="0"/>
              </a:defRPr>
            </a:lvl5pPr>
          </a:lstStyle>
          <a:p>
            <a:pPr lvl="0"/>
            <a:r>
              <a:rPr lang="de-DE"/>
              <a:t>Mastertextformat bearbeiten M05 Text PT 18</a:t>
            </a:r>
          </a:p>
          <a:p>
            <a:pPr lvl="1"/>
            <a:r>
              <a:rPr lang="de-DE"/>
              <a:t>Zweite Ebene</a:t>
            </a:r>
          </a:p>
          <a:p>
            <a:pPr lvl="2"/>
            <a:r>
              <a:rPr lang="de-DE"/>
              <a:t>Dritte Ebene</a:t>
            </a:r>
          </a:p>
          <a:p>
            <a:pPr lvl="3"/>
            <a:r>
              <a:rPr lang="de-DE"/>
              <a:t>Vierte Ebene</a:t>
            </a:r>
          </a:p>
          <a:p>
            <a:pPr lvl="4"/>
            <a:r>
              <a:rPr lang="de-DE"/>
              <a:t>Fünfte Ebene</a:t>
            </a:r>
          </a:p>
        </p:txBody>
      </p:sp>
      <p:sp>
        <p:nvSpPr>
          <p:cNvPr id="2" name="Titel 1">
            <a:extLst>
              <a:ext uri="{FF2B5EF4-FFF2-40B4-BE49-F238E27FC236}">
                <a16:creationId xmlns:a16="http://schemas.microsoft.com/office/drawing/2014/main" id="{90DE505C-55C5-48CB-B218-35FCAFE20612}"/>
              </a:ext>
            </a:extLst>
          </p:cNvPr>
          <p:cNvSpPr>
            <a:spLocks noGrp="1"/>
          </p:cNvSpPr>
          <p:nvPr>
            <p:ph type="title" hasCustomPrompt="1"/>
          </p:nvPr>
        </p:nvSpPr>
        <p:spPr>
          <a:xfrm>
            <a:off x="330201" y="550151"/>
            <a:ext cx="10728000" cy="702000"/>
          </a:xfrm>
        </p:spPr>
        <p:txBody>
          <a:bodyPr/>
          <a:lstStyle>
            <a:lvl1pPr>
              <a:defRPr cap="all" baseline="0">
                <a:latin typeface="M05 Text Office Bold" panose="020B0804040000000004" pitchFamily="34" charset="0"/>
              </a:defRPr>
            </a:lvl1pPr>
          </a:lstStyle>
          <a:p>
            <a:r>
              <a:rPr lang="de-DE"/>
              <a:t>MASTERTITELFORMAT BEARBEITEN </a:t>
            </a:r>
          </a:p>
        </p:txBody>
      </p:sp>
      <p:sp>
        <p:nvSpPr>
          <p:cNvPr id="8" name="Foliennummernplatzhalter 52">
            <a:extLst>
              <a:ext uri="{FF2B5EF4-FFF2-40B4-BE49-F238E27FC236}">
                <a16:creationId xmlns:a16="http://schemas.microsoft.com/office/drawing/2014/main" id="{B06CB913-E055-46EA-A87C-3D364F23DD5F}"/>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0" name="Textplatzhalter 3">
            <a:extLst>
              <a:ext uri="{FF2B5EF4-FFF2-40B4-BE49-F238E27FC236}">
                <a16:creationId xmlns:a16="http://schemas.microsoft.com/office/drawing/2014/main" id="{5A9B508C-1111-41C5-B21B-24F7A588F801}"/>
              </a:ext>
            </a:extLst>
          </p:cNvPr>
          <p:cNvSpPr>
            <a:spLocks noGrp="1"/>
          </p:cNvSpPr>
          <p:nvPr>
            <p:ph type="body" sz="quarter" idx="14"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Tree>
    <p:extLst>
      <p:ext uri="{BB962C8B-B14F-4D97-AF65-F5344CB8AC3E}">
        <p14:creationId xmlns:p14="http://schemas.microsoft.com/office/powerpoint/2010/main" val="26324417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d mit Überschrift">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470917F-44CE-4D97-98E7-00F6C22BF846}"/>
              </a:ext>
            </a:extLst>
          </p:cNvPr>
          <p:cNvSpPr>
            <a:spLocks noGrp="1"/>
          </p:cNvSpPr>
          <p:nvPr>
            <p:ph type="sldNum" sz="quarter" idx="10"/>
          </p:nvPr>
        </p:nvSpPr>
        <p:spPr/>
        <p:txBody>
          <a:bodyPr/>
          <a:lstStyle>
            <a:lvl1pPr>
              <a:defRPr>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3" name="Bildplatzhalter 12">
            <a:extLst>
              <a:ext uri="{FF2B5EF4-FFF2-40B4-BE49-F238E27FC236}">
                <a16:creationId xmlns:a16="http://schemas.microsoft.com/office/drawing/2014/main" id="{6922D3FA-8EFF-4DC2-B570-CF09AE60435A}"/>
              </a:ext>
            </a:extLst>
          </p:cNvPr>
          <p:cNvSpPr>
            <a:spLocks noGrp="1"/>
          </p:cNvSpPr>
          <p:nvPr>
            <p:ph type="pic" sz="quarter" idx="13"/>
          </p:nvPr>
        </p:nvSpPr>
        <p:spPr>
          <a:xfrm>
            <a:off x="330201" y="1881188"/>
            <a:ext cx="10734674" cy="4427537"/>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5" name="Titel 4">
            <a:extLst>
              <a:ext uri="{FF2B5EF4-FFF2-40B4-BE49-F238E27FC236}">
                <a16:creationId xmlns:a16="http://schemas.microsoft.com/office/drawing/2014/main" id="{D2C4416E-2666-49AE-A41F-4516BB79C77D}"/>
              </a:ext>
            </a:extLst>
          </p:cNvPr>
          <p:cNvSpPr>
            <a:spLocks noGrp="1"/>
          </p:cNvSpPr>
          <p:nvPr>
            <p:ph type="title" hasCustomPrompt="1"/>
          </p:nvPr>
        </p:nvSpPr>
        <p:spPr/>
        <p:txBody>
          <a:bodyPr/>
          <a:lstStyle>
            <a:lvl1pPr>
              <a:defRPr>
                <a:latin typeface="M05 Text Office Bold" panose="020B0804040000000004" pitchFamily="34" charset="0"/>
              </a:defRPr>
            </a:lvl1pPr>
          </a:lstStyle>
          <a:p>
            <a:r>
              <a:rPr lang="de-DE"/>
              <a:t>MASTERTITELFORMAT BEARBEITEN</a:t>
            </a:r>
          </a:p>
        </p:txBody>
      </p:sp>
      <p:sp>
        <p:nvSpPr>
          <p:cNvPr id="7" name="Textplatzhalter 3">
            <a:extLst>
              <a:ext uri="{FF2B5EF4-FFF2-40B4-BE49-F238E27FC236}">
                <a16:creationId xmlns:a16="http://schemas.microsoft.com/office/drawing/2014/main" id="{0EA92372-842E-49C1-A146-7375B4820C83}"/>
              </a:ext>
            </a:extLst>
          </p:cNvPr>
          <p:cNvSpPr>
            <a:spLocks noGrp="1"/>
          </p:cNvSpPr>
          <p:nvPr>
            <p:ph type="body" sz="quarter" idx="14"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Tree>
    <p:extLst>
      <p:ext uri="{BB962C8B-B14F-4D97-AF65-F5344CB8AC3E}">
        <p14:creationId xmlns:p14="http://schemas.microsoft.com/office/powerpoint/2010/main" val="39201098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mp; Bild rechts">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470917F-44CE-4D97-98E7-00F6C22BF846}"/>
              </a:ext>
            </a:extLst>
          </p:cNvPr>
          <p:cNvSpPr>
            <a:spLocks noGrp="1"/>
          </p:cNvSpPr>
          <p:nvPr>
            <p:ph type="sldNum" sz="quarter" idx="10"/>
          </p:nvPr>
        </p:nvSpPr>
        <p:spPr/>
        <p:txBody>
          <a:bodyPr/>
          <a:lstStyle>
            <a:lvl1pPr>
              <a:defRPr>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3" name="Bildplatzhalter 12">
            <a:extLst>
              <a:ext uri="{FF2B5EF4-FFF2-40B4-BE49-F238E27FC236}">
                <a16:creationId xmlns:a16="http://schemas.microsoft.com/office/drawing/2014/main" id="{6922D3FA-8EFF-4DC2-B570-CF09AE60435A}"/>
              </a:ext>
            </a:extLst>
          </p:cNvPr>
          <p:cNvSpPr>
            <a:spLocks noGrp="1"/>
          </p:cNvSpPr>
          <p:nvPr>
            <p:ph type="pic" sz="quarter" idx="13"/>
          </p:nvPr>
        </p:nvSpPr>
        <p:spPr>
          <a:xfrm>
            <a:off x="7045484" y="1881188"/>
            <a:ext cx="4010025" cy="4427537"/>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15" name="Textplatzhalter 14">
            <a:extLst>
              <a:ext uri="{FF2B5EF4-FFF2-40B4-BE49-F238E27FC236}">
                <a16:creationId xmlns:a16="http://schemas.microsoft.com/office/drawing/2014/main" id="{B6D77A1A-2F41-4D0A-B304-31CF9B8FEAFC}"/>
              </a:ext>
            </a:extLst>
          </p:cNvPr>
          <p:cNvSpPr>
            <a:spLocks noGrp="1"/>
          </p:cNvSpPr>
          <p:nvPr>
            <p:ph type="body" sz="quarter" idx="14" hasCustomPrompt="1"/>
          </p:nvPr>
        </p:nvSpPr>
        <p:spPr>
          <a:xfrm>
            <a:off x="330201" y="1881188"/>
            <a:ext cx="6540499" cy="4427537"/>
          </a:xfrm>
          <a:prstGeom prst="rect">
            <a:avLst/>
          </a:prstGeom>
        </p:spPr>
        <p:txBody>
          <a:bodyPr/>
          <a:lstStyle>
            <a:lvl1pPr>
              <a:defRPr>
                <a:latin typeface="M05 Text Office" panose="020B0504040000000004" pitchFamily="34" charset="0"/>
              </a:defRPr>
            </a:lvl1pPr>
            <a:lvl2pPr>
              <a:defRPr>
                <a:latin typeface="M05 Text Office" panose="020B0504040000000004" pitchFamily="34" charset="0"/>
              </a:defRPr>
            </a:lvl2pPr>
            <a:lvl3pPr>
              <a:defRPr>
                <a:latin typeface="M05 Text Office" panose="020B0504040000000004" pitchFamily="34" charset="0"/>
              </a:defRPr>
            </a:lvl3pPr>
            <a:lvl4pPr>
              <a:defRPr>
                <a:latin typeface="M05 Text Office" panose="020B0504040000000004" pitchFamily="34" charset="0"/>
              </a:defRPr>
            </a:lvl4pPr>
            <a:lvl5pPr>
              <a:defRPr>
                <a:latin typeface="M05 Text Office" panose="020B0504040000000004" pitchFamily="34" charset="0"/>
              </a:defRPr>
            </a:lvl5pPr>
          </a:lstStyle>
          <a:p>
            <a:pPr lvl="0"/>
            <a:r>
              <a:rPr lang="de-DE"/>
              <a:t>Mastertextformat bearbeiten M05 Text Regular PT 18</a:t>
            </a:r>
          </a:p>
          <a:p>
            <a:pPr lvl="1"/>
            <a:r>
              <a:rPr lang="de-DE"/>
              <a:t>Zweite Ebene</a:t>
            </a:r>
          </a:p>
          <a:p>
            <a:pPr lvl="2"/>
            <a:r>
              <a:rPr lang="de-DE"/>
              <a:t>Dritte Ebene</a:t>
            </a:r>
          </a:p>
          <a:p>
            <a:pPr lvl="3"/>
            <a:r>
              <a:rPr lang="de-DE"/>
              <a:t>Vierte Ebene</a:t>
            </a:r>
          </a:p>
          <a:p>
            <a:pPr lvl="4"/>
            <a:r>
              <a:rPr lang="de-DE"/>
              <a:t>Fünfte Ebene</a:t>
            </a:r>
          </a:p>
        </p:txBody>
      </p:sp>
      <p:sp>
        <p:nvSpPr>
          <p:cNvPr id="6" name="Titel 5">
            <a:extLst>
              <a:ext uri="{FF2B5EF4-FFF2-40B4-BE49-F238E27FC236}">
                <a16:creationId xmlns:a16="http://schemas.microsoft.com/office/drawing/2014/main" id="{E792D233-76B7-4EE5-A7D3-B66CF21BBC32}"/>
              </a:ext>
            </a:extLst>
          </p:cNvPr>
          <p:cNvSpPr>
            <a:spLocks noGrp="1"/>
          </p:cNvSpPr>
          <p:nvPr>
            <p:ph type="title"/>
          </p:nvPr>
        </p:nvSpPr>
        <p:spPr/>
        <p:txBody>
          <a:bodyPr/>
          <a:lstStyle>
            <a:lvl1pPr>
              <a:defRPr>
                <a:latin typeface="M05 Text Office Bold" panose="020B0804040000000004" pitchFamily="34" charset="0"/>
              </a:defRPr>
            </a:lvl1pPr>
          </a:lstStyle>
          <a:p>
            <a:r>
              <a:rPr lang="de-DE"/>
              <a:t>Mastertitelformat bearbeiten</a:t>
            </a:r>
          </a:p>
        </p:txBody>
      </p:sp>
      <p:sp>
        <p:nvSpPr>
          <p:cNvPr id="8" name="Textplatzhalter 3">
            <a:extLst>
              <a:ext uri="{FF2B5EF4-FFF2-40B4-BE49-F238E27FC236}">
                <a16:creationId xmlns:a16="http://schemas.microsoft.com/office/drawing/2014/main" id="{9D383C4E-6AF0-487B-AA48-BB1435D56FB7}"/>
              </a:ext>
            </a:extLst>
          </p:cNvPr>
          <p:cNvSpPr>
            <a:spLocks noGrp="1"/>
          </p:cNvSpPr>
          <p:nvPr>
            <p:ph type="body" sz="quarter" idx="15"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Tree>
    <p:extLst>
      <p:ext uri="{BB962C8B-B14F-4D97-AF65-F5344CB8AC3E}">
        <p14:creationId xmlns:p14="http://schemas.microsoft.com/office/powerpoint/2010/main" val="12031859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mp; 2 Bilder rechts">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470917F-44CE-4D97-98E7-00F6C22BF846}"/>
              </a:ext>
            </a:extLst>
          </p:cNvPr>
          <p:cNvSpPr>
            <a:spLocks noGrp="1"/>
          </p:cNvSpPr>
          <p:nvPr>
            <p:ph type="sldNum" sz="quarter" idx="10"/>
          </p:nvPr>
        </p:nvSpPr>
        <p:spPr/>
        <p:txBody>
          <a:bodyPr/>
          <a:lstStyle>
            <a:lvl1pPr>
              <a:defRPr>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3" name="Bildplatzhalter 12">
            <a:extLst>
              <a:ext uri="{FF2B5EF4-FFF2-40B4-BE49-F238E27FC236}">
                <a16:creationId xmlns:a16="http://schemas.microsoft.com/office/drawing/2014/main" id="{6922D3FA-8EFF-4DC2-B570-CF09AE60435A}"/>
              </a:ext>
            </a:extLst>
          </p:cNvPr>
          <p:cNvSpPr>
            <a:spLocks noGrp="1"/>
          </p:cNvSpPr>
          <p:nvPr>
            <p:ph type="pic" sz="quarter" idx="13"/>
          </p:nvPr>
        </p:nvSpPr>
        <p:spPr>
          <a:xfrm>
            <a:off x="7045484" y="1881188"/>
            <a:ext cx="4010025" cy="2150485"/>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15" name="Textplatzhalter 14">
            <a:extLst>
              <a:ext uri="{FF2B5EF4-FFF2-40B4-BE49-F238E27FC236}">
                <a16:creationId xmlns:a16="http://schemas.microsoft.com/office/drawing/2014/main" id="{B6D77A1A-2F41-4D0A-B304-31CF9B8FEAFC}"/>
              </a:ext>
            </a:extLst>
          </p:cNvPr>
          <p:cNvSpPr>
            <a:spLocks noGrp="1"/>
          </p:cNvSpPr>
          <p:nvPr>
            <p:ph type="body" sz="quarter" idx="14" hasCustomPrompt="1"/>
          </p:nvPr>
        </p:nvSpPr>
        <p:spPr>
          <a:xfrm>
            <a:off x="330201" y="1881188"/>
            <a:ext cx="6540499" cy="4427537"/>
          </a:xfrm>
          <a:prstGeom prst="rect">
            <a:avLst/>
          </a:prstGeom>
        </p:spPr>
        <p:txBody>
          <a:bodyPr/>
          <a:lstStyle>
            <a:lvl1pPr>
              <a:defRPr>
                <a:latin typeface="M05 Text Office" panose="020B0504040000000004" pitchFamily="34" charset="0"/>
              </a:defRPr>
            </a:lvl1pPr>
            <a:lvl2pPr>
              <a:defRPr>
                <a:latin typeface="M05 Text Office" panose="020B0504040000000004" pitchFamily="34" charset="0"/>
              </a:defRPr>
            </a:lvl2pPr>
            <a:lvl3pPr>
              <a:defRPr>
                <a:latin typeface="M05 Text Office" panose="020B0504040000000004" pitchFamily="34" charset="0"/>
              </a:defRPr>
            </a:lvl3pPr>
            <a:lvl4pPr>
              <a:defRPr>
                <a:latin typeface="M05 Text Office" panose="020B0504040000000004" pitchFamily="34" charset="0"/>
              </a:defRPr>
            </a:lvl4pPr>
            <a:lvl5pPr>
              <a:defRPr>
                <a:latin typeface="M05 Text Office" panose="020B0504040000000004" pitchFamily="34" charset="0"/>
              </a:defRPr>
            </a:lvl5pPr>
          </a:lstStyle>
          <a:p>
            <a:pPr lvl="0"/>
            <a:r>
              <a:rPr lang="de-DE"/>
              <a:t>Mastertextformat bearbeiten M05 Text Regular PT 18</a:t>
            </a:r>
          </a:p>
          <a:p>
            <a:pPr lvl="1"/>
            <a:r>
              <a:rPr lang="de-DE"/>
              <a:t>Zweite Ebene</a:t>
            </a:r>
          </a:p>
          <a:p>
            <a:pPr lvl="2"/>
            <a:r>
              <a:rPr lang="de-DE"/>
              <a:t>Dritte Ebene</a:t>
            </a:r>
          </a:p>
          <a:p>
            <a:pPr lvl="3"/>
            <a:r>
              <a:rPr lang="de-DE"/>
              <a:t>Vierte Ebene</a:t>
            </a:r>
          </a:p>
          <a:p>
            <a:pPr lvl="4"/>
            <a:r>
              <a:rPr lang="de-DE"/>
              <a:t>Fünfte Ebene</a:t>
            </a:r>
          </a:p>
        </p:txBody>
      </p:sp>
      <p:sp>
        <p:nvSpPr>
          <p:cNvPr id="6" name="Titel 5">
            <a:extLst>
              <a:ext uri="{FF2B5EF4-FFF2-40B4-BE49-F238E27FC236}">
                <a16:creationId xmlns:a16="http://schemas.microsoft.com/office/drawing/2014/main" id="{E792D233-76B7-4EE5-A7D3-B66CF21BBC32}"/>
              </a:ext>
            </a:extLst>
          </p:cNvPr>
          <p:cNvSpPr>
            <a:spLocks noGrp="1"/>
          </p:cNvSpPr>
          <p:nvPr>
            <p:ph type="title"/>
          </p:nvPr>
        </p:nvSpPr>
        <p:spPr/>
        <p:txBody>
          <a:bodyPr/>
          <a:lstStyle>
            <a:lvl1pPr>
              <a:defRPr>
                <a:latin typeface="M05 Text Office Bold" panose="020B0804040000000004" pitchFamily="34" charset="0"/>
              </a:defRPr>
            </a:lvl1pPr>
          </a:lstStyle>
          <a:p>
            <a:r>
              <a:rPr lang="de-DE"/>
              <a:t>Mastertitelformat bearbeiten</a:t>
            </a:r>
          </a:p>
        </p:txBody>
      </p:sp>
      <p:sp>
        <p:nvSpPr>
          <p:cNvPr id="8" name="Textplatzhalter 3">
            <a:extLst>
              <a:ext uri="{FF2B5EF4-FFF2-40B4-BE49-F238E27FC236}">
                <a16:creationId xmlns:a16="http://schemas.microsoft.com/office/drawing/2014/main" id="{9D383C4E-6AF0-487B-AA48-BB1435D56FB7}"/>
              </a:ext>
            </a:extLst>
          </p:cNvPr>
          <p:cNvSpPr>
            <a:spLocks noGrp="1"/>
          </p:cNvSpPr>
          <p:nvPr>
            <p:ph type="body" sz="quarter" idx="15"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7" name="Bildplatzhalter 12">
            <a:extLst>
              <a:ext uri="{FF2B5EF4-FFF2-40B4-BE49-F238E27FC236}">
                <a16:creationId xmlns:a16="http://schemas.microsoft.com/office/drawing/2014/main" id="{2E99522D-1BB3-4942-B3C5-9FB57BBCE617}"/>
              </a:ext>
            </a:extLst>
          </p:cNvPr>
          <p:cNvSpPr>
            <a:spLocks noGrp="1"/>
          </p:cNvSpPr>
          <p:nvPr>
            <p:ph type="pic" sz="quarter" idx="16"/>
          </p:nvPr>
        </p:nvSpPr>
        <p:spPr>
          <a:xfrm>
            <a:off x="7045483" y="4157364"/>
            <a:ext cx="4010025" cy="2150485"/>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Tree>
    <p:extLst>
      <p:ext uri="{BB962C8B-B14F-4D97-AF65-F5344CB8AC3E}">
        <p14:creationId xmlns:p14="http://schemas.microsoft.com/office/powerpoint/2010/main" val="18308511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mp; 3 Bilder unten">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470917F-44CE-4D97-98E7-00F6C22BF846}"/>
              </a:ext>
            </a:extLst>
          </p:cNvPr>
          <p:cNvSpPr>
            <a:spLocks noGrp="1"/>
          </p:cNvSpPr>
          <p:nvPr>
            <p:ph type="sldNum" sz="quarter" idx="10"/>
          </p:nvPr>
        </p:nvSpPr>
        <p:spPr/>
        <p:txBody>
          <a:bodyPr/>
          <a:lstStyle>
            <a:lvl1pPr>
              <a:defRPr>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3" name="Bildplatzhalter 12">
            <a:extLst>
              <a:ext uri="{FF2B5EF4-FFF2-40B4-BE49-F238E27FC236}">
                <a16:creationId xmlns:a16="http://schemas.microsoft.com/office/drawing/2014/main" id="{6922D3FA-8EFF-4DC2-B570-CF09AE60435A}"/>
              </a:ext>
            </a:extLst>
          </p:cNvPr>
          <p:cNvSpPr>
            <a:spLocks noGrp="1"/>
          </p:cNvSpPr>
          <p:nvPr>
            <p:ph type="pic" sz="quarter" idx="13"/>
          </p:nvPr>
        </p:nvSpPr>
        <p:spPr>
          <a:xfrm>
            <a:off x="330201" y="4138148"/>
            <a:ext cx="3428999" cy="2169702"/>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15" name="Textplatzhalter 14">
            <a:extLst>
              <a:ext uri="{FF2B5EF4-FFF2-40B4-BE49-F238E27FC236}">
                <a16:creationId xmlns:a16="http://schemas.microsoft.com/office/drawing/2014/main" id="{B6D77A1A-2F41-4D0A-B304-31CF9B8FEAFC}"/>
              </a:ext>
            </a:extLst>
          </p:cNvPr>
          <p:cNvSpPr>
            <a:spLocks noGrp="1"/>
          </p:cNvSpPr>
          <p:nvPr>
            <p:ph type="body" sz="quarter" idx="14" hasCustomPrompt="1"/>
          </p:nvPr>
        </p:nvSpPr>
        <p:spPr>
          <a:xfrm>
            <a:off x="330201" y="1881189"/>
            <a:ext cx="10725308" cy="2169702"/>
          </a:xfrm>
          <a:prstGeom prst="rect">
            <a:avLst/>
          </a:prstGeom>
        </p:spPr>
        <p:txBody>
          <a:bodyPr/>
          <a:lstStyle>
            <a:lvl1pPr>
              <a:defRPr>
                <a:latin typeface="M05 Text Office" panose="020B0504040000000004" pitchFamily="34" charset="0"/>
              </a:defRPr>
            </a:lvl1pPr>
            <a:lvl2pPr>
              <a:defRPr>
                <a:latin typeface="M05 Text Office" panose="020B0504040000000004" pitchFamily="34" charset="0"/>
              </a:defRPr>
            </a:lvl2pPr>
            <a:lvl3pPr>
              <a:defRPr>
                <a:latin typeface="M05 Text Office" panose="020B0504040000000004" pitchFamily="34" charset="0"/>
              </a:defRPr>
            </a:lvl3pPr>
            <a:lvl4pPr>
              <a:defRPr>
                <a:latin typeface="M05 Text Office" panose="020B0504040000000004" pitchFamily="34" charset="0"/>
              </a:defRPr>
            </a:lvl4pPr>
            <a:lvl5pPr>
              <a:defRPr>
                <a:latin typeface="M05 Text Office" panose="020B0504040000000004" pitchFamily="34" charset="0"/>
              </a:defRPr>
            </a:lvl5pPr>
          </a:lstStyle>
          <a:p>
            <a:pPr lvl="0"/>
            <a:r>
              <a:rPr lang="de-DE"/>
              <a:t>Mastertextformat bearbeiten M05 Text Regular PT 18</a:t>
            </a:r>
          </a:p>
          <a:p>
            <a:pPr lvl="1"/>
            <a:r>
              <a:rPr lang="de-DE"/>
              <a:t>Zweite Ebene</a:t>
            </a:r>
          </a:p>
          <a:p>
            <a:pPr lvl="2"/>
            <a:r>
              <a:rPr lang="de-DE"/>
              <a:t>Dritte Ebene</a:t>
            </a:r>
          </a:p>
          <a:p>
            <a:pPr lvl="3"/>
            <a:r>
              <a:rPr lang="de-DE"/>
              <a:t>Vierte Ebene</a:t>
            </a:r>
          </a:p>
          <a:p>
            <a:pPr lvl="4"/>
            <a:r>
              <a:rPr lang="de-DE"/>
              <a:t>Fünfte Ebene</a:t>
            </a:r>
          </a:p>
        </p:txBody>
      </p:sp>
      <p:sp>
        <p:nvSpPr>
          <p:cNvPr id="6" name="Titel 5">
            <a:extLst>
              <a:ext uri="{FF2B5EF4-FFF2-40B4-BE49-F238E27FC236}">
                <a16:creationId xmlns:a16="http://schemas.microsoft.com/office/drawing/2014/main" id="{E792D233-76B7-4EE5-A7D3-B66CF21BBC32}"/>
              </a:ext>
            </a:extLst>
          </p:cNvPr>
          <p:cNvSpPr>
            <a:spLocks noGrp="1"/>
          </p:cNvSpPr>
          <p:nvPr>
            <p:ph type="title"/>
          </p:nvPr>
        </p:nvSpPr>
        <p:spPr/>
        <p:txBody>
          <a:bodyPr/>
          <a:lstStyle>
            <a:lvl1pPr>
              <a:defRPr>
                <a:latin typeface="M05 Text Office Bold" panose="020B0804040000000004" pitchFamily="34" charset="0"/>
              </a:defRPr>
            </a:lvl1pPr>
          </a:lstStyle>
          <a:p>
            <a:r>
              <a:rPr lang="de-DE"/>
              <a:t>Mastertitelformat bearbeiten</a:t>
            </a:r>
          </a:p>
        </p:txBody>
      </p:sp>
      <p:sp>
        <p:nvSpPr>
          <p:cNvPr id="8" name="Textplatzhalter 3">
            <a:extLst>
              <a:ext uri="{FF2B5EF4-FFF2-40B4-BE49-F238E27FC236}">
                <a16:creationId xmlns:a16="http://schemas.microsoft.com/office/drawing/2014/main" id="{9D383C4E-6AF0-487B-AA48-BB1435D56FB7}"/>
              </a:ext>
            </a:extLst>
          </p:cNvPr>
          <p:cNvSpPr>
            <a:spLocks noGrp="1"/>
          </p:cNvSpPr>
          <p:nvPr>
            <p:ph type="body" sz="quarter" idx="15"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7" name="Bildplatzhalter 12">
            <a:extLst>
              <a:ext uri="{FF2B5EF4-FFF2-40B4-BE49-F238E27FC236}">
                <a16:creationId xmlns:a16="http://schemas.microsoft.com/office/drawing/2014/main" id="{90FDA3E7-9D15-4A98-80C4-8EBD09737D10}"/>
              </a:ext>
            </a:extLst>
          </p:cNvPr>
          <p:cNvSpPr>
            <a:spLocks noGrp="1"/>
          </p:cNvSpPr>
          <p:nvPr>
            <p:ph type="pic" sz="quarter" idx="16"/>
          </p:nvPr>
        </p:nvSpPr>
        <p:spPr>
          <a:xfrm>
            <a:off x="3978356" y="4138147"/>
            <a:ext cx="3428999" cy="2169702"/>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9" name="Bildplatzhalter 12">
            <a:extLst>
              <a:ext uri="{FF2B5EF4-FFF2-40B4-BE49-F238E27FC236}">
                <a16:creationId xmlns:a16="http://schemas.microsoft.com/office/drawing/2014/main" id="{751AA171-C542-4210-B51D-F1A6E6D4E329}"/>
              </a:ext>
            </a:extLst>
          </p:cNvPr>
          <p:cNvSpPr>
            <a:spLocks noGrp="1"/>
          </p:cNvSpPr>
          <p:nvPr>
            <p:ph type="pic" sz="quarter" idx="17"/>
          </p:nvPr>
        </p:nvSpPr>
        <p:spPr>
          <a:xfrm>
            <a:off x="7626511" y="4138147"/>
            <a:ext cx="3428999" cy="2169702"/>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Tree>
    <p:extLst>
      <p:ext uri="{BB962C8B-B14F-4D97-AF65-F5344CB8AC3E}">
        <p14:creationId xmlns:p14="http://schemas.microsoft.com/office/powerpoint/2010/main" val="12913725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Bildfelder &amp; Text">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74EFF176-1E31-47F4-8480-DDF0D6B15F35}"/>
              </a:ext>
            </a:extLst>
          </p:cNvPr>
          <p:cNvSpPr>
            <a:spLocks noGrp="1"/>
          </p:cNvSpPr>
          <p:nvPr>
            <p:ph type="pic" sz="quarter" idx="10"/>
          </p:nvPr>
        </p:nvSpPr>
        <p:spPr>
          <a:xfrm>
            <a:off x="347656" y="2254689"/>
            <a:ext cx="3359820" cy="1445668"/>
          </a:xfrm>
          <a:prstGeom prst="rect">
            <a:avLst/>
          </a:prstGeom>
          <a:solidFill>
            <a:schemeClr val="accent2"/>
          </a:solidFill>
        </p:spPr>
        <p:txBody>
          <a:bodyPr/>
          <a:lstStyle/>
          <a:p>
            <a:r>
              <a:rPr lang="de-DE"/>
              <a:t>Bild durch Klicken auf Symbol hinzufügen</a:t>
            </a:r>
          </a:p>
        </p:txBody>
      </p:sp>
      <p:sp>
        <p:nvSpPr>
          <p:cNvPr id="29" name="Textplatzhalter 28">
            <a:extLst>
              <a:ext uri="{FF2B5EF4-FFF2-40B4-BE49-F238E27FC236}">
                <a16:creationId xmlns:a16="http://schemas.microsoft.com/office/drawing/2014/main" id="{7C4F5B9E-69F6-4B9A-9494-99F310BB0EE4}"/>
              </a:ext>
            </a:extLst>
          </p:cNvPr>
          <p:cNvSpPr>
            <a:spLocks noGrp="1"/>
          </p:cNvSpPr>
          <p:nvPr>
            <p:ph type="body" sz="quarter" idx="20"/>
          </p:nvPr>
        </p:nvSpPr>
        <p:spPr>
          <a:xfrm>
            <a:off x="350839" y="3851856"/>
            <a:ext cx="3354754" cy="2149933"/>
          </a:xfrm>
          <a:prstGeom prst="rect">
            <a:avLst/>
          </a:prstGeom>
        </p:spPr>
        <p:txBody>
          <a:bodyPr/>
          <a:lstStyle>
            <a:lvl1pPr>
              <a:defRPr sz="1200"/>
            </a:lvl1pPr>
            <a:lvl2pPr>
              <a:defRPr sz="1100"/>
            </a:lvl2pPr>
            <a:lvl3pPr>
              <a:defRPr sz="1050"/>
            </a:lvl3pPr>
            <a:lvl4pPr>
              <a:defRPr sz="1000"/>
            </a:lvl4pPr>
            <a:lvl5pPr>
              <a:defRPr sz="1000"/>
            </a:lvl5pPr>
          </a:lstStyle>
          <a:p>
            <a:pPr lvl="0"/>
            <a:r>
              <a:rPr lang="de-DE"/>
              <a:t>Mastertextformat bearbeiten</a:t>
            </a:r>
          </a:p>
          <a:p>
            <a:pPr lvl="1"/>
            <a:r>
              <a:rPr lang="de-DE"/>
              <a:t>Zweite Ebene</a:t>
            </a:r>
          </a:p>
        </p:txBody>
      </p:sp>
      <p:pic>
        <p:nvPicPr>
          <p:cNvPr id="41" name="Grafik 40">
            <a:extLst>
              <a:ext uri="{FF2B5EF4-FFF2-40B4-BE49-F238E27FC236}">
                <a16:creationId xmlns:a16="http://schemas.microsoft.com/office/drawing/2014/main" id="{07E21E62-D117-41C6-B213-8724BAC8D9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347654" y="1880004"/>
            <a:ext cx="3359824" cy="223186"/>
          </a:xfrm>
          <a:prstGeom prst="rect">
            <a:avLst/>
          </a:prstGeom>
        </p:spPr>
      </p:pic>
      <p:sp>
        <p:nvSpPr>
          <p:cNvPr id="42" name="Textplatzhalter 18">
            <a:extLst>
              <a:ext uri="{FF2B5EF4-FFF2-40B4-BE49-F238E27FC236}">
                <a16:creationId xmlns:a16="http://schemas.microsoft.com/office/drawing/2014/main" id="{3E56BAB2-D13E-4DBA-B619-03CBC74513D1}"/>
              </a:ext>
            </a:extLst>
          </p:cNvPr>
          <p:cNvSpPr>
            <a:spLocks noGrp="1"/>
          </p:cNvSpPr>
          <p:nvPr>
            <p:ph type="body" sz="quarter" idx="16" hasCustomPrompt="1"/>
          </p:nvPr>
        </p:nvSpPr>
        <p:spPr>
          <a:xfrm>
            <a:off x="347656" y="1880004"/>
            <a:ext cx="3364578" cy="211113"/>
          </a:xfrm>
          <a:prstGeom prst="rect">
            <a:avLst/>
          </a:prstGeom>
        </p:spPr>
        <p:txBody>
          <a:bodyPr lIns="37440" tIns="45720" rIns="37440" bIns="45720"/>
          <a:lstStyle>
            <a:lvl1pPr marL="0" indent="0">
              <a:buNone/>
              <a:defRPr sz="1200" b="1"/>
            </a:lvl1pPr>
          </a:lstStyle>
          <a:p>
            <a:pPr lvl="0"/>
            <a:r>
              <a:rPr lang="de-DE"/>
              <a:t>Bildbeschriftung</a:t>
            </a:r>
          </a:p>
        </p:txBody>
      </p:sp>
      <p:sp>
        <p:nvSpPr>
          <p:cNvPr id="2" name="Titel 1">
            <a:extLst>
              <a:ext uri="{FF2B5EF4-FFF2-40B4-BE49-F238E27FC236}">
                <a16:creationId xmlns:a16="http://schemas.microsoft.com/office/drawing/2014/main" id="{28D5AA2D-BF91-4ECF-9E38-83BD85C66215}"/>
              </a:ext>
            </a:extLst>
          </p:cNvPr>
          <p:cNvSpPr>
            <a:spLocks noGrp="1"/>
          </p:cNvSpPr>
          <p:nvPr>
            <p:ph type="title"/>
          </p:nvPr>
        </p:nvSpPr>
        <p:spPr>
          <a:xfrm>
            <a:off x="330201" y="550151"/>
            <a:ext cx="10728000" cy="702000"/>
          </a:xfrm>
        </p:spPr>
        <p:txBody>
          <a:bodyPr/>
          <a:lstStyle/>
          <a:p>
            <a:r>
              <a:rPr lang="de-DE"/>
              <a:t>Mastertitelformat bearbeiten</a:t>
            </a:r>
          </a:p>
        </p:txBody>
      </p:sp>
      <p:sp>
        <p:nvSpPr>
          <p:cNvPr id="23" name="Foliennummernplatzhalter 52">
            <a:extLst>
              <a:ext uri="{FF2B5EF4-FFF2-40B4-BE49-F238E27FC236}">
                <a16:creationId xmlns:a16="http://schemas.microsoft.com/office/drawing/2014/main" id="{04CC1516-E6C7-4BE4-AAB5-3F9A7BD7504C}"/>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defRPr>
            </a:lvl1pPr>
          </a:lstStyle>
          <a:p>
            <a:r>
              <a:rPr lang="de-DE"/>
              <a:t>Seite </a:t>
            </a:r>
            <a:fld id="{A8D1AB97-F97B-4190-BD45-5A4F2F283CBD}" type="slidenum">
              <a:rPr lang="de-DE" smtClean="0"/>
              <a:pPr/>
              <a:t>‹Nr.›</a:t>
            </a:fld>
            <a:endParaRPr lang="de-DE"/>
          </a:p>
        </p:txBody>
      </p:sp>
      <p:sp>
        <p:nvSpPr>
          <p:cNvPr id="22" name="Textplatzhalter 3">
            <a:extLst>
              <a:ext uri="{FF2B5EF4-FFF2-40B4-BE49-F238E27FC236}">
                <a16:creationId xmlns:a16="http://schemas.microsoft.com/office/drawing/2014/main" id="{E9E5BB0E-C5DF-4B56-9A11-F78FEFDD21DA}"/>
              </a:ext>
            </a:extLst>
          </p:cNvPr>
          <p:cNvSpPr>
            <a:spLocks noGrp="1"/>
          </p:cNvSpPr>
          <p:nvPr>
            <p:ph type="body" sz="quarter" idx="24" hasCustomPrompt="1"/>
          </p:nvPr>
        </p:nvSpPr>
        <p:spPr>
          <a:xfrm>
            <a:off x="330201" y="168743"/>
            <a:ext cx="8978717" cy="277200"/>
          </a:xfrm>
          <a:prstGeom prst="rect">
            <a:avLst/>
          </a:prstGeom>
        </p:spPr>
        <p:txBody>
          <a:bodyPr lIns="0" tIns="0" rIns="0" bIns="0" anchor="ctr"/>
          <a:lstStyle>
            <a:lvl1pPr marL="0" indent="0">
              <a:buNone/>
              <a:defRPr sz="1200" b="1" cap="all" baseline="0"/>
            </a:lvl1pPr>
          </a:lstStyle>
          <a:p>
            <a:pPr lvl="0"/>
            <a:r>
              <a:rPr lang="de-DE"/>
              <a:t>Sachtitel M05 Text Regular 12 PT in </a:t>
            </a:r>
            <a:r>
              <a:rPr lang="de-DE" err="1"/>
              <a:t>Grossbuchstaben</a:t>
            </a:r>
            <a:endParaRPr lang="de-DE"/>
          </a:p>
        </p:txBody>
      </p:sp>
      <p:sp>
        <p:nvSpPr>
          <p:cNvPr id="25" name="Bildplatzhalter 3">
            <a:extLst>
              <a:ext uri="{FF2B5EF4-FFF2-40B4-BE49-F238E27FC236}">
                <a16:creationId xmlns:a16="http://schemas.microsoft.com/office/drawing/2014/main" id="{9E6FE594-30C8-469F-88BE-31EDCCBFB2A8}"/>
              </a:ext>
            </a:extLst>
          </p:cNvPr>
          <p:cNvSpPr>
            <a:spLocks noGrp="1"/>
          </p:cNvSpPr>
          <p:nvPr>
            <p:ph type="pic" sz="quarter" idx="25"/>
          </p:nvPr>
        </p:nvSpPr>
        <p:spPr>
          <a:xfrm>
            <a:off x="7695690" y="2254689"/>
            <a:ext cx="3359819" cy="1445668"/>
          </a:xfrm>
          <a:prstGeom prst="rect">
            <a:avLst/>
          </a:prstGeom>
          <a:solidFill>
            <a:schemeClr val="accent2"/>
          </a:solidFill>
        </p:spPr>
        <p:txBody>
          <a:bodyPr/>
          <a:lstStyle/>
          <a:p>
            <a:r>
              <a:rPr lang="de-DE"/>
              <a:t>Bild durch Klicken auf Symbol hinzufügen</a:t>
            </a:r>
          </a:p>
        </p:txBody>
      </p:sp>
      <p:sp>
        <p:nvSpPr>
          <p:cNvPr id="26" name="Textplatzhalter 28">
            <a:extLst>
              <a:ext uri="{FF2B5EF4-FFF2-40B4-BE49-F238E27FC236}">
                <a16:creationId xmlns:a16="http://schemas.microsoft.com/office/drawing/2014/main" id="{920FDECA-7133-4BFF-B5C0-85AC99C84346}"/>
              </a:ext>
            </a:extLst>
          </p:cNvPr>
          <p:cNvSpPr>
            <a:spLocks noGrp="1"/>
          </p:cNvSpPr>
          <p:nvPr>
            <p:ph type="body" sz="quarter" idx="26"/>
          </p:nvPr>
        </p:nvSpPr>
        <p:spPr>
          <a:xfrm>
            <a:off x="7698572" y="3851856"/>
            <a:ext cx="3354753" cy="2149933"/>
          </a:xfrm>
          <a:prstGeom prst="rect">
            <a:avLst/>
          </a:prstGeom>
        </p:spPr>
        <p:txBody>
          <a:bodyPr/>
          <a:lstStyle>
            <a:lvl1pPr>
              <a:defRPr sz="1200"/>
            </a:lvl1pPr>
            <a:lvl2pPr>
              <a:defRPr sz="1100"/>
            </a:lvl2pPr>
            <a:lvl3pPr>
              <a:defRPr sz="1050"/>
            </a:lvl3pPr>
            <a:lvl4pPr>
              <a:defRPr sz="1000"/>
            </a:lvl4pPr>
            <a:lvl5pPr>
              <a:defRPr sz="1000"/>
            </a:lvl5pPr>
          </a:lstStyle>
          <a:p>
            <a:pPr lvl="0"/>
            <a:r>
              <a:rPr lang="de-DE"/>
              <a:t>Mastertextformat bearbeiten</a:t>
            </a:r>
          </a:p>
          <a:p>
            <a:pPr lvl="1"/>
            <a:r>
              <a:rPr lang="de-DE"/>
              <a:t>Zweite Ebene</a:t>
            </a:r>
          </a:p>
        </p:txBody>
      </p:sp>
      <p:pic>
        <p:nvPicPr>
          <p:cNvPr id="27" name="Grafik 26">
            <a:extLst>
              <a:ext uri="{FF2B5EF4-FFF2-40B4-BE49-F238E27FC236}">
                <a16:creationId xmlns:a16="http://schemas.microsoft.com/office/drawing/2014/main" id="{D6BE8442-5FCE-40BC-A195-69D38F4CF9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7695688" y="1880004"/>
            <a:ext cx="3359823" cy="223186"/>
          </a:xfrm>
          <a:prstGeom prst="rect">
            <a:avLst/>
          </a:prstGeom>
        </p:spPr>
      </p:pic>
      <p:sp>
        <p:nvSpPr>
          <p:cNvPr id="28" name="Textplatzhalter 18">
            <a:extLst>
              <a:ext uri="{FF2B5EF4-FFF2-40B4-BE49-F238E27FC236}">
                <a16:creationId xmlns:a16="http://schemas.microsoft.com/office/drawing/2014/main" id="{5DA98352-EE4C-4260-8AFC-C9792314002C}"/>
              </a:ext>
            </a:extLst>
          </p:cNvPr>
          <p:cNvSpPr>
            <a:spLocks noGrp="1"/>
          </p:cNvSpPr>
          <p:nvPr>
            <p:ph type="body" sz="quarter" idx="27" hasCustomPrompt="1"/>
          </p:nvPr>
        </p:nvSpPr>
        <p:spPr>
          <a:xfrm>
            <a:off x="7695972" y="1880004"/>
            <a:ext cx="3364577" cy="211113"/>
          </a:xfrm>
          <a:prstGeom prst="rect">
            <a:avLst/>
          </a:prstGeom>
        </p:spPr>
        <p:txBody>
          <a:bodyPr lIns="37440" tIns="45720" rIns="37440" bIns="45720"/>
          <a:lstStyle>
            <a:lvl1pPr marL="0" indent="0">
              <a:buNone/>
              <a:defRPr sz="1200" b="1"/>
            </a:lvl1pPr>
          </a:lstStyle>
          <a:p>
            <a:pPr lvl="0"/>
            <a:r>
              <a:rPr lang="de-DE"/>
              <a:t>Bildbeschriftung</a:t>
            </a:r>
          </a:p>
        </p:txBody>
      </p:sp>
      <p:sp>
        <p:nvSpPr>
          <p:cNvPr id="30" name="Bildplatzhalter 3">
            <a:extLst>
              <a:ext uri="{FF2B5EF4-FFF2-40B4-BE49-F238E27FC236}">
                <a16:creationId xmlns:a16="http://schemas.microsoft.com/office/drawing/2014/main" id="{9DD2310D-007B-4DC1-8641-60F36BD24703}"/>
              </a:ext>
            </a:extLst>
          </p:cNvPr>
          <p:cNvSpPr>
            <a:spLocks noGrp="1"/>
          </p:cNvSpPr>
          <p:nvPr>
            <p:ph type="pic" sz="quarter" idx="28"/>
          </p:nvPr>
        </p:nvSpPr>
        <p:spPr>
          <a:xfrm>
            <a:off x="4009609" y="2254689"/>
            <a:ext cx="3359820" cy="1445668"/>
          </a:xfrm>
          <a:prstGeom prst="rect">
            <a:avLst/>
          </a:prstGeom>
          <a:solidFill>
            <a:schemeClr val="accent2"/>
          </a:solidFill>
        </p:spPr>
        <p:txBody>
          <a:bodyPr/>
          <a:lstStyle/>
          <a:p>
            <a:r>
              <a:rPr lang="de-DE"/>
              <a:t>Bild durch Klicken auf Symbol hinzufügen</a:t>
            </a:r>
          </a:p>
        </p:txBody>
      </p:sp>
      <p:sp>
        <p:nvSpPr>
          <p:cNvPr id="31" name="Textplatzhalter 28">
            <a:extLst>
              <a:ext uri="{FF2B5EF4-FFF2-40B4-BE49-F238E27FC236}">
                <a16:creationId xmlns:a16="http://schemas.microsoft.com/office/drawing/2014/main" id="{7712A31E-D466-4C0F-976D-AD98DE336B89}"/>
              </a:ext>
            </a:extLst>
          </p:cNvPr>
          <p:cNvSpPr>
            <a:spLocks noGrp="1"/>
          </p:cNvSpPr>
          <p:nvPr>
            <p:ph type="body" sz="quarter" idx="29"/>
          </p:nvPr>
        </p:nvSpPr>
        <p:spPr>
          <a:xfrm>
            <a:off x="4012366" y="3851856"/>
            <a:ext cx="3354754" cy="2149933"/>
          </a:xfrm>
          <a:prstGeom prst="rect">
            <a:avLst/>
          </a:prstGeom>
        </p:spPr>
        <p:txBody>
          <a:bodyPr/>
          <a:lstStyle>
            <a:lvl1pPr>
              <a:defRPr sz="1200"/>
            </a:lvl1pPr>
            <a:lvl2pPr>
              <a:defRPr sz="1100"/>
            </a:lvl2pPr>
            <a:lvl3pPr>
              <a:defRPr sz="1050"/>
            </a:lvl3pPr>
            <a:lvl4pPr>
              <a:defRPr sz="1000"/>
            </a:lvl4pPr>
            <a:lvl5pPr>
              <a:defRPr sz="1000"/>
            </a:lvl5pPr>
          </a:lstStyle>
          <a:p>
            <a:pPr lvl="0"/>
            <a:r>
              <a:rPr lang="de-DE"/>
              <a:t>Mastertextformat bearbeiten</a:t>
            </a:r>
          </a:p>
          <a:p>
            <a:pPr lvl="1"/>
            <a:r>
              <a:rPr lang="de-DE"/>
              <a:t>Zweite Ebene</a:t>
            </a:r>
          </a:p>
        </p:txBody>
      </p:sp>
      <p:pic>
        <p:nvPicPr>
          <p:cNvPr id="32" name="Grafik 31">
            <a:extLst>
              <a:ext uri="{FF2B5EF4-FFF2-40B4-BE49-F238E27FC236}">
                <a16:creationId xmlns:a16="http://schemas.microsoft.com/office/drawing/2014/main" id="{A1867A21-FFAE-4460-8B47-98AE89ED3E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4009607" y="1880004"/>
            <a:ext cx="3359824" cy="223186"/>
          </a:xfrm>
          <a:prstGeom prst="rect">
            <a:avLst/>
          </a:prstGeom>
        </p:spPr>
      </p:pic>
      <p:sp>
        <p:nvSpPr>
          <p:cNvPr id="33" name="Textplatzhalter 18">
            <a:extLst>
              <a:ext uri="{FF2B5EF4-FFF2-40B4-BE49-F238E27FC236}">
                <a16:creationId xmlns:a16="http://schemas.microsoft.com/office/drawing/2014/main" id="{688C4563-5AD7-4C10-BC91-16F434CEE826}"/>
              </a:ext>
            </a:extLst>
          </p:cNvPr>
          <p:cNvSpPr>
            <a:spLocks noGrp="1"/>
          </p:cNvSpPr>
          <p:nvPr>
            <p:ph type="body" sz="quarter" idx="30" hasCustomPrompt="1"/>
          </p:nvPr>
        </p:nvSpPr>
        <p:spPr>
          <a:xfrm>
            <a:off x="4010009" y="1880004"/>
            <a:ext cx="3364578" cy="211113"/>
          </a:xfrm>
          <a:prstGeom prst="rect">
            <a:avLst/>
          </a:prstGeom>
        </p:spPr>
        <p:txBody>
          <a:bodyPr lIns="37440" tIns="45720" rIns="37440" bIns="45720"/>
          <a:lstStyle>
            <a:lvl1pPr marL="0" indent="0">
              <a:buNone/>
              <a:defRPr sz="1200" b="1"/>
            </a:lvl1pPr>
          </a:lstStyle>
          <a:p>
            <a:pPr lvl="0"/>
            <a:r>
              <a:rPr lang="de-DE"/>
              <a:t>Bildbeschriftung</a:t>
            </a:r>
          </a:p>
        </p:txBody>
      </p:sp>
    </p:spTree>
    <p:extLst>
      <p:ext uri="{BB962C8B-B14F-4D97-AF65-F5344CB8AC3E}">
        <p14:creationId xmlns:p14="http://schemas.microsoft.com/office/powerpoint/2010/main" val="14311677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Bildfelder &amp; Text">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74EFF176-1E31-47F4-8480-DDF0D6B15F35}"/>
              </a:ext>
            </a:extLst>
          </p:cNvPr>
          <p:cNvSpPr>
            <a:spLocks noGrp="1"/>
          </p:cNvSpPr>
          <p:nvPr>
            <p:ph type="pic" sz="quarter" idx="10"/>
          </p:nvPr>
        </p:nvSpPr>
        <p:spPr>
          <a:xfrm>
            <a:off x="347656" y="2254689"/>
            <a:ext cx="2456009" cy="1679414"/>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15" name="Bildplatzhalter 3">
            <a:extLst>
              <a:ext uri="{FF2B5EF4-FFF2-40B4-BE49-F238E27FC236}">
                <a16:creationId xmlns:a16="http://schemas.microsoft.com/office/drawing/2014/main" id="{FFEFD733-B4A2-492D-B915-24869BBD8FB5}"/>
              </a:ext>
            </a:extLst>
          </p:cNvPr>
          <p:cNvSpPr>
            <a:spLocks noGrp="1"/>
          </p:cNvSpPr>
          <p:nvPr>
            <p:ph type="pic" sz="quarter" idx="13"/>
          </p:nvPr>
        </p:nvSpPr>
        <p:spPr>
          <a:xfrm>
            <a:off x="3109677" y="2254689"/>
            <a:ext cx="2447725" cy="1679414"/>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16" name="Bildplatzhalter 3">
            <a:extLst>
              <a:ext uri="{FF2B5EF4-FFF2-40B4-BE49-F238E27FC236}">
                <a16:creationId xmlns:a16="http://schemas.microsoft.com/office/drawing/2014/main" id="{4D080C6F-8722-4CA0-93EC-C5D0E1245E19}"/>
              </a:ext>
            </a:extLst>
          </p:cNvPr>
          <p:cNvSpPr>
            <a:spLocks noGrp="1"/>
          </p:cNvSpPr>
          <p:nvPr>
            <p:ph type="pic" sz="quarter" idx="14"/>
          </p:nvPr>
        </p:nvSpPr>
        <p:spPr>
          <a:xfrm>
            <a:off x="5863414" y="2254689"/>
            <a:ext cx="2447725" cy="1679414"/>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17" name="Bildplatzhalter 3">
            <a:extLst>
              <a:ext uri="{FF2B5EF4-FFF2-40B4-BE49-F238E27FC236}">
                <a16:creationId xmlns:a16="http://schemas.microsoft.com/office/drawing/2014/main" id="{16DD7E62-1684-411E-9E6D-A70C7CD982E4}"/>
              </a:ext>
            </a:extLst>
          </p:cNvPr>
          <p:cNvSpPr>
            <a:spLocks noGrp="1"/>
          </p:cNvSpPr>
          <p:nvPr>
            <p:ph type="pic" sz="quarter" idx="15"/>
          </p:nvPr>
        </p:nvSpPr>
        <p:spPr>
          <a:xfrm>
            <a:off x="8617150" y="2254689"/>
            <a:ext cx="2447725" cy="1679414"/>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29" name="Textplatzhalter 28">
            <a:extLst>
              <a:ext uri="{FF2B5EF4-FFF2-40B4-BE49-F238E27FC236}">
                <a16:creationId xmlns:a16="http://schemas.microsoft.com/office/drawing/2014/main" id="{7C4F5B9E-69F6-4B9A-9494-99F310BB0EE4}"/>
              </a:ext>
            </a:extLst>
          </p:cNvPr>
          <p:cNvSpPr>
            <a:spLocks noGrp="1"/>
          </p:cNvSpPr>
          <p:nvPr>
            <p:ph type="body" sz="quarter" idx="20"/>
          </p:nvPr>
        </p:nvSpPr>
        <p:spPr>
          <a:xfrm>
            <a:off x="350839" y="4137819"/>
            <a:ext cx="2444058" cy="2165350"/>
          </a:xfrm>
          <a:prstGeom prst="rect">
            <a:avLst/>
          </a:prstGeom>
        </p:spPr>
        <p:txBody>
          <a:bodyPr/>
          <a:lstStyle>
            <a:lvl1pPr>
              <a:defRPr sz="1200">
                <a:latin typeface="M05 Text Office" panose="020B0504040000000004" pitchFamily="34" charset="0"/>
              </a:defRPr>
            </a:lvl1pPr>
            <a:lvl2pPr>
              <a:defRPr sz="1100">
                <a:latin typeface="M05 Text Office" panose="020B0504040000000004" pitchFamily="34" charset="0"/>
              </a:defRPr>
            </a:lvl2pPr>
            <a:lvl3pPr>
              <a:defRPr sz="1050"/>
            </a:lvl3pPr>
            <a:lvl4pPr>
              <a:defRPr sz="1000"/>
            </a:lvl4pPr>
            <a:lvl5pPr>
              <a:defRPr sz="1000"/>
            </a:lvl5pPr>
          </a:lstStyle>
          <a:p>
            <a:pPr lvl="0"/>
            <a:r>
              <a:rPr lang="de-DE"/>
              <a:t>Mastertextformat bearbeiten</a:t>
            </a:r>
          </a:p>
          <a:p>
            <a:pPr lvl="1"/>
            <a:r>
              <a:rPr lang="de-DE"/>
              <a:t>Zweite Ebene</a:t>
            </a:r>
          </a:p>
        </p:txBody>
      </p:sp>
      <p:sp>
        <p:nvSpPr>
          <p:cNvPr id="30" name="Textplatzhalter 28">
            <a:extLst>
              <a:ext uri="{FF2B5EF4-FFF2-40B4-BE49-F238E27FC236}">
                <a16:creationId xmlns:a16="http://schemas.microsoft.com/office/drawing/2014/main" id="{1F765D18-9306-4B21-92D9-6A3E1EC12A09}"/>
              </a:ext>
            </a:extLst>
          </p:cNvPr>
          <p:cNvSpPr>
            <a:spLocks noGrp="1"/>
          </p:cNvSpPr>
          <p:nvPr>
            <p:ph type="body" sz="quarter" idx="21"/>
          </p:nvPr>
        </p:nvSpPr>
        <p:spPr>
          <a:xfrm>
            <a:off x="3113343" y="4137819"/>
            <a:ext cx="2444059" cy="2165350"/>
          </a:xfrm>
          <a:prstGeom prst="rect">
            <a:avLst/>
          </a:prstGeom>
        </p:spPr>
        <p:txBody>
          <a:bodyPr/>
          <a:lstStyle>
            <a:lvl1pPr>
              <a:defRPr sz="1200">
                <a:latin typeface="M05 Text Office" panose="020B0504040000000004" pitchFamily="34" charset="0"/>
              </a:defRPr>
            </a:lvl1pPr>
            <a:lvl2pPr>
              <a:defRPr sz="1100">
                <a:latin typeface="M05 Text Office" panose="020B0504040000000004" pitchFamily="34" charset="0"/>
              </a:defRPr>
            </a:lvl2pPr>
            <a:lvl3pPr>
              <a:defRPr sz="1050"/>
            </a:lvl3pPr>
            <a:lvl4pPr>
              <a:defRPr sz="1000"/>
            </a:lvl4pPr>
            <a:lvl5pPr>
              <a:defRPr sz="1000"/>
            </a:lvl5pPr>
          </a:lstStyle>
          <a:p>
            <a:pPr lvl="0"/>
            <a:r>
              <a:rPr lang="de-DE"/>
              <a:t>Mastertextformat bearbeiten</a:t>
            </a:r>
          </a:p>
          <a:p>
            <a:pPr lvl="1"/>
            <a:r>
              <a:rPr lang="de-DE"/>
              <a:t>Zweite Ebene</a:t>
            </a:r>
          </a:p>
        </p:txBody>
      </p:sp>
      <p:sp>
        <p:nvSpPr>
          <p:cNvPr id="31" name="Textplatzhalter 28">
            <a:extLst>
              <a:ext uri="{FF2B5EF4-FFF2-40B4-BE49-F238E27FC236}">
                <a16:creationId xmlns:a16="http://schemas.microsoft.com/office/drawing/2014/main" id="{97A0462E-8688-4C3D-9841-2B06BCDC9B27}"/>
              </a:ext>
            </a:extLst>
          </p:cNvPr>
          <p:cNvSpPr>
            <a:spLocks noGrp="1"/>
          </p:cNvSpPr>
          <p:nvPr>
            <p:ph type="body" sz="quarter" idx="22"/>
          </p:nvPr>
        </p:nvSpPr>
        <p:spPr>
          <a:xfrm>
            <a:off x="5867081" y="4137819"/>
            <a:ext cx="2444058" cy="2165350"/>
          </a:xfrm>
          <a:prstGeom prst="rect">
            <a:avLst/>
          </a:prstGeom>
        </p:spPr>
        <p:txBody>
          <a:bodyPr/>
          <a:lstStyle>
            <a:lvl1pPr>
              <a:defRPr sz="1200">
                <a:latin typeface="M05 Text Office" panose="020B0504040000000004" pitchFamily="34" charset="0"/>
              </a:defRPr>
            </a:lvl1pPr>
            <a:lvl2pPr>
              <a:defRPr sz="1100">
                <a:latin typeface="M05 Text Office" panose="020B0504040000000004" pitchFamily="34" charset="0"/>
              </a:defRPr>
            </a:lvl2pPr>
            <a:lvl3pPr>
              <a:defRPr sz="1050"/>
            </a:lvl3pPr>
            <a:lvl4pPr>
              <a:defRPr sz="1000"/>
            </a:lvl4pPr>
            <a:lvl5pPr>
              <a:defRPr sz="1000"/>
            </a:lvl5pPr>
          </a:lstStyle>
          <a:p>
            <a:pPr lvl="0"/>
            <a:r>
              <a:rPr lang="de-DE"/>
              <a:t>Mastertextformat bearbeiten</a:t>
            </a:r>
          </a:p>
          <a:p>
            <a:pPr lvl="1"/>
            <a:r>
              <a:rPr lang="de-DE"/>
              <a:t>Zweite Ebene</a:t>
            </a:r>
          </a:p>
        </p:txBody>
      </p:sp>
      <p:sp>
        <p:nvSpPr>
          <p:cNvPr id="32" name="Textplatzhalter 28">
            <a:extLst>
              <a:ext uri="{FF2B5EF4-FFF2-40B4-BE49-F238E27FC236}">
                <a16:creationId xmlns:a16="http://schemas.microsoft.com/office/drawing/2014/main" id="{E55AE135-C229-48E2-A97F-5363F7178BD2}"/>
              </a:ext>
            </a:extLst>
          </p:cNvPr>
          <p:cNvSpPr>
            <a:spLocks noGrp="1"/>
          </p:cNvSpPr>
          <p:nvPr>
            <p:ph type="body" sz="quarter" idx="23"/>
          </p:nvPr>
        </p:nvSpPr>
        <p:spPr>
          <a:xfrm>
            <a:off x="8621050" y="4137819"/>
            <a:ext cx="2443826" cy="2165350"/>
          </a:xfrm>
          <a:prstGeom prst="rect">
            <a:avLst/>
          </a:prstGeom>
        </p:spPr>
        <p:txBody>
          <a:bodyPr/>
          <a:lstStyle>
            <a:lvl1pPr>
              <a:defRPr sz="1200">
                <a:latin typeface="M05 Text Office" panose="020B0504040000000004" pitchFamily="34" charset="0"/>
              </a:defRPr>
            </a:lvl1pPr>
            <a:lvl2pPr>
              <a:defRPr sz="1100">
                <a:latin typeface="M05 Text Office" panose="020B0504040000000004" pitchFamily="34" charset="0"/>
              </a:defRPr>
            </a:lvl2pPr>
            <a:lvl3pPr>
              <a:defRPr sz="1050"/>
            </a:lvl3pPr>
            <a:lvl4pPr>
              <a:defRPr sz="1000"/>
            </a:lvl4pPr>
            <a:lvl5pPr>
              <a:defRPr sz="1000"/>
            </a:lvl5pPr>
          </a:lstStyle>
          <a:p>
            <a:pPr lvl="0"/>
            <a:r>
              <a:rPr lang="de-DE"/>
              <a:t>Mastertextformat bearbeiten</a:t>
            </a:r>
          </a:p>
          <a:p>
            <a:pPr lvl="1"/>
            <a:r>
              <a:rPr lang="de-DE"/>
              <a:t>Zweite Ebene</a:t>
            </a:r>
          </a:p>
        </p:txBody>
      </p:sp>
      <p:pic>
        <p:nvPicPr>
          <p:cNvPr id="35" name="Grafik 34">
            <a:extLst>
              <a:ext uri="{FF2B5EF4-FFF2-40B4-BE49-F238E27FC236}">
                <a16:creationId xmlns:a16="http://schemas.microsoft.com/office/drawing/2014/main" id="{D7E673A1-A893-4459-B6D7-EC1ED49AC8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3109677" y="1880004"/>
            <a:ext cx="2484000" cy="259272"/>
          </a:xfrm>
          <a:prstGeom prst="rect">
            <a:avLst/>
          </a:prstGeom>
        </p:spPr>
      </p:pic>
      <p:sp>
        <p:nvSpPr>
          <p:cNvPr id="36" name="Textplatzhalter 18">
            <a:extLst>
              <a:ext uri="{FF2B5EF4-FFF2-40B4-BE49-F238E27FC236}">
                <a16:creationId xmlns:a16="http://schemas.microsoft.com/office/drawing/2014/main" id="{0B785BEC-6D30-4685-8145-695BA3B8CA6B}"/>
              </a:ext>
            </a:extLst>
          </p:cNvPr>
          <p:cNvSpPr>
            <a:spLocks noGrp="1"/>
          </p:cNvSpPr>
          <p:nvPr>
            <p:ph type="body" sz="quarter" idx="17" hasCustomPrompt="1"/>
          </p:nvPr>
        </p:nvSpPr>
        <p:spPr>
          <a:xfrm>
            <a:off x="3109677" y="1880004"/>
            <a:ext cx="2448000" cy="245247"/>
          </a:xfrm>
          <a:prstGeom prst="rect">
            <a:avLst/>
          </a:prstGeom>
        </p:spPr>
        <p:txBody>
          <a:bodyPr lIns="37440" tIns="45720" rIns="37440" bIns="45720"/>
          <a:lstStyle>
            <a:lvl1pPr marL="0" indent="0">
              <a:buNone/>
              <a:defRPr sz="1200" b="1">
                <a:latin typeface="M05 Text Office" panose="020B0504040000000004" pitchFamily="34" charset="0"/>
              </a:defRPr>
            </a:lvl1pPr>
          </a:lstStyle>
          <a:p>
            <a:pPr lvl="0"/>
            <a:r>
              <a:rPr lang="de-DE"/>
              <a:t>Bildbeschriftung</a:t>
            </a:r>
          </a:p>
        </p:txBody>
      </p:sp>
      <p:pic>
        <p:nvPicPr>
          <p:cNvPr id="37" name="Grafik 36">
            <a:extLst>
              <a:ext uri="{FF2B5EF4-FFF2-40B4-BE49-F238E27FC236}">
                <a16:creationId xmlns:a16="http://schemas.microsoft.com/office/drawing/2014/main" id="{F112F03E-9877-47BB-A8BD-A419438C23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5863414" y="1880004"/>
            <a:ext cx="2484000" cy="259272"/>
          </a:xfrm>
          <a:prstGeom prst="rect">
            <a:avLst/>
          </a:prstGeom>
        </p:spPr>
      </p:pic>
      <p:sp>
        <p:nvSpPr>
          <p:cNvPr id="38" name="Textplatzhalter 18">
            <a:extLst>
              <a:ext uri="{FF2B5EF4-FFF2-40B4-BE49-F238E27FC236}">
                <a16:creationId xmlns:a16="http://schemas.microsoft.com/office/drawing/2014/main" id="{81F2D84D-5C35-41D0-B573-4DF446EDC7B6}"/>
              </a:ext>
            </a:extLst>
          </p:cNvPr>
          <p:cNvSpPr>
            <a:spLocks noGrp="1"/>
          </p:cNvSpPr>
          <p:nvPr>
            <p:ph type="body" sz="quarter" idx="18" hasCustomPrompt="1"/>
          </p:nvPr>
        </p:nvSpPr>
        <p:spPr>
          <a:xfrm>
            <a:off x="5863414" y="1880004"/>
            <a:ext cx="2448000" cy="245247"/>
          </a:xfrm>
          <a:prstGeom prst="rect">
            <a:avLst/>
          </a:prstGeom>
        </p:spPr>
        <p:txBody>
          <a:bodyPr lIns="37440" tIns="45720" rIns="37440" bIns="45720"/>
          <a:lstStyle>
            <a:lvl1pPr marL="0" indent="0">
              <a:buNone/>
              <a:defRPr sz="1200" b="1">
                <a:latin typeface="M05 Text Office" panose="020B0504040000000004" pitchFamily="34" charset="0"/>
              </a:defRPr>
            </a:lvl1pPr>
          </a:lstStyle>
          <a:p>
            <a:pPr lvl="0"/>
            <a:r>
              <a:rPr lang="de-DE"/>
              <a:t>Bildbeschriftung</a:t>
            </a:r>
          </a:p>
        </p:txBody>
      </p:sp>
      <p:pic>
        <p:nvPicPr>
          <p:cNvPr id="39" name="Grafik 38">
            <a:extLst>
              <a:ext uri="{FF2B5EF4-FFF2-40B4-BE49-F238E27FC236}">
                <a16:creationId xmlns:a16="http://schemas.microsoft.com/office/drawing/2014/main" id="{97BBFB97-9780-4D58-8102-6CEF6BB194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8608049" y="1880004"/>
            <a:ext cx="2484000" cy="259272"/>
          </a:xfrm>
          <a:prstGeom prst="rect">
            <a:avLst/>
          </a:prstGeom>
        </p:spPr>
      </p:pic>
      <p:sp>
        <p:nvSpPr>
          <p:cNvPr id="40" name="Textplatzhalter 18">
            <a:extLst>
              <a:ext uri="{FF2B5EF4-FFF2-40B4-BE49-F238E27FC236}">
                <a16:creationId xmlns:a16="http://schemas.microsoft.com/office/drawing/2014/main" id="{3F2D81B7-9C51-434B-9A69-E6DB4DD8A8D1}"/>
              </a:ext>
            </a:extLst>
          </p:cNvPr>
          <p:cNvSpPr>
            <a:spLocks noGrp="1"/>
          </p:cNvSpPr>
          <p:nvPr>
            <p:ph type="body" sz="quarter" idx="19" hasCustomPrompt="1"/>
          </p:nvPr>
        </p:nvSpPr>
        <p:spPr>
          <a:xfrm>
            <a:off x="8608049" y="1880004"/>
            <a:ext cx="2448000" cy="245247"/>
          </a:xfrm>
          <a:prstGeom prst="rect">
            <a:avLst/>
          </a:prstGeom>
        </p:spPr>
        <p:txBody>
          <a:bodyPr lIns="37440" tIns="45720" rIns="37440" bIns="45720"/>
          <a:lstStyle>
            <a:lvl1pPr marL="0" indent="0">
              <a:buNone/>
              <a:defRPr sz="1200" b="1">
                <a:latin typeface="M05 Text Office" panose="020B0504040000000004" pitchFamily="34" charset="0"/>
              </a:defRPr>
            </a:lvl1pPr>
          </a:lstStyle>
          <a:p>
            <a:pPr lvl="0"/>
            <a:r>
              <a:rPr lang="de-DE"/>
              <a:t>Bildbeschriftung</a:t>
            </a:r>
          </a:p>
        </p:txBody>
      </p:sp>
      <p:pic>
        <p:nvPicPr>
          <p:cNvPr id="41" name="Grafik 40">
            <a:extLst>
              <a:ext uri="{FF2B5EF4-FFF2-40B4-BE49-F238E27FC236}">
                <a16:creationId xmlns:a16="http://schemas.microsoft.com/office/drawing/2014/main" id="{07E21E62-D117-41C6-B213-8724BAC8D9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347655" y="1880004"/>
            <a:ext cx="2484000" cy="259272"/>
          </a:xfrm>
          <a:prstGeom prst="rect">
            <a:avLst/>
          </a:prstGeom>
        </p:spPr>
      </p:pic>
      <p:sp>
        <p:nvSpPr>
          <p:cNvPr id="42" name="Textplatzhalter 18">
            <a:extLst>
              <a:ext uri="{FF2B5EF4-FFF2-40B4-BE49-F238E27FC236}">
                <a16:creationId xmlns:a16="http://schemas.microsoft.com/office/drawing/2014/main" id="{3E56BAB2-D13E-4DBA-B619-03CBC74513D1}"/>
              </a:ext>
            </a:extLst>
          </p:cNvPr>
          <p:cNvSpPr>
            <a:spLocks noGrp="1"/>
          </p:cNvSpPr>
          <p:nvPr>
            <p:ph type="body" sz="quarter" idx="16" hasCustomPrompt="1"/>
          </p:nvPr>
        </p:nvSpPr>
        <p:spPr>
          <a:xfrm>
            <a:off x="347656" y="1880004"/>
            <a:ext cx="2448000" cy="245247"/>
          </a:xfrm>
          <a:prstGeom prst="rect">
            <a:avLst/>
          </a:prstGeom>
        </p:spPr>
        <p:txBody>
          <a:bodyPr lIns="37440" tIns="45720" rIns="37440" bIns="45720"/>
          <a:lstStyle>
            <a:lvl1pPr marL="0" indent="0">
              <a:buNone/>
              <a:defRPr sz="1200" b="1">
                <a:latin typeface="M05 Text Office" panose="020B0504040000000004" pitchFamily="34" charset="0"/>
              </a:defRPr>
            </a:lvl1pPr>
          </a:lstStyle>
          <a:p>
            <a:pPr lvl="0"/>
            <a:r>
              <a:rPr lang="de-DE"/>
              <a:t>Bildbeschriftung</a:t>
            </a:r>
          </a:p>
        </p:txBody>
      </p:sp>
      <p:sp>
        <p:nvSpPr>
          <p:cNvPr id="2" name="Titel 1">
            <a:extLst>
              <a:ext uri="{FF2B5EF4-FFF2-40B4-BE49-F238E27FC236}">
                <a16:creationId xmlns:a16="http://schemas.microsoft.com/office/drawing/2014/main" id="{28D5AA2D-BF91-4ECF-9E38-83BD85C66215}"/>
              </a:ext>
            </a:extLst>
          </p:cNvPr>
          <p:cNvSpPr>
            <a:spLocks noGrp="1"/>
          </p:cNvSpPr>
          <p:nvPr>
            <p:ph type="title"/>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23" name="Foliennummernplatzhalter 52">
            <a:extLst>
              <a:ext uri="{FF2B5EF4-FFF2-40B4-BE49-F238E27FC236}">
                <a16:creationId xmlns:a16="http://schemas.microsoft.com/office/drawing/2014/main" id="{04CC1516-E6C7-4BE4-AAB5-3F9A7BD7504C}"/>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22" name="Textplatzhalter 3">
            <a:extLst>
              <a:ext uri="{FF2B5EF4-FFF2-40B4-BE49-F238E27FC236}">
                <a16:creationId xmlns:a16="http://schemas.microsoft.com/office/drawing/2014/main" id="{E9E5BB0E-C5DF-4B56-9A11-F78FEFDD21DA}"/>
              </a:ext>
            </a:extLst>
          </p:cNvPr>
          <p:cNvSpPr>
            <a:spLocks noGrp="1"/>
          </p:cNvSpPr>
          <p:nvPr>
            <p:ph type="body" sz="quarter" idx="24"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Tree>
    <p:extLst>
      <p:ext uri="{BB962C8B-B14F-4D97-AF65-F5344CB8AC3E}">
        <p14:creationId xmlns:p14="http://schemas.microsoft.com/office/powerpoint/2010/main" val="3598637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 Bildfelder &amp; Text">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74EFF176-1E31-47F4-8480-DDF0D6B15F35}"/>
              </a:ext>
            </a:extLst>
          </p:cNvPr>
          <p:cNvSpPr>
            <a:spLocks noGrp="1"/>
          </p:cNvSpPr>
          <p:nvPr>
            <p:ph type="pic" sz="quarter" idx="10"/>
          </p:nvPr>
        </p:nvSpPr>
        <p:spPr>
          <a:xfrm>
            <a:off x="347657" y="2254689"/>
            <a:ext cx="1954968" cy="1445668"/>
          </a:xfrm>
          <a:prstGeom prst="rect">
            <a:avLst/>
          </a:prstGeom>
          <a:solidFill>
            <a:schemeClr val="accent2"/>
          </a:solidFill>
        </p:spPr>
        <p:txBody>
          <a:bodyPr/>
          <a:lstStyle/>
          <a:p>
            <a:r>
              <a:rPr lang="de-DE"/>
              <a:t>Bild durch Klicken auf Symbol hinzufügen</a:t>
            </a:r>
          </a:p>
        </p:txBody>
      </p:sp>
      <p:sp>
        <p:nvSpPr>
          <p:cNvPr id="29" name="Textplatzhalter 28">
            <a:extLst>
              <a:ext uri="{FF2B5EF4-FFF2-40B4-BE49-F238E27FC236}">
                <a16:creationId xmlns:a16="http://schemas.microsoft.com/office/drawing/2014/main" id="{7C4F5B9E-69F6-4B9A-9494-99F310BB0EE4}"/>
              </a:ext>
            </a:extLst>
          </p:cNvPr>
          <p:cNvSpPr>
            <a:spLocks noGrp="1"/>
          </p:cNvSpPr>
          <p:nvPr>
            <p:ph type="body" sz="quarter" idx="20"/>
          </p:nvPr>
        </p:nvSpPr>
        <p:spPr>
          <a:xfrm>
            <a:off x="350839" y="3851856"/>
            <a:ext cx="1952020" cy="2149933"/>
          </a:xfrm>
          <a:prstGeom prst="rect">
            <a:avLst/>
          </a:prstGeom>
        </p:spPr>
        <p:txBody>
          <a:bodyPr/>
          <a:lstStyle>
            <a:lvl1pPr>
              <a:defRPr sz="1200"/>
            </a:lvl1pPr>
            <a:lvl2pPr>
              <a:defRPr sz="1100"/>
            </a:lvl2pPr>
            <a:lvl3pPr>
              <a:defRPr sz="1050"/>
            </a:lvl3pPr>
            <a:lvl4pPr>
              <a:defRPr sz="1000"/>
            </a:lvl4pPr>
            <a:lvl5pPr>
              <a:defRPr sz="1000"/>
            </a:lvl5pPr>
          </a:lstStyle>
          <a:p>
            <a:pPr lvl="0"/>
            <a:r>
              <a:rPr lang="de-DE"/>
              <a:t>Mastertextformat bearbeiten</a:t>
            </a:r>
          </a:p>
          <a:p>
            <a:pPr lvl="1"/>
            <a:r>
              <a:rPr lang="de-DE"/>
              <a:t>Zweite Ebene</a:t>
            </a:r>
          </a:p>
        </p:txBody>
      </p:sp>
      <p:pic>
        <p:nvPicPr>
          <p:cNvPr id="41" name="Grafik 40">
            <a:extLst>
              <a:ext uri="{FF2B5EF4-FFF2-40B4-BE49-F238E27FC236}">
                <a16:creationId xmlns:a16="http://schemas.microsoft.com/office/drawing/2014/main" id="{07E21E62-D117-41C6-B213-8724BAC8D9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347655" y="1880004"/>
            <a:ext cx="1954970" cy="223186"/>
          </a:xfrm>
          <a:prstGeom prst="rect">
            <a:avLst/>
          </a:prstGeom>
        </p:spPr>
      </p:pic>
      <p:sp>
        <p:nvSpPr>
          <p:cNvPr id="42" name="Textplatzhalter 18">
            <a:extLst>
              <a:ext uri="{FF2B5EF4-FFF2-40B4-BE49-F238E27FC236}">
                <a16:creationId xmlns:a16="http://schemas.microsoft.com/office/drawing/2014/main" id="{3E56BAB2-D13E-4DBA-B619-03CBC74513D1}"/>
              </a:ext>
            </a:extLst>
          </p:cNvPr>
          <p:cNvSpPr>
            <a:spLocks noGrp="1"/>
          </p:cNvSpPr>
          <p:nvPr>
            <p:ph type="body" sz="quarter" idx="16" hasCustomPrompt="1"/>
          </p:nvPr>
        </p:nvSpPr>
        <p:spPr>
          <a:xfrm>
            <a:off x="347657" y="1880004"/>
            <a:ext cx="1957736" cy="211113"/>
          </a:xfrm>
          <a:prstGeom prst="rect">
            <a:avLst/>
          </a:prstGeom>
        </p:spPr>
        <p:txBody>
          <a:bodyPr lIns="37440" tIns="45720" rIns="37440" bIns="45720"/>
          <a:lstStyle>
            <a:lvl1pPr marL="0" indent="0">
              <a:buNone/>
              <a:defRPr sz="1200" b="1"/>
            </a:lvl1pPr>
          </a:lstStyle>
          <a:p>
            <a:pPr lvl="0"/>
            <a:r>
              <a:rPr lang="de-DE"/>
              <a:t>Bildbeschriftung</a:t>
            </a:r>
          </a:p>
        </p:txBody>
      </p:sp>
      <p:sp>
        <p:nvSpPr>
          <p:cNvPr id="2" name="Titel 1">
            <a:extLst>
              <a:ext uri="{FF2B5EF4-FFF2-40B4-BE49-F238E27FC236}">
                <a16:creationId xmlns:a16="http://schemas.microsoft.com/office/drawing/2014/main" id="{28D5AA2D-BF91-4ECF-9E38-83BD85C66215}"/>
              </a:ext>
            </a:extLst>
          </p:cNvPr>
          <p:cNvSpPr>
            <a:spLocks noGrp="1"/>
          </p:cNvSpPr>
          <p:nvPr>
            <p:ph type="title"/>
          </p:nvPr>
        </p:nvSpPr>
        <p:spPr>
          <a:xfrm>
            <a:off x="330201" y="550151"/>
            <a:ext cx="10728000" cy="702000"/>
          </a:xfrm>
        </p:spPr>
        <p:txBody>
          <a:bodyPr/>
          <a:lstStyle/>
          <a:p>
            <a:r>
              <a:rPr lang="de-DE"/>
              <a:t>Mastertitelformat bearbeiten</a:t>
            </a:r>
          </a:p>
        </p:txBody>
      </p:sp>
      <p:sp>
        <p:nvSpPr>
          <p:cNvPr id="23" name="Foliennummernplatzhalter 52">
            <a:extLst>
              <a:ext uri="{FF2B5EF4-FFF2-40B4-BE49-F238E27FC236}">
                <a16:creationId xmlns:a16="http://schemas.microsoft.com/office/drawing/2014/main" id="{04CC1516-E6C7-4BE4-AAB5-3F9A7BD7504C}"/>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defRPr>
            </a:lvl1pPr>
          </a:lstStyle>
          <a:p>
            <a:r>
              <a:rPr lang="de-DE"/>
              <a:t>Seite </a:t>
            </a:r>
            <a:fld id="{A8D1AB97-F97B-4190-BD45-5A4F2F283CBD}" type="slidenum">
              <a:rPr lang="de-DE" smtClean="0"/>
              <a:pPr/>
              <a:t>‹Nr.›</a:t>
            </a:fld>
            <a:endParaRPr lang="de-DE"/>
          </a:p>
        </p:txBody>
      </p:sp>
      <p:sp>
        <p:nvSpPr>
          <p:cNvPr id="22" name="Textplatzhalter 3">
            <a:extLst>
              <a:ext uri="{FF2B5EF4-FFF2-40B4-BE49-F238E27FC236}">
                <a16:creationId xmlns:a16="http://schemas.microsoft.com/office/drawing/2014/main" id="{E9E5BB0E-C5DF-4B56-9A11-F78FEFDD21DA}"/>
              </a:ext>
            </a:extLst>
          </p:cNvPr>
          <p:cNvSpPr>
            <a:spLocks noGrp="1"/>
          </p:cNvSpPr>
          <p:nvPr>
            <p:ph type="body" sz="quarter" idx="24" hasCustomPrompt="1"/>
          </p:nvPr>
        </p:nvSpPr>
        <p:spPr>
          <a:xfrm>
            <a:off x="330201" y="168743"/>
            <a:ext cx="8978717" cy="277200"/>
          </a:xfrm>
          <a:prstGeom prst="rect">
            <a:avLst/>
          </a:prstGeom>
        </p:spPr>
        <p:txBody>
          <a:bodyPr lIns="0" tIns="0" rIns="0" bIns="0" anchor="ctr"/>
          <a:lstStyle>
            <a:lvl1pPr marL="0" indent="0">
              <a:buNone/>
              <a:defRPr sz="1200" b="1" cap="all" baseline="0"/>
            </a:lvl1pPr>
          </a:lstStyle>
          <a:p>
            <a:pPr lvl="0"/>
            <a:r>
              <a:rPr lang="de-DE"/>
              <a:t>Sachtitel M05 Text Regular 12 PT in </a:t>
            </a:r>
            <a:r>
              <a:rPr lang="de-DE" err="1"/>
              <a:t>Grossbuchstaben</a:t>
            </a:r>
            <a:endParaRPr lang="de-DE"/>
          </a:p>
        </p:txBody>
      </p:sp>
      <p:sp>
        <p:nvSpPr>
          <p:cNvPr id="45" name="Bildplatzhalter 3">
            <a:extLst>
              <a:ext uri="{FF2B5EF4-FFF2-40B4-BE49-F238E27FC236}">
                <a16:creationId xmlns:a16="http://schemas.microsoft.com/office/drawing/2014/main" id="{1BDF0B43-D132-442E-A6DD-EA9328B589C6}"/>
              </a:ext>
            </a:extLst>
          </p:cNvPr>
          <p:cNvSpPr>
            <a:spLocks noGrp="1"/>
          </p:cNvSpPr>
          <p:nvPr>
            <p:ph type="pic" sz="quarter" idx="25"/>
          </p:nvPr>
        </p:nvSpPr>
        <p:spPr>
          <a:xfrm>
            <a:off x="2530367" y="2254689"/>
            <a:ext cx="1954968" cy="1445668"/>
          </a:xfrm>
          <a:prstGeom prst="rect">
            <a:avLst/>
          </a:prstGeom>
          <a:solidFill>
            <a:schemeClr val="accent2"/>
          </a:solidFill>
        </p:spPr>
        <p:txBody>
          <a:bodyPr/>
          <a:lstStyle/>
          <a:p>
            <a:r>
              <a:rPr lang="de-DE"/>
              <a:t>Bild durch Klicken auf Symbol hinzufügen</a:t>
            </a:r>
          </a:p>
        </p:txBody>
      </p:sp>
      <p:sp>
        <p:nvSpPr>
          <p:cNvPr id="46" name="Textplatzhalter 28">
            <a:extLst>
              <a:ext uri="{FF2B5EF4-FFF2-40B4-BE49-F238E27FC236}">
                <a16:creationId xmlns:a16="http://schemas.microsoft.com/office/drawing/2014/main" id="{14314247-3994-4E13-BA7B-1425ABBDD137}"/>
              </a:ext>
            </a:extLst>
          </p:cNvPr>
          <p:cNvSpPr>
            <a:spLocks noGrp="1"/>
          </p:cNvSpPr>
          <p:nvPr>
            <p:ph type="body" sz="quarter" idx="26"/>
          </p:nvPr>
        </p:nvSpPr>
        <p:spPr>
          <a:xfrm>
            <a:off x="2533549" y="3851856"/>
            <a:ext cx="1952020" cy="2149933"/>
          </a:xfrm>
          <a:prstGeom prst="rect">
            <a:avLst/>
          </a:prstGeom>
        </p:spPr>
        <p:txBody>
          <a:bodyPr/>
          <a:lstStyle>
            <a:lvl1pPr>
              <a:defRPr sz="1200"/>
            </a:lvl1pPr>
            <a:lvl2pPr>
              <a:defRPr sz="1100"/>
            </a:lvl2pPr>
            <a:lvl3pPr>
              <a:defRPr sz="1050"/>
            </a:lvl3pPr>
            <a:lvl4pPr>
              <a:defRPr sz="1000"/>
            </a:lvl4pPr>
            <a:lvl5pPr>
              <a:defRPr sz="1000"/>
            </a:lvl5pPr>
          </a:lstStyle>
          <a:p>
            <a:pPr lvl="0"/>
            <a:r>
              <a:rPr lang="de-DE"/>
              <a:t>Mastertextformat bearbeiten</a:t>
            </a:r>
          </a:p>
          <a:p>
            <a:pPr lvl="1"/>
            <a:r>
              <a:rPr lang="de-DE"/>
              <a:t>Zweite Ebene</a:t>
            </a:r>
          </a:p>
        </p:txBody>
      </p:sp>
      <p:pic>
        <p:nvPicPr>
          <p:cNvPr id="47" name="Grafik 46">
            <a:extLst>
              <a:ext uri="{FF2B5EF4-FFF2-40B4-BE49-F238E27FC236}">
                <a16:creationId xmlns:a16="http://schemas.microsoft.com/office/drawing/2014/main" id="{F304560B-B5A6-4FDC-9AD4-31D98E8CC1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2530365" y="1880004"/>
            <a:ext cx="1954970" cy="223186"/>
          </a:xfrm>
          <a:prstGeom prst="rect">
            <a:avLst/>
          </a:prstGeom>
        </p:spPr>
      </p:pic>
      <p:sp>
        <p:nvSpPr>
          <p:cNvPr id="48" name="Textplatzhalter 18">
            <a:extLst>
              <a:ext uri="{FF2B5EF4-FFF2-40B4-BE49-F238E27FC236}">
                <a16:creationId xmlns:a16="http://schemas.microsoft.com/office/drawing/2014/main" id="{97DCA366-2D59-4733-ABED-6D3D4D1A4A76}"/>
              </a:ext>
            </a:extLst>
          </p:cNvPr>
          <p:cNvSpPr>
            <a:spLocks noGrp="1"/>
          </p:cNvSpPr>
          <p:nvPr>
            <p:ph type="body" sz="quarter" idx="27" hasCustomPrompt="1"/>
          </p:nvPr>
        </p:nvSpPr>
        <p:spPr>
          <a:xfrm>
            <a:off x="2530367" y="1880004"/>
            <a:ext cx="1957736" cy="211113"/>
          </a:xfrm>
          <a:prstGeom prst="rect">
            <a:avLst/>
          </a:prstGeom>
        </p:spPr>
        <p:txBody>
          <a:bodyPr lIns="37440" tIns="45720" rIns="37440" bIns="45720"/>
          <a:lstStyle>
            <a:lvl1pPr marL="0" indent="0">
              <a:buNone/>
              <a:defRPr sz="1200" b="1"/>
            </a:lvl1pPr>
          </a:lstStyle>
          <a:p>
            <a:pPr lvl="0"/>
            <a:r>
              <a:rPr lang="de-DE"/>
              <a:t>Bildbeschriftung</a:t>
            </a:r>
          </a:p>
        </p:txBody>
      </p:sp>
      <p:sp>
        <p:nvSpPr>
          <p:cNvPr id="49" name="Bildplatzhalter 3">
            <a:extLst>
              <a:ext uri="{FF2B5EF4-FFF2-40B4-BE49-F238E27FC236}">
                <a16:creationId xmlns:a16="http://schemas.microsoft.com/office/drawing/2014/main" id="{21A85E02-09A7-4457-914E-7B334891AC36}"/>
              </a:ext>
            </a:extLst>
          </p:cNvPr>
          <p:cNvSpPr>
            <a:spLocks noGrp="1"/>
          </p:cNvSpPr>
          <p:nvPr>
            <p:ph type="pic" sz="quarter" idx="28"/>
          </p:nvPr>
        </p:nvSpPr>
        <p:spPr>
          <a:xfrm>
            <a:off x="4703266" y="2254689"/>
            <a:ext cx="1954968" cy="1445668"/>
          </a:xfrm>
          <a:prstGeom prst="rect">
            <a:avLst/>
          </a:prstGeom>
          <a:solidFill>
            <a:schemeClr val="accent2"/>
          </a:solidFill>
        </p:spPr>
        <p:txBody>
          <a:bodyPr/>
          <a:lstStyle/>
          <a:p>
            <a:r>
              <a:rPr lang="de-DE"/>
              <a:t>Bild durch Klicken auf Symbol hinzufügen</a:t>
            </a:r>
          </a:p>
        </p:txBody>
      </p:sp>
      <p:sp>
        <p:nvSpPr>
          <p:cNvPr id="50" name="Textplatzhalter 28">
            <a:extLst>
              <a:ext uri="{FF2B5EF4-FFF2-40B4-BE49-F238E27FC236}">
                <a16:creationId xmlns:a16="http://schemas.microsoft.com/office/drawing/2014/main" id="{EEBB0A0F-CF26-43A9-A777-23F7304A7F60}"/>
              </a:ext>
            </a:extLst>
          </p:cNvPr>
          <p:cNvSpPr>
            <a:spLocks noGrp="1"/>
          </p:cNvSpPr>
          <p:nvPr>
            <p:ph type="body" sz="quarter" idx="29"/>
          </p:nvPr>
        </p:nvSpPr>
        <p:spPr>
          <a:xfrm>
            <a:off x="4706448" y="3851856"/>
            <a:ext cx="1952020" cy="2149933"/>
          </a:xfrm>
          <a:prstGeom prst="rect">
            <a:avLst/>
          </a:prstGeom>
        </p:spPr>
        <p:txBody>
          <a:bodyPr/>
          <a:lstStyle>
            <a:lvl1pPr>
              <a:defRPr sz="1200"/>
            </a:lvl1pPr>
            <a:lvl2pPr>
              <a:defRPr sz="1100"/>
            </a:lvl2pPr>
            <a:lvl3pPr>
              <a:defRPr sz="1050"/>
            </a:lvl3pPr>
            <a:lvl4pPr>
              <a:defRPr sz="1000"/>
            </a:lvl4pPr>
            <a:lvl5pPr>
              <a:defRPr sz="1000"/>
            </a:lvl5pPr>
          </a:lstStyle>
          <a:p>
            <a:pPr lvl="0"/>
            <a:r>
              <a:rPr lang="de-DE"/>
              <a:t>Mastertextformat bearbeiten</a:t>
            </a:r>
          </a:p>
          <a:p>
            <a:pPr lvl="1"/>
            <a:r>
              <a:rPr lang="de-DE"/>
              <a:t>Zweite Ebene</a:t>
            </a:r>
          </a:p>
        </p:txBody>
      </p:sp>
      <p:pic>
        <p:nvPicPr>
          <p:cNvPr id="51" name="Grafik 50">
            <a:extLst>
              <a:ext uri="{FF2B5EF4-FFF2-40B4-BE49-F238E27FC236}">
                <a16:creationId xmlns:a16="http://schemas.microsoft.com/office/drawing/2014/main" id="{96B2C070-CE18-4CA8-93F1-3C47EBB009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4703264" y="1880004"/>
            <a:ext cx="1954970" cy="223186"/>
          </a:xfrm>
          <a:prstGeom prst="rect">
            <a:avLst/>
          </a:prstGeom>
        </p:spPr>
      </p:pic>
      <p:sp>
        <p:nvSpPr>
          <p:cNvPr id="52" name="Textplatzhalter 18">
            <a:extLst>
              <a:ext uri="{FF2B5EF4-FFF2-40B4-BE49-F238E27FC236}">
                <a16:creationId xmlns:a16="http://schemas.microsoft.com/office/drawing/2014/main" id="{897AAF4B-92B0-40AD-A19E-B95A7BB0B030}"/>
              </a:ext>
            </a:extLst>
          </p:cNvPr>
          <p:cNvSpPr>
            <a:spLocks noGrp="1"/>
          </p:cNvSpPr>
          <p:nvPr>
            <p:ph type="body" sz="quarter" idx="30" hasCustomPrompt="1"/>
          </p:nvPr>
        </p:nvSpPr>
        <p:spPr>
          <a:xfrm>
            <a:off x="4703266" y="1880004"/>
            <a:ext cx="1957736" cy="211113"/>
          </a:xfrm>
          <a:prstGeom prst="rect">
            <a:avLst/>
          </a:prstGeom>
        </p:spPr>
        <p:txBody>
          <a:bodyPr lIns="37440" tIns="45720" rIns="37440" bIns="45720"/>
          <a:lstStyle>
            <a:lvl1pPr marL="0" indent="0">
              <a:buNone/>
              <a:defRPr sz="1200" b="1"/>
            </a:lvl1pPr>
          </a:lstStyle>
          <a:p>
            <a:pPr lvl="0"/>
            <a:r>
              <a:rPr lang="de-DE"/>
              <a:t>Bildbeschriftung</a:t>
            </a:r>
          </a:p>
        </p:txBody>
      </p:sp>
      <p:sp>
        <p:nvSpPr>
          <p:cNvPr id="53" name="Bildplatzhalter 3">
            <a:extLst>
              <a:ext uri="{FF2B5EF4-FFF2-40B4-BE49-F238E27FC236}">
                <a16:creationId xmlns:a16="http://schemas.microsoft.com/office/drawing/2014/main" id="{CDD2967C-8B06-4DB9-95D9-FEA406B87F0C}"/>
              </a:ext>
            </a:extLst>
          </p:cNvPr>
          <p:cNvSpPr>
            <a:spLocks noGrp="1"/>
          </p:cNvSpPr>
          <p:nvPr>
            <p:ph type="pic" sz="quarter" idx="31"/>
          </p:nvPr>
        </p:nvSpPr>
        <p:spPr>
          <a:xfrm>
            <a:off x="6898928" y="2254689"/>
            <a:ext cx="1954968" cy="1445668"/>
          </a:xfrm>
          <a:prstGeom prst="rect">
            <a:avLst/>
          </a:prstGeom>
          <a:solidFill>
            <a:schemeClr val="accent2"/>
          </a:solidFill>
        </p:spPr>
        <p:txBody>
          <a:bodyPr/>
          <a:lstStyle/>
          <a:p>
            <a:r>
              <a:rPr lang="de-DE"/>
              <a:t>Bild durch Klicken auf Symbol hinzufügen</a:t>
            </a:r>
          </a:p>
        </p:txBody>
      </p:sp>
      <p:sp>
        <p:nvSpPr>
          <p:cNvPr id="54" name="Textplatzhalter 28">
            <a:extLst>
              <a:ext uri="{FF2B5EF4-FFF2-40B4-BE49-F238E27FC236}">
                <a16:creationId xmlns:a16="http://schemas.microsoft.com/office/drawing/2014/main" id="{B87AF151-0D8D-460B-B756-96AC70B83191}"/>
              </a:ext>
            </a:extLst>
          </p:cNvPr>
          <p:cNvSpPr>
            <a:spLocks noGrp="1"/>
          </p:cNvSpPr>
          <p:nvPr>
            <p:ph type="body" sz="quarter" idx="32"/>
          </p:nvPr>
        </p:nvSpPr>
        <p:spPr>
          <a:xfrm>
            <a:off x="6902110" y="3851856"/>
            <a:ext cx="1952020" cy="2149933"/>
          </a:xfrm>
          <a:prstGeom prst="rect">
            <a:avLst/>
          </a:prstGeom>
        </p:spPr>
        <p:txBody>
          <a:bodyPr/>
          <a:lstStyle>
            <a:lvl1pPr>
              <a:defRPr sz="1200"/>
            </a:lvl1pPr>
            <a:lvl2pPr>
              <a:defRPr sz="1100"/>
            </a:lvl2pPr>
            <a:lvl3pPr>
              <a:defRPr sz="1050"/>
            </a:lvl3pPr>
            <a:lvl4pPr>
              <a:defRPr sz="1000"/>
            </a:lvl4pPr>
            <a:lvl5pPr>
              <a:defRPr sz="1000"/>
            </a:lvl5pPr>
          </a:lstStyle>
          <a:p>
            <a:pPr lvl="0"/>
            <a:r>
              <a:rPr lang="de-DE"/>
              <a:t>Mastertextformat bearbeiten</a:t>
            </a:r>
          </a:p>
          <a:p>
            <a:pPr lvl="1"/>
            <a:r>
              <a:rPr lang="de-DE"/>
              <a:t>Zweite Ebene</a:t>
            </a:r>
          </a:p>
        </p:txBody>
      </p:sp>
      <p:pic>
        <p:nvPicPr>
          <p:cNvPr id="55" name="Grafik 54">
            <a:extLst>
              <a:ext uri="{FF2B5EF4-FFF2-40B4-BE49-F238E27FC236}">
                <a16:creationId xmlns:a16="http://schemas.microsoft.com/office/drawing/2014/main" id="{45B6C0CD-3C9D-43E8-9665-2CB931780B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6898926" y="1880004"/>
            <a:ext cx="1954970" cy="223186"/>
          </a:xfrm>
          <a:prstGeom prst="rect">
            <a:avLst/>
          </a:prstGeom>
        </p:spPr>
      </p:pic>
      <p:sp>
        <p:nvSpPr>
          <p:cNvPr id="56" name="Textplatzhalter 18">
            <a:extLst>
              <a:ext uri="{FF2B5EF4-FFF2-40B4-BE49-F238E27FC236}">
                <a16:creationId xmlns:a16="http://schemas.microsoft.com/office/drawing/2014/main" id="{B69182BB-45CB-4382-9FBB-AD5AA6B8DB04}"/>
              </a:ext>
            </a:extLst>
          </p:cNvPr>
          <p:cNvSpPr>
            <a:spLocks noGrp="1"/>
          </p:cNvSpPr>
          <p:nvPr>
            <p:ph type="body" sz="quarter" idx="33" hasCustomPrompt="1"/>
          </p:nvPr>
        </p:nvSpPr>
        <p:spPr>
          <a:xfrm>
            <a:off x="6898928" y="1880004"/>
            <a:ext cx="1957736" cy="211113"/>
          </a:xfrm>
          <a:prstGeom prst="rect">
            <a:avLst/>
          </a:prstGeom>
        </p:spPr>
        <p:txBody>
          <a:bodyPr lIns="37440" tIns="45720" rIns="37440" bIns="45720"/>
          <a:lstStyle>
            <a:lvl1pPr marL="0" indent="0">
              <a:buNone/>
              <a:defRPr sz="1200" b="1"/>
            </a:lvl1pPr>
          </a:lstStyle>
          <a:p>
            <a:pPr lvl="0"/>
            <a:r>
              <a:rPr lang="de-DE"/>
              <a:t>Bildbeschriftung</a:t>
            </a:r>
          </a:p>
        </p:txBody>
      </p:sp>
      <p:sp>
        <p:nvSpPr>
          <p:cNvPr id="57" name="Bildplatzhalter 3">
            <a:extLst>
              <a:ext uri="{FF2B5EF4-FFF2-40B4-BE49-F238E27FC236}">
                <a16:creationId xmlns:a16="http://schemas.microsoft.com/office/drawing/2014/main" id="{1B3F8A3B-B02E-4F0B-8FBC-E0CE5E81808C}"/>
              </a:ext>
            </a:extLst>
          </p:cNvPr>
          <p:cNvSpPr>
            <a:spLocks noGrp="1"/>
          </p:cNvSpPr>
          <p:nvPr>
            <p:ph type="pic" sz="quarter" idx="34"/>
          </p:nvPr>
        </p:nvSpPr>
        <p:spPr>
          <a:xfrm>
            <a:off x="9100307" y="2254689"/>
            <a:ext cx="1954968" cy="1445668"/>
          </a:xfrm>
          <a:prstGeom prst="rect">
            <a:avLst/>
          </a:prstGeom>
          <a:solidFill>
            <a:schemeClr val="accent2"/>
          </a:solidFill>
        </p:spPr>
        <p:txBody>
          <a:bodyPr/>
          <a:lstStyle/>
          <a:p>
            <a:r>
              <a:rPr lang="de-DE"/>
              <a:t>Bild durch Klicken auf Symbol hinzufügen</a:t>
            </a:r>
          </a:p>
        </p:txBody>
      </p:sp>
      <p:sp>
        <p:nvSpPr>
          <p:cNvPr id="58" name="Textplatzhalter 28">
            <a:extLst>
              <a:ext uri="{FF2B5EF4-FFF2-40B4-BE49-F238E27FC236}">
                <a16:creationId xmlns:a16="http://schemas.microsoft.com/office/drawing/2014/main" id="{BF0A256D-ACF8-43FB-BBD5-311D95D6ABA2}"/>
              </a:ext>
            </a:extLst>
          </p:cNvPr>
          <p:cNvSpPr>
            <a:spLocks noGrp="1"/>
          </p:cNvSpPr>
          <p:nvPr>
            <p:ph type="body" sz="quarter" idx="35"/>
          </p:nvPr>
        </p:nvSpPr>
        <p:spPr>
          <a:xfrm>
            <a:off x="9103489" y="3851856"/>
            <a:ext cx="1952020" cy="2149933"/>
          </a:xfrm>
          <a:prstGeom prst="rect">
            <a:avLst/>
          </a:prstGeom>
        </p:spPr>
        <p:txBody>
          <a:bodyPr/>
          <a:lstStyle>
            <a:lvl1pPr>
              <a:defRPr sz="1200"/>
            </a:lvl1pPr>
            <a:lvl2pPr>
              <a:defRPr sz="1100"/>
            </a:lvl2pPr>
            <a:lvl3pPr>
              <a:defRPr sz="1050"/>
            </a:lvl3pPr>
            <a:lvl4pPr>
              <a:defRPr sz="1000"/>
            </a:lvl4pPr>
            <a:lvl5pPr>
              <a:defRPr sz="1000"/>
            </a:lvl5pPr>
          </a:lstStyle>
          <a:p>
            <a:pPr lvl="0"/>
            <a:r>
              <a:rPr lang="de-DE"/>
              <a:t>Mastertextformat bearbeiten</a:t>
            </a:r>
          </a:p>
          <a:p>
            <a:pPr lvl="1"/>
            <a:r>
              <a:rPr lang="de-DE"/>
              <a:t>Zweite Ebene</a:t>
            </a:r>
          </a:p>
        </p:txBody>
      </p:sp>
      <p:pic>
        <p:nvPicPr>
          <p:cNvPr id="59" name="Grafik 58">
            <a:extLst>
              <a:ext uri="{FF2B5EF4-FFF2-40B4-BE49-F238E27FC236}">
                <a16:creationId xmlns:a16="http://schemas.microsoft.com/office/drawing/2014/main" id="{C22039B6-6AE4-4193-B2FC-B35B4E4E86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9100305" y="1880004"/>
            <a:ext cx="1954970" cy="223186"/>
          </a:xfrm>
          <a:prstGeom prst="rect">
            <a:avLst/>
          </a:prstGeom>
        </p:spPr>
      </p:pic>
      <p:sp>
        <p:nvSpPr>
          <p:cNvPr id="60" name="Textplatzhalter 18">
            <a:extLst>
              <a:ext uri="{FF2B5EF4-FFF2-40B4-BE49-F238E27FC236}">
                <a16:creationId xmlns:a16="http://schemas.microsoft.com/office/drawing/2014/main" id="{8B20AD91-D1D9-4A6F-BC63-18F0E7AD3F34}"/>
              </a:ext>
            </a:extLst>
          </p:cNvPr>
          <p:cNvSpPr>
            <a:spLocks noGrp="1"/>
          </p:cNvSpPr>
          <p:nvPr>
            <p:ph type="body" sz="quarter" idx="36" hasCustomPrompt="1"/>
          </p:nvPr>
        </p:nvSpPr>
        <p:spPr>
          <a:xfrm>
            <a:off x="9100307" y="1880004"/>
            <a:ext cx="1957736" cy="211113"/>
          </a:xfrm>
          <a:prstGeom prst="rect">
            <a:avLst/>
          </a:prstGeom>
        </p:spPr>
        <p:txBody>
          <a:bodyPr lIns="37440" tIns="45720" rIns="37440" bIns="45720"/>
          <a:lstStyle>
            <a:lvl1pPr marL="0" indent="0">
              <a:buNone/>
              <a:defRPr sz="1200" b="1"/>
            </a:lvl1pPr>
          </a:lstStyle>
          <a:p>
            <a:pPr lvl="0"/>
            <a:r>
              <a:rPr lang="de-DE"/>
              <a:t>Bildbeschriftung</a:t>
            </a:r>
          </a:p>
        </p:txBody>
      </p:sp>
    </p:spTree>
    <p:extLst>
      <p:ext uri="{BB962C8B-B14F-4D97-AF65-F5344CB8AC3E}">
        <p14:creationId xmlns:p14="http://schemas.microsoft.com/office/powerpoint/2010/main" val="26116465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 Bildfelder &amp; Text">
    <p:spTree>
      <p:nvGrpSpPr>
        <p:cNvPr id="1" name=""/>
        <p:cNvGrpSpPr/>
        <p:nvPr/>
      </p:nvGrpSpPr>
      <p:grpSpPr>
        <a:xfrm>
          <a:off x="0" y="0"/>
          <a:ext cx="0" cy="0"/>
          <a:chOff x="0" y="0"/>
          <a:chExt cx="0" cy="0"/>
        </a:xfrm>
      </p:grpSpPr>
      <p:pic>
        <p:nvPicPr>
          <p:cNvPr id="29" name="Grafik 28">
            <a:extLst>
              <a:ext uri="{FF2B5EF4-FFF2-40B4-BE49-F238E27FC236}">
                <a16:creationId xmlns:a16="http://schemas.microsoft.com/office/drawing/2014/main" id="{35DE6D8F-B25D-4C09-A507-38579E7D57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333566" y="1876665"/>
            <a:ext cx="1707841" cy="245248"/>
          </a:xfrm>
          <a:prstGeom prst="rect">
            <a:avLst/>
          </a:prstGeom>
        </p:spPr>
      </p:pic>
      <p:sp>
        <p:nvSpPr>
          <p:cNvPr id="2" name="Titel 1">
            <a:extLst>
              <a:ext uri="{FF2B5EF4-FFF2-40B4-BE49-F238E27FC236}">
                <a16:creationId xmlns:a16="http://schemas.microsoft.com/office/drawing/2014/main" id="{28D5AA2D-BF91-4ECF-9E38-83BD85C66215}"/>
              </a:ext>
            </a:extLst>
          </p:cNvPr>
          <p:cNvSpPr>
            <a:spLocks noGrp="1"/>
          </p:cNvSpPr>
          <p:nvPr>
            <p:ph type="title"/>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23" name="Foliennummernplatzhalter 52">
            <a:extLst>
              <a:ext uri="{FF2B5EF4-FFF2-40B4-BE49-F238E27FC236}">
                <a16:creationId xmlns:a16="http://schemas.microsoft.com/office/drawing/2014/main" id="{04CC1516-E6C7-4BE4-AAB5-3F9A7BD7504C}"/>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22" name="Textplatzhalter 3">
            <a:extLst>
              <a:ext uri="{FF2B5EF4-FFF2-40B4-BE49-F238E27FC236}">
                <a16:creationId xmlns:a16="http://schemas.microsoft.com/office/drawing/2014/main" id="{E9E5BB0E-C5DF-4B56-9A11-F78FEFDD21DA}"/>
              </a:ext>
            </a:extLst>
          </p:cNvPr>
          <p:cNvSpPr>
            <a:spLocks noGrp="1"/>
          </p:cNvSpPr>
          <p:nvPr>
            <p:ph type="body" sz="quarter" idx="24"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65" name="Bildplatzhalter 3">
            <a:extLst>
              <a:ext uri="{FF2B5EF4-FFF2-40B4-BE49-F238E27FC236}">
                <a16:creationId xmlns:a16="http://schemas.microsoft.com/office/drawing/2014/main" id="{5BCDCC00-DCD4-4620-B582-005F2B79E197}"/>
              </a:ext>
            </a:extLst>
          </p:cNvPr>
          <p:cNvSpPr>
            <a:spLocks noGrp="1"/>
          </p:cNvSpPr>
          <p:nvPr>
            <p:ph type="pic" sz="quarter" idx="46"/>
          </p:nvPr>
        </p:nvSpPr>
        <p:spPr>
          <a:xfrm>
            <a:off x="333539" y="2254689"/>
            <a:ext cx="1706280" cy="1679414"/>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66" name="Textplatzhalter 28">
            <a:extLst>
              <a:ext uri="{FF2B5EF4-FFF2-40B4-BE49-F238E27FC236}">
                <a16:creationId xmlns:a16="http://schemas.microsoft.com/office/drawing/2014/main" id="{9E3F9453-5909-44AA-84D8-9DDD73F13C3E}"/>
              </a:ext>
            </a:extLst>
          </p:cNvPr>
          <p:cNvSpPr>
            <a:spLocks noGrp="1"/>
          </p:cNvSpPr>
          <p:nvPr>
            <p:ph type="body" sz="quarter" idx="47"/>
          </p:nvPr>
        </p:nvSpPr>
        <p:spPr>
          <a:xfrm>
            <a:off x="336105" y="4137819"/>
            <a:ext cx="1702178" cy="2165350"/>
          </a:xfrm>
          <a:prstGeom prst="rect">
            <a:avLst/>
          </a:prstGeom>
        </p:spPr>
        <p:txBody>
          <a:bodyPr/>
          <a:lstStyle>
            <a:lvl1pPr>
              <a:defRPr sz="1200">
                <a:latin typeface="M05 Text Office" panose="020B0504040000000004" pitchFamily="34" charset="0"/>
              </a:defRPr>
            </a:lvl1pPr>
            <a:lvl2pPr>
              <a:defRPr sz="1100">
                <a:latin typeface="M05 Text Office" panose="020B0504040000000004" pitchFamily="34" charset="0"/>
              </a:defRPr>
            </a:lvl2pPr>
            <a:lvl3pPr>
              <a:defRPr sz="1050"/>
            </a:lvl3pPr>
            <a:lvl4pPr>
              <a:defRPr sz="1000"/>
            </a:lvl4pPr>
            <a:lvl5pPr>
              <a:defRPr sz="1000"/>
            </a:lvl5pPr>
          </a:lstStyle>
          <a:p>
            <a:pPr lvl="0"/>
            <a:r>
              <a:rPr lang="de-DE"/>
              <a:t>Mastertextformat bearbeiten</a:t>
            </a:r>
          </a:p>
          <a:p>
            <a:pPr lvl="1"/>
            <a:r>
              <a:rPr lang="de-DE"/>
              <a:t>Zweite Ebene</a:t>
            </a:r>
          </a:p>
        </p:txBody>
      </p:sp>
      <p:sp>
        <p:nvSpPr>
          <p:cNvPr id="68" name="Textplatzhalter 18">
            <a:extLst>
              <a:ext uri="{FF2B5EF4-FFF2-40B4-BE49-F238E27FC236}">
                <a16:creationId xmlns:a16="http://schemas.microsoft.com/office/drawing/2014/main" id="{5E31AF4F-57E8-42BA-B13A-4A5A36BE7624}"/>
              </a:ext>
            </a:extLst>
          </p:cNvPr>
          <p:cNvSpPr>
            <a:spLocks noGrp="1"/>
          </p:cNvSpPr>
          <p:nvPr>
            <p:ph type="body" sz="quarter" idx="48" hasCustomPrompt="1"/>
          </p:nvPr>
        </p:nvSpPr>
        <p:spPr>
          <a:xfrm>
            <a:off x="334750" y="1876665"/>
            <a:ext cx="1706278" cy="245247"/>
          </a:xfrm>
          <a:prstGeom prst="rect">
            <a:avLst/>
          </a:prstGeom>
        </p:spPr>
        <p:txBody>
          <a:bodyPr lIns="37440" tIns="45720" rIns="37440" bIns="45720"/>
          <a:lstStyle>
            <a:lvl1pPr marL="0" indent="0">
              <a:buNone/>
              <a:defRPr sz="1100" b="1">
                <a:latin typeface="M05 Text Office" panose="020B0504040000000004" pitchFamily="34" charset="0"/>
              </a:defRPr>
            </a:lvl1pPr>
          </a:lstStyle>
          <a:p>
            <a:pPr lvl="0"/>
            <a:r>
              <a:rPr lang="de-DE"/>
              <a:t>Bildbeschriftung</a:t>
            </a:r>
          </a:p>
        </p:txBody>
      </p:sp>
      <p:sp>
        <p:nvSpPr>
          <p:cNvPr id="69" name="Bildplatzhalter 3">
            <a:extLst>
              <a:ext uri="{FF2B5EF4-FFF2-40B4-BE49-F238E27FC236}">
                <a16:creationId xmlns:a16="http://schemas.microsoft.com/office/drawing/2014/main" id="{847E7A05-97AC-4B3D-A599-C4DE4E54D357}"/>
              </a:ext>
            </a:extLst>
          </p:cNvPr>
          <p:cNvSpPr>
            <a:spLocks noGrp="1"/>
          </p:cNvSpPr>
          <p:nvPr>
            <p:ph type="pic" sz="quarter" idx="49"/>
          </p:nvPr>
        </p:nvSpPr>
        <p:spPr>
          <a:xfrm>
            <a:off x="2150616" y="2265997"/>
            <a:ext cx="1706280" cy="1679414"/>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70" name="Textplatzhalter 28">
            <a:extLst>
              <a:ext uri="{FF2B5EF4-FFF2-40B4-BE49-F238E27FC236}">
                <a16:creationId xmlns:a16="http://schemas.microsoft.com/office/drawing/2014/main" id="{A8447623-AEAA-444E-986E-8C7BBCA23CDB}"/>
              </a:ext>
            </a:extLst>
          </p:cNvPr>
          <p:cNvSpPr>
            <a:spLocks noGrp="1"/>
          </p:cNvSpPr>
          <p:nvPr>
            <p:ph type="body" sz="quarter" idx="50"/>
          </p:nvPr>
        </p:nvSpPr>
        <p:spPr>
          <a:xfrm>
            <a:off x="2153182" y="4149127"/>
            <a:ext cx="1702178" cy="2165350"/>
          </a:xfrm>
          <a:prstGeom prst="rect">
            <a:avLst/>
          </a:prstGeom>
        </p:spPr>
        <p:txBody>
          <a:bodyPr/>
          <a:lstStyle>
            <a:lvl1pPr>
              <a:defRPr sz="1200">
                <a:latin typeface="M05 Text Office" panose="020B0504040000000004" pitchFamily="34" charset="0"/>
              </a:defRPr>
            </a:lvl1pPr>
            <a:lvl2pPr>
              <a:defRPr sz="1100">
                <a:latin typeface="M05 Text Office" panose="020B0504040000000004" pitchFamily="34" charset="0"/>
              </a:defRPr>
            </a:lvl2pPr>
            <a:lvl3pPr>
              <a:defRPr sz="1050"/>
            </a:lvl3pPr>
            <a:lvl4pPr>
              <a:defRPr sz="1000"/>
            </a:lvl4pPr>
            <a:lvl5pPr>
              <a:defRPr sz="1000"/>
            </a:lvl5pPr>
          </a:lstStyle>
          <a:p>
            <a:pPr lvl="0"/>
            <a:r>
              <a:rPr lang="de-DE"/>
              <a:t>Mastertextformat bearbeiten</a:t>
            </a:r>
          </a:p>
          <a:p>
            <a:pPr lvl="1"/>
            <a:r>
              <a:rPr lang="de-DE"/>
              <a:t>Zweite Ebene</a:t>
            </a:r>
          </a:p>
        </p:txBody>
      </p:sp>
      <p:pic>
        <p:nvPicPr>
          <p:cNvPr id="71" name="Grafik 70">
            <a:extLst>
              <a:ext uri="{FF2B5EF4-FFF2-40B4-BE49-F238E27FC236}">
                <a16:creationId xmlns:a16="http://schemas.microsoft.com/office/drawing/2014/main" id="{B7867E08-877E-4888-BB72-B01A6F21C3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2150850" y="1876665"/>
            <a:ext cx="1707841" cy="245248"/>
          </a:xfrm>
          <a:prstGeom prst="rect">
            <a:avLst/>
          </a:prstGeom>
        </p:spPr>
      </p:pic>
      <p:sp>
        <p:nvSpPr>
          <p:cNvPr id="72" name="Textplatzhalter 18">
            <a:extLst>
              <a:ext uri="{FF2B5EF4-FFF2-40B4-BE49-F238E27FC236}">
                <a16:creationId xmlns:a16="http://schemas.microsoft.com/office/drawing/2014/main" id="{56BD39E5-3A3E-4016-BDC6-D2765FFA4929}"/>
              </a:ext>
            </a:extLst>
          </p:cNvPr>
          <p:cNvSpPr>
            <a:spLocks noGrp="1"/>
          </p:cNvSpPr>
          <p:nvPr>
            <p:ph type="body" sz="quarter" idx="51" hasCustomPrompt="1"/>
          </p:nvPr>
        </p:nvSpPr>
        <p:spPr>
          <a:xfrm>
            <a:off x="2151827" y="1887973"/>
            <a:ext cx="1706278" cy="245247"/>
          </a:xfrm>
          <a:prstGeom prst="rect">
            <a:avLst/>
          </a:prstGeom>
        </p:spPr>
        <p:txBody>
          <a:bodyPr lIns="37440" tIns="45720" rIns="37440" bIns="45720"/>
          <a:lstStyle>
            <a:lvl1pPr marL="0" indent="0">
              <a:buNone/>
              <a:defRPr sz="1100" b="1">
                <a:latin typeface="M05 Text Office" panose="020B0504040000000004" pitchFamily="34" charset="0"/>
              </a:defRPr>
            </a:lvl1pPr>
          </a:lstStyle>
          <a:p>
            <a:pPr lvl="0"/>
            <a:r>
              <a:rPr lang="de-DE"/>
              <a:t>Bildbeschriftung</a:t>
            </a:r>
          </a:p>
        </p:txBody>
      </p:sp>
      <p:sp>
        <p:nvSpPr>
          <p:cNvPr id="73" name="Bildplatzhalter 3">
            <a:extLst>
              <a:ext uri="{FF2B5EF4-FFF2-40B4-BE49-F238E27FC236}">
                <a16:creationId xmlns:a16="http://schemas.microsoft.com/office/drawing/2014/main" id="{4FDE9C3D-A86D-432C-954F-927DCE26E18F}"/>
              </a:ext>
            </a:extLst>
          </p:cNvPr>
          <p:cNvSpPr>
            <a:spLocks noGrp="1"/>
          </p:cNvSpPr>
          <p:nvPr>
            <p:ph type="pic" sz="quarter" idx="52"/>
          </p:nvPr>
        </p:nvSpPr>
        <p:spPr>
          <a:xfrm>
            <a:off x="3973004" y="2265997"/>
            <a:ext cx="1706280" cy="1679414"/>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74" name="Textplatzhalter 28">
            <a:extLst>
              <a:ext uri="{FF2B5EF4-FFF2-40B4-BE49-F238E27FC236}">
                <a16:creationId xmlns:a16="http://schemas.microsoft.com/office/drawing/2014/main" id="{091761D5-655B-424B-BE04-CC3C2E87660E}"/>
              </a:ext>
            </a:extLst>
          </p:cNvPr>
          <p:cNvSpPr>
            <a:spLocks noGrp="1"/>
          </p:cNvSpPr>
          <p:nvPr>
            <p:ph type="body" sz="quarter" idx="53"/>
          </p:nvPr>
        </p:nvSpPr>
        <p:spPr>
          <a:xfrm>
            <a:off x="3975570" y="4149127"/>
            <a:ext cx="1702178" cy="2165350"/>
          </a:xfrm>
          <a:prstGeom prst="rect">
            <a:avLst/>
          </a:prstGeom>
        </p:spPr>
        <p:txBody>
          <a:bodyPr/>
          <a:lstStyle>
            <a:lvl1pPr>
              <a:defRPr sz="1200">
                <a:latin typeface="M05 Text Office" panose="020B0504040000000004" pitchFamily="34" charset="0"/>
              </a:defRPr>
            </a:lvl1pPr>
            <a:lvl2pPr>
              <a:defRPr sz="1100">
                <a:latin typeface="M05 Text Office" panose="020B0504040000000004" pitchFamily="34" charset="0"/>
              </a:defRPr>
            </a:lvl2pPr>
            <a:lvl3pPr>
              <a:defRPr sz="1050"/>
            </a:lvl3pPr>
            <a:lvl4pPr>
              <a:defRPr sz="1000"/>
            </a:lvl4pPr>
            <a:lvl5pPr>
              <a:defRPr sz="1000"/>
            </a:lvl5pPr>
          </a:lstStyle>
          <a:p>
            <a:pPr lvl="0"/>
            <a:r>
              <a:rPr lang="de-DE"/>
              <a:t>Mastertextformat bearbeiten</a:t>
            </a:r>
          </a:p>
          <a:p>
            <a:pPr lvl="1"/>
            <a:r>
              <a:rPr lang="de-DE"/>
              <a:t>Zweite Ebene</a:t>
            </a:r>
          </a:p>
        </p:txBody>
      </p:sp>
      <p:pic>
        <p:nvPicPr>
          <p:cNvPr id="75" name="Grafik 74">
            <a:extLst>
              <a:ext uri="{FF2B5EF4-FFF2-40B4-BE49-F238E27FC236}">
                <a16:creationId xmlns:a16="http://schemas.microsoft.com/office/drawing/2014/main" id="{09468A5B-97A8-4FA8-8DD6-04C6F6F742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3973238" y="1876665"/>
            <a:ext cx="1707841" cy="245248"/>
          </a:xfrm>
          <a:prstGeom prst="rect">
            <a:avLst/>
          </a:prstGeom>
        </p:spPr>
      </p:pic>
      <p:sp>
        <p:nvSpPr>
          <p:cNvPr id="76" name="Textplatzhalter 18">
            <a:extLst>
              <a:ext uri="{FF2B5EF4-FFF2-40B4-BE49-F238E27FC236}">
                <a16:creationId xmlns:a16="http://schemas.microsoft.com/office/drawing/2014/main" id="{27028BE2-B9B1-475E-BEB5-CB6255E46A04}"/>
              </a:ext>
            </a:extLst>
          </p:cNvPr>
          <p:cNvSpPr>
            <a:spLocks noGrp="1"/>
          </p:cNvSpPr>
          <p:nvPr>
            <p:ph type="body" sz="quarter" idx="54" hasCustomPrompt="1"/>
          </p:nvPr>
        </p:nvSpPr>
        <p:spPr>
          <a:xfrm>
            <a:off x="3974215" y="1887973"/>
            <a:ext cx="1706278" cy="245247"/>
          </a:xfrm>
          <a:prstGeom prst="rect">
            <a:avLst/>
          </a:prstGeom>
        </p:spPr>
        <p:txBody>
          <a:bodyPr lIns="37440" tIns="45720" rIns="37440" bIns="45720"/>
          <a:lstStyle>
            <a:lvl1pPr marL="0" indent="0">
              <a:buNone/>
              <a:defRPr sz="1100" b="1">
                <a:latin typeface="M05 Text Office" panose="020B0504040000000004" pitchFamily="34" charset="0"/>
              </a:defRPr>
            </a:lvl1pPr>
          </a:lstStyle>
          <a:p>
            <a:pPr lvl="0"/>
            <a:r>
              <a:rPr lang="de-DE"/>
              <a:t>Bildbeschriftung</a:t>
            </a:r>
          </a:p>
        </p:txBody>
      </p:sp>
      <p:sp>
        <p:nvSpPr>
          <p:cNvPr id="77" name="Bildplatzhalter 3">
            <a:extLst>
              <a:ext uri="{FF2B5EF4-FFF2-40B4-BE49-F238E27FC236}">
                <a16:creationId xmlns:a16="http://schemas.microsoft.com/office/drawing/2014/main" id="{284A2380-A0FA-47AE-A777-4C18DD955ADF}"/>
              </a:ext>
            </a:extLst>
          </p:cNvPr>
          <p:cNvSpPr>
            <a:spLocks noGrp="1"/>
          </p:cNvSpPr>
          <p:nvPr>
            <p:ph type="pic" sz="quarter" idx="55"/>
          </p:nvPr>
        </p:nvSpPr>
        <p:spPr>
          <a:xfrm>
            <a:off x="5791265" y="2265997"/>
            <a:ext cx="1706280" cy="1679414"/>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78" name="Textplatzhalter 28">
            <a:extLst>
              <a:ext uri="{FF2B5EF4-FFF2-40B4-BE49-F238E27FC236}">
                <a16:creationId xmlns:a16="http://schemas.microsoft.com/office/drawing/2014/main" id="{247B3E9D-0C1D-4957-80D6-BEBC3E928D87}"/>
              </a:ext>
            </a:extLst>
          </p:cNvPr>
          <p:cNvSpPr>
            <a:spLocks noGrp="1"/>
          </p:cNvSpPr>
          <p:nvPr>
            <p:ph type="body" sz="quarter" idx="56"/>
          </p:nvPr>
        </p:nvSpPr>
        <p:spPr>
          <a:xfrm>
            <a:off x="5793831" y="4149127"/>
            <a:ext cx="1702178" cy="2165350"/>
          </a:xfrm>
          <a:prstGeom prst="rect">
            <a:avLst/>
          </a:prstGeom>
        </p:spPr>
        <p:txBody>
          <a:bodyPr/>
          <a:lstStyle>
            <a:lvl1pPr>
              <a:defRPr sz="1200">
                <a:latin typeface="M05 Text Office" panose="020B0504040000000004" pitchFamily="34" charset="0"/>
              </a:defRPr>
            </a:lvl1pPr>
            <a:lvl2pPr>
              <a:defRPr sz="1100">
                <a:latin typeface="M05 Text Office" panose="020B0504040000000004" pitchFamily="34" charset="0"/>
              </a:defRPr>
            </a:lvl2pPr>
            <a:lvl3pPr>
              <a:defRPr sz="1050"/>
            </a:lvl3pPr>
            <a:lvl4pPr>
              <a:defRPr sz="1000"/>
            </a:lvl4pPr>
            <a:lvl5pPr>
              <a:defRPr sz="1000"/>
            </a:lvl5pPr>
          </a:lstStyle>
          <a:p>
            <a:pPr lvl="0"/>
            <a:r>
              <a:rPr lang="de-DE"/>
              <a:t>Mastertextformat bearbeiten</a:t>
            </a:r>
          </a:p>
          <a:p>
            <a:pPr lvl="1"/>
            <a:r>
              <a:rPr lang="de-DE"/>
              <a:t>Zweite Ebene</a:t>
            </a:r>
          </a:p>
        </p:txBody>
      </p:sp>
      <p:pic>
        <p:nvPicPr>
          <p:cNvPr id="79" name="Grafik 78">
            <a:extLst>
              <a:ext uri="{FF2B5EF4-FFF2-40B4-BE49-F238E27FC236}">
                <a16:creationId xmlns:a16="http://schemas.microsoft.com/office/drawing/2014/main" id="{A80848BA-A538-4AC6-B072-B4D588A2B2E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5791499" y="1876665"/>
            <a:ext cx="1707841" cy="245248"/>
          </a:xfrm>
          <a:prstGeom prst="rect">
            <a:avLst/>
          </a:prstGeom>
        </p:spPr>
      </p:pic>
      <p:sp>
        <p:nvSpPr>
          <p:cNvPr id="80" name="Textplatzhalter 18">
            <a:extLst>
              <a:ext uri="{FF2B5EF4-FFF2-40B4-BE49-F238E27FC236}">
                <a16:creationId xmlns:a16="http://schemas.microsoft.com/office/drawing/2014/main" id="{855BAB2A-0365-4CC6-B624-619D485ABD93}"/>
              </a:ext>
            </a:extLst>
          </p:cNvPr>
          <p:cNvSpPr>
            <a:spLocks noGrp="1"/>
          </p:cNvSpPr>
          <p:nvPr>
            <p:ph type="body" sz="quarter" idx="57" hasCustomPrompt="1"/>
          </p:nvPr>
        </p:nvSpPr>
        <p:spPr>
          <a:xfrm>
            <a:off x="5792476" y="1887973"/>
            <a:ext cx="1706278" cy="245247"/>
          </a:xfrm>
          <a:prstGeom prst="rect">
            <a:avLst/>
          </a:prstGeom>
        </p:spPr>
        <p:txBody>
          <a:bodyPr lIns="37440" tIns="45720" rIns="37440" bIns="45720"/>
          <a:lstStyle>
            <a:lvl1pPr marL="0" indent="0">
              <a:buNone/>
              <a:defRPr sz="1100" b="1">
                <a:latin typeface="M05 Text Office" panose="020B0504040000000004" pitchFamily="34" charset="0"/>
              </a:defRPr>
            </a:lvl1pPr>
          </a:lstStyle>
          <a:p>
            <a:pPr lvl="0"/>
            <a:r>
              <a:rPr lang="de-DE"/>
              <a:t>Bildbeschriftung</a:t>
            </a:r>
          </a:p>
        </p:txBody>
      </p:sp>
      <p:sp>
        <p:nvSpPr>
          <p:cNvPr id="97" name="Bildplatzhalter 3">
            <a:extLst>
              <a:ext uri="{FF2B5EF4-FFF2-40B4-BE49-F238E27FC236}">
                <a16:creationId xmlns:a16="http://schemas.microsoft.com/office/drawing/2014/main" id="{45623A00-613C-46E4-9B23-9BF622EBB86E}"/>
              </a:ext>
            </a:extLst>
          </p:cNvPr>
          <p:cNvSpPr>
            <a:spLocks noGrp="1"/>
          </p:cNvSpPr>
          <p:nvPr>
            <p:ph type="pic" sz="quarter" idx="58"/>
          </p:nvPr>
        </p:nvSpPr>
        <p:spPr>
          <a:xfrm>
            <a:off x="7620941" y="2265997"/>
            <a:ext cx="1706280" cy="1679414"/>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98" name="Textplatzhalter 28">
            <a:extLst>
              <a:ext uri="{FF2B5EF4-FFF2-40B4-BE49-F238E27FC236}">
                <a16:creationId xmlns:a16="http://schemas.microsoft.com/office/drawing/2014/main" id="{56620400-D45B-4C9B-A8F0-D4FD19E62D84}"/>
              </a:ext>
            </a:extLst>
          </p:cNvPr>
          <p:cNvSpPr>
            <a:spLocks noGrp="1"/>
          </p:cNvSpPr>
          <p:nvPr>
            <p:ph type="body" sz="quarter" idx="59"/>
          </p:nvPr>
        </p:nvSpPr>
        <p:spPr>
          <a:xfrm>
            <a:off x="7623507" y="4149127"/>
            <a:ext cx="1702178" cy="2165350"/>
          </a:xfrm>
          <a:prstGeom prst="rect">
            <a:avLst/>
          </a:prstGeom>
        </p:spPr>
        <p:txBody>
          <a:bodyPr/>
          <a:lstStyle>
            <a:lvl1pPr>
              <a:defRPr sz="1200">
                <a:latin typeface="M05 Text Office" panose="020B0504040000000004" pitchFamily="34" charset="0"/>
              </a:defRPr>
            </a:lvl1pPr>
            <a:lvl2pPr>
              <a:defRPr sz="1100">
                <a:latin typeface="M05 Text Office" panose="020B0504040000000004" pitchFamily="34" charset="0"/>
              </a:defRPr>
            </a:lvl2pPr>
            <a:lvl3pPr>
              <a:defRPr sz="1050"/>
            </a:lvl3pPr>
            <a:lvl4pPr>
              <a:defRPr sz="1000"/>
            </a:lvl4pPr>
            <a:lvl5pPr>
              <a:defRPr sz="1000"/>
            </a:lvl5pPr>
          </a:lstStyle>
          <a:p>
            <a:pPr lvl="0"/>
            <a:r>
              <a:rPr lang="de-DE"/>
              <a:t>Mastertextformat bearbeiten</a:t>
            </a:r>
          </a:p>
          <a:p>
            <a:pPr lvl="1"/>
            <a:r>
              <a:rPr lang="de-DE"/>
              <a:t>Zweite Ebene</a:t>
            </a:r>
          </a:p>
        </p:txBody>
      </p:sp>
      <p:pic>
        <p:nvPicPr>
          <p:cNvPr id="99" name="Grafik 98">
            <a:extLst>
              <a:ext uri="{FF2B5EF4-FFF2-40B4-BE49-F238E27FC236}">
                <a16:creationId xmlns:a16="http://schemas.microsoft.com/office/drawing/2014/main" id="{A706DE5E-AFD7-4023-94E3-EB8F9046FB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7621175" y="1876665"/>
            <a:ext cx="1707841" cy="245248"/>
          </a:xfrm>
          <a:prstGeom prst="rect">
            <a:avLst/>
          </a:prstGeom>
        </p:spPr>
      </p:pic>
      <p:sp>
        <p:nvSpPr>
          <p:cNvPr id="100" name="Textplatzhalter 18">
            <a:extLst>
              <a:ext uri="{FF2B5EF4-FFF2-40B4-BE49-F238E27FC236}">
                <a16:creationId xmlns:a16="http://schemas.microsoft.com/office/drawing/2014/main" id="{157DC40E-B77C-404F-953C-164EC55A99B1}"/>
              </a:ext>
            </a:extLst>
          </p:cNvPr>
          <p:cNvSpPr>
            <a:spLocks noGrp="1"/>
          </p:cNvSpPr>
          <p:nvPr>
            <p:ph type="body" sz="quarter" idx="60" hasCustomPrompt="1"/>
          </p:nvPr>
        </p:nvSpPr>
        <p:spPr>
          <a:xfrm>
            <a:off x="7622152" y="1887973"/>
            <a:ext cx="1706278" cy="245247"/>
          </a:xfrm>
          <a:prstGeom prst="rect">
            <a:avLst/>
          </a:prstGeom>
        </p:spPr>
        <p:txBody>
          <a:bodyPr lIns="37440" tIns="45720" rIns="37440" bIns="45720"/>
          <a:lstStyle>
            <a:lvl1pPr marL="0" indent="0">
              <a:buNone/>
              <a:defRPr sz="1100" b="1">
                <a:latin typeface="M05 Text Office" panose="020B0504040000000004" pitchFamily="34" charset="0"/>
              </a:defRPr>
            </a:lvl1pPr>
          </a:lstStyle>
          <a:p>
            <a:pPr lvl="0"/>
            <a:r>
              <a:rPr lang="de-DE"/>
              <a:t>Bildbeschriftung</a:t>
            </a:r>
          </a:p>
        </p:txBody>
      </p:sp>
      <p:sp>
        <p:nvSpPr>
          <p:cNvPr id="101" name="Bildplatzhalter 3">
            <a:extLst>
              <a:ext uri="{FF2B5EF4-FFF2-40B4-BE49-F238E27FC236}">
                <a16:creationId xmlns:a16="http://schemas.microsoft.com/office/drawing/2014/main" id="{1AB41146-C050-452D-9C5A-341B87EDD26F}"/>
              </a:ext>
            </a:extLst>
          </p:cNvPr>
          <p:cNvSpPr>
            <a:spLocks noGrp="1"/>
          </p:cNvSpPr>
          <p:nvPr>
            <p:ph type="pic" sz="quarter" idx="61"/>
          </p:nvPr>
        </p:nvSpPr>
        <p:spPr>
          <a:xfrm>
            <a:off x="9462032" y="2265997"/>
            <a:ext cx="1706280" cy="1679414"/>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102" name="Textplatzhalter 28">
            <a:extLst>
              <a:ext uri="{FF2B5EF4-FFF2-40B4-BE49-F238E27FC236}">
                <a16:creationId xmlns:a16="http://schemas.microsoft.com/office/drawing/2014/main" id="{3C633F6D-EBFC-460C-B371-09D323ACFCAF}"/>
              </a:ext>
            </a:extLst>
          </p:cNvPr>
          <p:cNvSpPr>
            <a:spLocks noGrp="1"/>
          </p:cNvSpPr>
          <p:nvPr>
            <p:ph type="body" sz="quarter" idx="62"/>
          </p:nvPr>
        </p:nvSpPr>
        <p:spPr>
          <a:xfrm>
            <a:off x="9464598" y="4149127"/>
            <a:ext cx="1702178" cy="2165350"/>
          </a:xfrm>
          <a:prstGeom prst="rect">
            <a:avLst/>
          </a:prstGeom>
        </p:spPr>
        <p:txBody>
          <a:bodyPr/>
          <a:lstStyle>
            <a:lvl1pPr>
              <a:defRPr sz="1200">
                <a:latin typeface="M05 Text Office" panose="020B0504040000000004" pitchFamily="34" charset="0"/>
              </a:defRPr>
            </a:lvl1pPr>
            <a:lvl2pPr>
              <a:defRPr sz="1100">
                <a:latin typeface="M05 Text Office" panose="020B0504040000000004" pitchFamily="34" charset="0"/>
              </a:defRPr>
            </a:lvl2pPr>
            <a:lvl3pPr>
              <a:defRPr sz="1050"/>
            </a:lvl3pPr>
            <a:lvl4pPr>
              <a:defRPr sz="1000"/>
            </a:lvl4pPr>
            <a:lvl5pPr>
              <a:defRPr sz="1000"/>
            </a:lvl5pPr>
          </a:lstStyle>
          <a:p>
            <a:pPr lvl="0"/>
            <a:r>
              <a:rPr lang="de-DE"/>
              <a:t>Mastertextformat bearbeiten</a:t>
            </a:r>
          </a:p>
          <a:p>
            <a:pPr lvl="1"/>
            <a:r>
              <a:rPr lang="de-DE"/>
              <a:t>Zweite Ebene</a:t>
            </a:r>
          </a:p>
        </p:txBody>
      </p:sp>
      <p:pic>
        <p:nvPicPr>
          <p:cNvPr id="103" name="Grafik 102">
            <a:extLst>
              <a:ext uri="{FF2B5EF4-FFF2-40B4-BE49-F238E27FC236}">
                <a16:creationId xmlns:a16="http://schemas.microsoft.com/office/drawing/2014/main" id="{1E9FF6E9-D7FB-491C-A264-3048C6E8D6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9462266" y="1876665"/>
            <a:ext cx="1707841" cy="245248"/>
          </a:xfrm>
          <a:prstGeom prst="rect">
            <a:avLst/>
          </a:prstGeom>
        </p:spPr>
      </p:pic>
      <p:sp>
        <p:nvSpPr>
          <p:cNvPr id="104" name="Textplatzhalter 18">
            <a:extLst>
              <a:ext uri="{FF2B5EF4-FFF2-40B4-BE49-F238E27FC236}">
                <a16:creationId xmlns:a16="http://schemas.microsoft.com/office/drawing/2014/main" id="{58336CA0-E497-44BE-82C7-D10A175243FC}"/>
              </a:ext>
            </a:extLst>
          </p:cNvPr>
          <p:cNvSpPr>
            <a:spLocks noGrp="1"/>
          </p:cNvSpPr>
          <p:nvPr>
            <p:ph type="body" sz="quarter" idx="63" hasCustomPrompt="1"/>
          </p:nvPr>
        </p:nvSpPr>
        <p:spPr>
          <a:xfrm>
            <a:off x="9463243" y="1887973"/>
            <a:ext cx="1706278" cy="245247"/>
          </a:xfrm>
          <a:prstGeom prst="rect">
            <a:avLst/>
          </a:prstGeom>
        </p:spPr>
        <p:txBody>
          <a:bodyPr lIns="37440" tIns="45720" rIns="37440" bIns="45720"/>
          <a:lstStyle>
            <a:lvl1pPr marL="0" indent="0">
              <a:buNone/>
              <a:defRPr sz="1100" b="1">
                <a:latin typeface="M05 Text Office" panose="020B0504040000000004" pitchFamily="34" charset="0"/>
              </a:defRPr>
            </a:lvl1pPr>
          </a:lstStyle>
          <a:p>
            <a:pPr lvl="0"/>
            <a:r>
              <a:rPr lang="de-DE"/>
              <a:t>Bildbeschriftung</a:t>
            </a:r>
          </a:p>
        </p:txBody>
      </p:sp>
    </p:spTree>
    <p:extLst>
      <p:ext uri="{BB962C8B-B14F-4D97-AF65-F5344CB8AC3E}">
        <p14:creationId xmlns:p14="http://schemas.microsoft.com/office/powerpoint/2010/main" val="42715143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rennchart Grau">
    <p:bg>
      <p:bgRef idx="1001">
        <a:schemeClr val="bg1"/>
      </p:bgRef>
    </p:bg>
    <p:spTree>
      <p:nvGrpSpPr>
        <p:cNvPr id="1" name=""/>
        <p:cNvGrpSpPr/>
        <p:nvPr/>
      </p:nvGrpSpPr>
      <p:grpSpPr>
        <a:xfrm>
          <a:off x="0" y="0"/>
          <a:ext cx="0" cy="0"/>
          <a:chOff x="0" y="0"/>
          <a:chExt cx="0" cy="0"/>
        </a:xfrm>
      </p:grpSpPr>
      <p:pic>
        <p:nvPicPr>
          <p:cNvPr id="2051" name="E96C43E3-C4F0-467D-9833-19E296E55D2C" descr="8EBF3169-34F6-4E66-9940-CF0E05A5BF19@fritz">
            <a:extLst>
              <a:ext uri="{FF2B5EF4-FFF2-40B4-BE49-F238E27FC236}">
                <a16:creationId xmlns:a16="http://schemas.microsoft.com/office/drawing/2014/main" id="{0E1C9B11-9C06-4B2C-B724-47D6E5FF98FE}"/>
              </a:ext>
            </a:extLst>
          </p:cNvPr>
          <p:cNvPicPr>
            <a:picLocks noChangeAspect="1" noChangeArrowheads="1"/>
          </p:cNvPicPr>
          <p:nvPr userDrawn="1"/>
        </p:nvPicPr>
        <p:blipFill>
          <a:blip r:embed="rId2">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0"/>
            <a:ext cx="1219200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platzhalter 5">
            <a:extLst>
              <a:ext uri="{FF2B5EF4-FFF2-40B4-BE49-F238E27FC236}">
                <a16:creationId xmlns:a16="http://schemas.microsoft.com/office/drawing/2014/main" id="{5FA4794C-3A18-4F61-A8E7-6C51A5F947C5}"/>
              </a:ext>
            </a:extLst>
          </p:cNvPr>
          <p:cNvSpPr>
            <a:spLocks noGrp="1"/>
          </p:cNvSpPr>
          <p:nvPr>
            <p:ph type="body" sz="quarter" idx="10" hasCustomPrompt="1"/>
          </p:nvPr>
        </p:nvSpPr>
        <p:spPr>
          <a:xfrm>
            <a:off x="515938" y="1881187"/>
            <a:ext cx="9428162" cy="3405187"/>
          </a:xfrm>
          <a:prstGeom prst="rect">
            <a:avLst/>
          </a:prstGeom>
        </p:spPr>
        <p:txBody>
          <a:bodyPr/>
          <a:lstStyle>
            <a:lvl1pPr marL="0" indent="0">
              <a:buNone/>
              <a:defRPr sz="4800" b="1" cap="all" baseline="0">
                <a:solidFill>
                  <a:schemeClr val="bg1"/>
                </a:solidFill>
                <a:latin typeface="M05 Text Office Bold" panose="020B0804040000000004" pitchFamily="34" charset="0"/>
              </a:defRPr>
            </a:lvl1pPr>
          </a:lstStyle>
          <a:p>
            <a:pPr lvl="0"/>
            <a:r>
              <a:rPr lang="de-DE"/>
              <a:t>TRENNCHART M05 </a:t>
            </a:r>
            <a:r>
              <a:rPr lang="de-DE" err="1"/>
              <a:t>text</a:t>
            </a:r>
            <a:r>
              <a:rPr lang="de-DE"/>
              <a:t> bold 48 pt – reines textchart mit kernaussage zur </a:t>
            </a:r>
            <a:r>
              <a:rPr lang="de-DE" err="1"/>
              <a:t>überleitung</a:t>
            </a:r>
            <a:r>
              <a:rPr lang="de-DE"/>
              <a:t> auf das nächste </a:t>
            </a:r>
            <a:r>
              <a:rPr lang="de-DE" err="1"/>
              <a:t>kapitel</a:t>
            </a:r>
            <a:endParaRPr lang="de-DE"/>
          </a:p>
        </p:txBody>
      </p:sp>
    </p:spTree>
    <p:extLst>
      <p:ext uri="{BB962C8B-B14F-4D97-AF65-F5344CB8AC3E}">
        <p14:creationId xmlns:p14="http://schemas.microsoft.com/office/powerpoint/2010/main" val="1242023461"/>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r Text mit kleinen Bildkachel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pic>
        <p:nvPicPr>
          <p:cNvPr id="13" name="Grafik 12">
            <a:extLst>
              <a:ext uri="{FF2B5EF4-FFF2-40B4-BE49-F238E27FC236}">
                <a16:creationId xmlns:a16="http://schemas.microsoft.com/office/drawing/2014/main" id="{8FF3200D-32D8-4111-BBB5-C0CCC74ED3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V="1">
            <a:off x="330201" y="3911175"/>
            <a:ext cx="2484000" cy="259272"/>
          </a:xfrm>
          <a:prstGeom prst="rect">
            <a:avLst/>
          </a:prstGeom>
        </p:spPr>
      </p:pic>
      <p:sp>
        <p:nvSpPr>
          <p:cNvPr id="14" name="Textplatzhalter 18">
            <a:extLst>
              <a:ext uri="{FF2B5EF4-FFF2-40B4-BE49-F238E27FC236}">
                <a16:creationId xmlns:a16="http://schemas.microsoft.com/office/drawing/2014/main" id="{CBC7918C-57B4-4FC5-9D8A-8F250DD71EB2}"/>
              </a:ext>
            </a:extLst>
          </p:cNvPr>
          <p:cNvSpPr txBox="1">
            <a:spLocks/>
          </p:cNvSpPr>
          <p:nvPr userDrawn="1"/>
        </p:nvSpPr>
        <p:spPr>
          <a:xfrm>
            <a:off x="330202" y="3911175"/>
            <a:ext cx="2448000" cy="245247"/>
          </a:xfrm>
          <a:prstGeom prst="rect">
            <a:avLst/>
          </a:prstGeom>
        </p:spPr>
        <p:txBody>
          <a:bodyPr lIns="37440" tIns="45720" rIns="37440" bIns="45720"/>
          <a:lstStyle>
            <a:lvl1pPr marL="0" indent="0" algn="l" defTabSz="914400" rtl="0" eaLnBrk="1" latinLnBrk="0" hangingPunct="1">
              <a:lnSpc>
                <a:spcPct val="90000"/>
              </a:lnSpc>
              <a:spcBef>
                <a:spcPts val="1000"/>
              </a:spcBef>
              <a:buClr>
                <a:schemeClr val="bg2"/>
              </a:buClr>
              <a:buFont typeface="M05 Text BETA" panose="020B0004040000000004" pitchFamily="34" charset="0"/>
              <a:buNone/>
              <a:defRPr sz="1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a:p>
        </p:txBody>
      </p:sp>
      <p:sp>
        <p:nvSpPr>
          <p:cNvPr id="24" name="Textplatzhalter 23">
            <a:extLst>
              <a:ext uri="{FF2B5EF4-FFF2-40B4-BE49-F238E27FC236}">
                <a16:creationId xmlns:a16="http://schemas.microsoft.com/office/drawing/2014/main" id="{D80DFE54-9576-44A0-8FB6-2E3608D612AB}"/>
              </a:ext>
            </a:extLst>
          </p:cNvPr>
          <p:cNvSpPr>
            <a:spLocks noGrp="1"/>
          </p:cNvSpPr>
          <p:nvPr>
            <p:ph type="body" sz="quarter" idx="14"/>
          </p:nvPr>
        </p:nvSpPr>
        <p:spPr>
          <a:xfrm>
            <a:off x="344488" y="1685921"/>
            <a:ext cx="10728325" cy="2084392"/>
          </a:xfrm>
          <a:prstGeom prst="rect">
            <a:avLst/>
          </a:prstGeom>
        </p:spPr>
        <p:txBody>
          <a:bodyPr/>
          <a:lstStyle>
            <a:lvl1pPr>
              <a:defRPr>
                <a:latin typeface="M05 Text Office" panose="020B0504040000000004" pitchFamily="34" charset="0"/>
              </a:defRPr>
            </a:lvl1pPr>
            <a:lvl2pPr>
              <a:defRPr>
                <a:latin typeface="M05 Text Office" panose="020B0504040000000004" pitchFamily="34" charset="0"/>
              </a:defRPr>
            </a:lvl2pPr>
            <a:lvl3pPr>
              <a:defRPr>
                <a:latin typeface="M05 Text Office" panose="020B0504040000000004" pitchFamily="34" charset="0"/>
              </a:defRPr>
            </a:lvl3pPr>
            <a:lvl4pPr>
              <a:defRPr>
                <a:latin typeface="M05 Text Office" panose="020B0504040000000004" pitchFamily="34" charset="0"/>
              </a:defRPr>
            </a:lvl4pPr>
            <a:lvl5pPr>
              <a:defRPr>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6" name="Bildplatzhalter 25">
            <a:extLst>
              <a:ext uri="{FF2B5EF4-FFF2-40B4-BE49-F238E27FC236}">
                <a16:creationId xmlns:a16="http://schemas.microsoft.com/office/drawing/2014/main" id="{73939189-4C9A-44BC-9DEF-B4268B92CF58}"/>
              </a:ext>
            </a:extLst>
          </p:cNvPr>
          <p:cNvSpPr>
            <a:spLocks noGrp="1"/>
          </p:cNvSpPr>
          <p:nvPr>
            <p:ph type="pic" sz="quarter" idx="15"/>
          </p:nvPr>
        </p:nvSpPr>
        <p:spPr>
          <a:xfrm>
            <a:off x="330201" y="4505325"/>
            <a:ext cx="2484000" cy="1363663"/>
          </a:xfrm>
          <a:prstGeom prst="rect">
            <a:avLst/>
          </a:prstGeom>
          <a:solidFill>
            <a:schemeClr val="accent2"/>
          </a:solidFill>
        </p:spPr>
        <p:txBody>
          <a:bodyPr/>
          <a:lstStyle/>
          <a:p>
            <a:r>
              <a:rPr lang="de-DE"/>
              <a:t>Bild durch Klicken auf Symbol hinzufügen</a:t>
            </a:r>
          </a:p>
        </p:txBody>
      </p:sp>
      <p:sp>
        <p:nvSpPr>
          <p:cNvPr id="28" name="Textplatzhalter 27">
            <a:extLst>
              <a:ext uri="{FF2B5EF4-FFF2-40B4-BE49-F238E27FC236}">
                <a16:creationId xmlns:a16="http://schemas.microsoft.com/office/drawing/2014/main" id="{818564DA-2469-4F84-8E53-092E2DA9318A}"/>
              </a:ext>
            </a:extLst>
          </p:cNvPr>
          <p:cNvSpPr>
            <a:spLocks noGrp="1"/>
          </p:cNvSpPr>
          <p:nvPr>
            <p:ph type="body" sz="quarter" idx="16" hasCustomPrompt="1"/>
          </p:nvPr>
        </p:nvSpPr>
        <p:spPr>
          <a:xfrm>
            <a:off x="330200" y="4203700"/>
            <a:ext cx="2484000" cy="260350"/>
          </a:xfrm>
          <a:prstGeom prst="rect">
            <a:avLst/>
          </a:prstGeom>
        </p:spPr>
        <p:txBody>
          <a:bodyPr/>
          <a:lstStyle>
            <a:lvl1pPr marL="0" indent="0">
              <a:buNone/>
              <a:defRPr sz="1200">
                <a:latin typeface="M05 Text Office" panose="020B0504040000000004" pitchFamily="34" charset="0"/>
              </a:defRPr>
            </a:lvl1pPr>
          </a:lstStyle>
          <a:p>
            <a:pPr lvl="0"/>
            <a:r>
              <a:rPr lang="de-DE"/>
              <a:t>Text</a:t>
            </a:r>
          </a:p>
        </p:txBody>
      </p:sp>
      <p:sp>
        <p:nvSpPr>
          <p:cNvPr id="32" name="Textplatzhalter 27">
            <a:extLst>
              <a:ext uri="{FF2B5EF4-FFF2-40B4-BE49-F238E27FC236}">
                <a16:creationId xmlns:a16="http://schemas.microsoft.com/office/drawing/2014/main" id="{27631AF1-E0A3-491C-9322-1CCBA67C81E9}"/>
              </a:ext>
            </a:extLst>
          </p:cNvPr>
          <p:cNvSpPr>
            <a:spLocks noGrp="1"/>
          </p:cNvSpPr>
          <p:nvPr>
            <p:ph type="body" sz="quarter" idx="17" hasCustomPrompt="1"/>
          </p:nvPr>
        </p:nvSpPr>
        <p:spPr>
          <a:xfrm>
            <a:off x="330200" y="3935109"/>
            <a:ext cx="2484000" cy="221313"/>
          </a:xfrm>
          <a:prstGeom prst="rect">
            <a:avLst/>
          </a:prstGeom>
        </p:spPr>
        <p:txBody>
          <a:bodyPr/>
          <a:lstStyle>
            <a:lvl1pPr marL="0" indent="0">
              <a:buNone/>
              <a:defRPr sz="1200">
                <a:latin typeface="M05 Text Office" panose="020B0504040000000004" pitchFamily="34" charset="0"/>
              </a:defRPr>
            </a:lvl1pPr>
          </a:lstStyle>
          <a:p>
            <a:pPr lvl="0"/>
            <a:r>
              <a:rPr lang="de-DE"/>
              <a:t>Text</a:t>
            </a:r>
          </a:p>
        </p:txBody>
      </p:sp>
      <p:pic>
        <p:nvPicPr>
          <p:cNvPr id="33" name="Grafik 32">
            <a:extLst>
              <a:ext uri="{FF2B5EF4-FFF2-40B4-BE49-F238E27FC236}">
                <a16:creationId xmlns:a16="http://schemas.microsoft.com/office/drawing/2014/main" id="{62542C54-53A2-4DEB-B251-595AFFDF94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V="1">
            <a:off x="3102511" y="3911175"/>
            <a:ext cx="2484000" cy="259272"/>
          </a:xfrm>
          <a:prstGeom prst="rect">
            <a:avLst/>
          </a:prstGeom>
        </p:spPr>
      </p:pic>
      <p:sp>
        <p:nvSpPr>
          <p:cNvPr id="34" name="Textplatzhalter 18">
            <a:extLst>
              <a:ext uri="{FF2B5EF4-FFF2-40B4-BE49-F238E27FC236}">
                <a16:creationId xmlns:a16="http://schemas.microsoft.com/office/drawing/2014/main" id="{B3785326-0B90-4C25-A584-B520E5710128}"/>
              </a:ext>
            </a:extLst>
          </p:cNvPr>
          <p:cNvSpPr txBox="1">
            <a:spLocks/>
          </p:cNvSpPr>
          <p:nvPr userDrawn="1"/>
        </p:nvSpPr>
        <p:spPr>
          <a:xfrm>
            <a:off x="3102512" y="3911175"/>
            <a:ext cx="2448000" cy="245247"/>
          </a:xfrm>
          <a:prstGeom prst="rect">
            <a:avLst/>
          </a:prstGeom>
        </p:spPr>
        <p:txBody>
          <a:bodyPr lIns="37440" tIns="45720" rIns="37440" bIns="45720"/>
          <a:lstStyle>
            <a:lvl1pPr marL="0" indent="0" algn="l" defTabSz="914400" rtl="0" eaLnBrk="1" latinLnBrk="0" hangingPunct="1">
              <a:lnSpc>
                <a:spcPct val="90000"/>
              </a:lnSpc>
              <a:spcBef>
                <a:spcPts val="1000"/>
              </a:spcBef>
              <a:buClr>
                <a:schemeClr val="bg2"/>
              </a:buClr>
              <a:buFont typeface="M05 Text BETA" panose="020B0004040000000004" pitchFamily="34" charset="0"/>
              <a:buNone/>
              <a:defRPr sz="1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a:p>
        </p:txBody>
      </p:sp>
      <p:sp>
        <p:nvSpPr>
          <p:cNvPr id="35" name="Bildplatzhalter 25">
            <a:extLst>
              <a:ext uri="{FF2B5EF4-FFF2-40B4-BE49-F238E27FC236}">
                <a16:creationId xmlns:a16="http://schemas.microsoft.com/office/drawing/2014/main" id="{E83216AE-7BC3-432A-B93A-329FEB7179B7}"/>
              </a:ext>
            </a:extLst>
          </p:cNvPr>
          <p:cNvSpPr>
            <a:spLocks noGrp="1"/>
          </p:cNvSpPr>
          <p:nvPr>
            <p:ph type="pic" sz="quarter" idx="18"/>
          </p:nvPr>
        </p:nvSpPr>
        <p:spPr>
          <a:xfrm>
            <a:off x="3102511" y="4505325"/>
            <a:ext cx="2484000" cy="1363663"/>
          </a:xfrm>
          <a:prstGeom prst="rect">
            <a:avLst/>
          </a:prstGeom>
          <a:solidFill>
            <a:schemeClr val="accent2"/>
          </a:solidFill>
        </p:spPr>
        <p:txBody>
          <a:bodyPr/>
          <a:lstStyle/>
          <a:p>
            <a:r>
              <a:rPr lang="de-DE"/>
              <a:t>Bild durch Klicken auf Symbol hinzufügen</a:t>
            </a:r>
          </a:p>
        </p:txBody>
      </p:sp>
      <p:sp>
        <p:nvSpPr>
          <p:cNvPr id="36" name="Textplatzhalter 27">
            <a:extLst>
              <a:ext uri="{FF2B5EF4-FFF2-40B4-BE49-F238E27FC236}">
                <a16:creationId xmlns:a16="http://schemas.microsoft.com/office/drawing/2014/main" id="{73059DB1-6C8B-4FD7-9982-6AEB64EE93C1}"/>
              </a:ext>
            </a:extLst>
          </p:cNvPr>
          <p:cNvSpPr>
            <a:spLocks noGrp="1"/>
          </p:cNvSpPr>
          <p:nvPr>
            <p:ph type="body" sz="quarter" idx="19" hasCustomPrompt="1"/>
          </p:nvPr>
        </p:nvSpPr>
        <p:spPr>
          <a:xfrm>
            <a:off x="3102510" y="4203700"/>
            <a:ext cx="2484000" cy="260350"/>
          </a:xfrm>
          <a:prstGeom prst="rect">
            <a:avLst/>
          </a:prstGeom>
        </p:spPr>
        <p:txBody>
          <a:bodyPr/>
          <a:lstStyle>
            <a:lvl1pPr marL="0" indent="0">
              <a:buNone/>
              <a:defRPr sz="1200">
                <a:latin typeface="M05 Text Office" panose="020B0504040000000004" pitchFamily="34" charset="0"/>
              </a:defRPr>
            </a:lvl1pPr>
          </a:lstStyle>
          <a:p>
            <a:pPr lvl="0"/>
            <a:r>
              <a:rPr lang="de-DE"/>
              <a:t>Text</a:t>
            </a:r>
          </a:p>
        </p:txBody>
      </p:sp>
      <p:sp>
        <p:nvSpPr>
          <p:cNvPr id="37" name="Textplatzhalter 27">
            <a:extLst>
              <a:ext uri="{FF2B5EF4-FFF2-40B4-BE49-F238E27FC236}">
                <a16:creationId xmlns:a16="http://schemas.microsoft.com/office/drawing/2014/main" id="{55C23180-11E6-410E-B662-ABFD51150041}"/>
              </a:ext>
            </a:extLst>
          </p:cNvPr>
          <p:cNvSpPr>
            <a:spLocks noGrp="1"/>
          </p:cNvSpPr>
          <p:nvPr>
            <p:ph type="body" sz="quarter" idx="20" hasCustomPrompt="1"/>
          </p:nvPr>
        </p:nvSpPr>
        <p:spPr>
          <a:xfrm>
            <a:off x="3102510" y="3935109"/>
            <a:ext cx="2484000" cy="221313"/>
          </a:xfrm>
          <a:prstGeom prst="rect">
            <a:avLst/>
          </a:prstGeom>
        </p:spPr>
        <p:txBody>
          <a:bodyPr/>
          <a:lstStyle>
            <a:lvl1pPr marL="0" indent="0">
              <a:buNone/>
              <a:defRPr sz="1200">
                <a:latin typeface="M05 Text Office" panose="020B0504040000000004" pitchFamily="34" charset="0"/>
              </a:defRPr>
            </a:lvl1pPr>
          </a:lstStyle>
          <a:p>
            <a:pPr lvl="0"/>
            <a:r>
              <a:rPr lang="de-DE"/>
              <a:t>Text</a:t>
            </a:r>
          </a:p>
        </p:txBody>
      </p:sp>
      <p:pic>
        <p:nvPicPr>
          <p:cNvPr id="38" name="Grafik 37">
            <a:extLst>
              <a:ext uri="{FF2B5EF4-FFF2-40B4-BE49-F238E27FC236}">
                <a16:creationId xmlns:a16="http://schemas.microsoft.com/office/drawing/2014/main" id="{89CDA356-DBEB-4EEB-8898-62F4A220EB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V="1">
            <a:off x="5874821" y="3911175"/>
            <a:ext cx="2484000" cy="259272"/>
          </a:xfrm>
          <a:prstGeom prst="rect">
            <a:avLst/>
          </a:prstGeom>
        </p:spPr>
      </p:pic>
      <p:sp>
        <p:nvSpPr>
          <p:cNvPr id="39" name="Textplatzhalter 18">
            <a:extLst>
              <a:ext uri="{FF2B5EF4-FFF2-40B4-BE49-F238E27FC236}">
                <a16:creationId xmlns:a16="http://schemas.microsoft.com/office/drawing/2014/main" id="{6C1C5799-600E-48DD-9933-5C447A2EE403}"/>
              </a:ext>
            </a:extLst>
          </p:cNvPr>
          <p:cNvSpPr txBox="1">
            <a:spLocks/>
          </p:cNvSpPr>
          <p:nvPr userDrawn="1"/>
        </p:nvSpPr>
        <p:spPr>
          <a:xfrm>
            <a:off x="5874822" y="3911175"/>
            <a:ext cx="2448000" cy="245247"/>
          </a:xfrm>
          <a:prstGeom prst="rect">
            <a:avLst/>
          </a:prstGeom>
        </p:spPr>
        <p:txBody>
          <a:bodyPr lIns="37440" tIns="45720" rIns="37440" bIns="45720"/>
          <a:lstStyle>
            <a:lvl1pPr marL="0" indent="0" algn="l" defTabSz="914400" rtl="0" eaLnBrk="1" latinLnBrk="0" hangingPunct="1">
              <a:lnSpc>
                <a:spcPct val="90000"/>
              </a:lnSpc>
              <a:spcBef>
                <a:spcPts val="1000"/>
              </a:spcBef>
              <a:buClr>
                <a:schemeClr val="bg2"/>
              </a:buClr>
              <a:buFont typeface="M05 Text BETA" panose="020B0004040000000004" pitchFamily="34" charset="0"/>
              <a:buNone/>
              <a:defRPr sz="1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a:p>
        </p:txBody>
      </p:sp>
      <p:sp>
        <p:nvSpPr>
          <p:cNvPr id="40" name="Bildplatzhalter 25">
            <a:extLst>
              <a:ext uri="{FF2B5EF4-FFF2-40B4-BE49-F238E27FC236}">
                <a16:creationId xmlns:a16="http://schemas.microsoft.com/office/drawing/2014/main" id="{E2E5448E-C8A1-4F17-8D7B-DC6C9CD1EE08}"/>
              </a:ext>
            </a:extLst>
          </p:cNvPr>
          <p:cNvSpPr>
            <a:spLocks noGrp="1"/>
          </p:cNvSpPr>
          <p:nvPr>
            <p:ph type="pic" sz="quarter" idx="21"/>
          </p:nvPr>
        </p:nvSpPr>
        <p:spPr>
          <a:xfrm>
            <a:off x="5874821" y="4505325"/>
            <a:ext cx="2484000" cy="1363663"/>
          </a:xfrm>
          <a:prstGeom prst="rect">
            <a:avLst/>
          </a:prstGeom>
          <a:solidFill>
            <a:schemeClr val="accent2"/>
          </a:solidFill>
        </p:spPr>
        <p:txBody>
          <a:bodyPr/>
          <a:lstStyle/>
          <a:p>
            <a:r>
              <a:rPr lang="de-DE"/>
              <a:t>Bild durch Klicken auf Symbol hinzufügen</a:t>
            </a:r>
          </a:p>
        </p:txBody>
      </p:sp>
      <p:sp>
        <p:nvSpPr>
          <p:cNvPr id="41" name="Textplatzhalter 27">
            <a:extLst>
              <a:ext uri="{FF2B5EF4-FFF2-40B4-BE49-F238E27FC236}">
                <a16:creationId xmlns:a16="http://schemas.microsoft.com/office/drawing/2014/main" id="{96BDEBC8-8040-4143-B68C-1E602723FD3A}"/>
              </a:ext>
            </a:extLst>
          </p:cNvPr>
          <p:cNvSpPr>
            <a:spLocks noGrp="1"/>
          </p:cNvSpPr>
          <p:nvPr>
            <p:ph type="body" sz="quarter" idx="22" hasCustomPrompt="1"/>
          </p:nvPr>
        </p:nvSpPr>
        <p:spPr>
          <a:xfrm>
            <a:off x="5874820" y="4203700"/>
            <a:ext cx="2484000" cy="260350"/>
          </a:xfrm>
          <a:prstGeom prst="rect">
            <a:avLst/>
          </a:prstGeom>
        </p:spPr>
        <p:txBody>
          <a:bodyPr/>
          <a:lstStyle>
            <a:lvl1pPr marL="0" indent="0">
              <a:buNone/>
              <a:defRPr sz="1200">
                <a:latin typeface="M05 Text Office" panose="020B0504040000000004" pitchFamily="34" charset="0"/>
              </a:defRPr>
            </a:lvl1pPr>
          </a:lstStyle>
          <a:p>
            <a:pPr lvl="0"/>
            <a:r>
              <a:rPr lang="de-DE"/>
              <a:t>Text</a:t>
            </a:r>
          </a:p>
        </p:txBody>
      </p:sp>
      <p:sp>
        <p:nvSpPr>
          <p:cNvPr id="42" name="Textplatzhalter 27">
            <a:extLst>
              <a:ext uri="{FF2B5EF4-FFF2-40B4-BE49-F238E27FC236}">
                <a16:creationId xmlns:a16="http://schemas.microsoft.com/office/drawing/2014/main" id="{211B3DF2-D0A4-49E8-A858-E95503C5E472}"/>
              </a:ext>
            </a:extLst>
          </p:cNvPr>
          <p:cNvSpPr>
            <a:spLocks noGrp="1"/>
          </p:cNvSpPr>
          <p:nvPr>
            <p:ph type="body" sz="quarter" idx="23" hasCustomPrompt="1"/>
          </p:nvPr>
        </p:nvSpPr>
        <p:spPr>
          <a:xfrm>
            <a:off x="5874820" y="3935109"/>
            <a:ext cx="2484000" cy="221313"/>
          </a:xfrm>
          <a:prstGeom prst="rect">
            <a:avLst/>
          </a:prstGeom>
        </p:spPr>
        <p:txBody>
          <a:bodyPr/>
          <a:lstStyle>
            <a:lvl1pPr marL="0" indent="0">
              <a:buNone/>
              <a:defRPr sz="1200">
                <a:latin typeface="M05 Text Office" panose="020B0504040000000004" pitchFamily="34" charset="0"/>
              </a:defRPr>
            </a:lvl1pPr>
          </a:lstStyle>
          <a:p>
            <a:pPr lvl="0"/>
            <a:r>
              <a:rPr lang="de-DE"/>
              <a:t>Text</a:t>
            </a:r>
          </a:p>
        </p:txBody>
      </p:sp>
      <p:pic>
        <p:nvPicPr>
          <p:cNvPr id="43" name="Grafik 42">
            <a:extLst>
              <a:ext uri="{FF2B5EF4-FFF2-40B4-BE49-F238E27FC236}">
                <a16:creationId xmlns:a16="http://schemas.microsoft.com/office/drawing/2014/main" id="{56CC39C9-7C33-4A30-89E0-426554E64F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V="1">
            <a:off x="8647130" y="3911175"/>
            <a:ext cx="2484000" cy="259272"/>
          </a:xfrm>
          <a:prstGeom prst="rect">
            <a:avLst/>
          </a:prstGeom>
        </p:spPr>
      </p:pic>
      <p:sp>
        <p:nvSpPr>
          <p:cNvPr id="44" name="Textplatzhalter 18">
            <a:extLst>
              <a:ext uri="{FF2B5EF4-FFF2-40B4-BE49-F238E27FC236}">
                <a16:creationId xmlns:a16="http://schemas.microsoft.com/office/drawing/2014/main" id="{358BED26-8C90-4264-B3C8-28D4DD7F4C25}"/>
              </a:ext>
            </a:extLst>
          </p:cNvPr>
          <p:cNvSpPr txBox="1">
            <a:spLocks/>
          </p:cNvSpPr>
          <p:nvPr userDrawn="1"/>
        </p:nvSpPr>
        <p:spPr>
          <a:xfrm>
            <a:off x="8647131" y="3911175"/>
            <a:ext cx="2448000" cy="245247"/>
          </a:xfrm>
          <a:prstGeom prst="rect">
            <a:avLst/>
          </a:prstGeom>
        </p:spPr>
        <p:txBody>
          <a:bodyPr lIns="37440" tIns="45720" rIns="37440" bIns="45720"/>
          <a:lstStyle>
            <a:lvl1pPr marL="0" indent="0" algn="l" defTabSz="914400" rtl="0" eaLnBrk="1" latinLnBrk="0" hangingPunct="1">
              <a:lnSpc>
                <a:spcPct val="90000"/>
              </a:lnSpc>
              <a:spcBef>
                <a:spcPts val="1000"/>
              </a:spcBef>
              <a:buClr>
                <a:schemeClr val="bg2"/>
              </a:buClr>
              <a:buFont typeface="M05 Text BETA" panose="020B0004040000000004" pitchFamily="34" charset="0"/>
              <a:buNone/>
              <a:defRPr sz="1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a:p>
        </p:txBody>
      </p:sp>
      <p:sp>
        <p:nvSpPr>
          <p:cNvPr id="45" name="Bildplatzhalter 25">
            <a:extLst>
              <a:ext uri="{FF2B5EF4-FFF2-40B4-BE49-F238E27FC236}">
                <a16:creationId xmlns:a16="http://schemas.microsoft.com/office/drawing/2014/main" id="{E6B4078D-DD82-4020-B3FE-B67DFCC15BA1}"/>
              </a:ext>
            </a:extLst>
          </p:cNvPr>
          <p:cNvSpPr>
            <a:spLocks noGrp="1"/>
          </p:cNvSpPr>
          <p:nvPr>
            <p:ph type="pic" sz="quarter" idx="24"/>
          </p:nvPr>
        </p:nvSpPr>
        <p:spPr>
          <a:xfrm>
            <a:off x="8647130" y="4505325"/>
            <a:ext cx="2484000" cy="1363663"/>
          </a:xfrm>
          <a:prstGeom prst="rect">
            <a:avLst/>
          </a:prstGeom>
          <a:solidFill>
            <a:schemeClr val="accent2"/>
          </a:solidFill>
        </p:spPr>
        <p:txBody>
          <a:bodyPr/>
          <a:lstStyle/>
          <a:p>
            <a:r>
              <a:rPr lang="de-DE"/>
              <a:t>Bild durch Klicken auf Symbol hinzufügen</a:t>
            </a:r>
          </a:p>
        </p:txBody>
      </p:sp>
      <p:sp>
        <p:nvSpPr>
          <p:cNvPr id="46" name="Textplatzhalter 27">
            <a:extLst>
              <a:ext uri="{FF2B5EF4-FFF2-40B4-BE49-F238E27FC236}">
                <a16:creationId xmlns:a16="http://schemas.microsoft.com/office/drawing/2014/main" id="{ADA734FD-EF19-4F58-854F-6E8183125BEC}"/>
              </a:ext>
            </a:extLst>
          </p:cNvPr>
          <p:cNvSpPr>
            <a:spLocks noGrp="1"/>
          </p:cNvSpPr>
          <p:nvPr>
            <p:ph type="body" sz="quarter" idx="25" hasCustomPrompt="1"/>
          </p:nvPr>
        </p:nvSpPr>
        <p:spPr>
          <a:xfrm>
            <a:off x="8647129" y="4203700"/>
            <a:ext cx="2484000" cy="260350"/>
          </a:xfrm>
          <a:prstGeom prst="rect">
            <a:avLst/>
          </a:prstGeom>
        </p:spPr>
        <p:txBody>
          <a:bodyPr/>
          <a:lstStyle>
            <a:lvl1pPr marL="0" indent="0">
              <a:buNone/>
              <a:defRPr sz="1200">
                <a:latin typeface="M05 Text Office" panose="020B0504040000000004" pitchFamily="34" charset="0"/>
              </a:defRPr>
            </a:lvl1pPr>
          </a:lstStyle>
          <a:p>
            <a:pPr lvl="0"/>
            <a:r>
              <a:rPr lang="de-DE"/>
              <a:t>Text</a:t>
            </a:r>
          </a:p>
        </p:txBody>
      </p:sp>
      <p:sp>
        <p:nvSpPr>
          <p:cNvPr id="47" name="Textplatzhalter 27">
            <a:extLst>
              <a:ext uri="{FF2B5EF4-FFF2-40B4-BE49-F238E27FC236}">
                <a16:creationId xmlns:a16="http://schemas.microsoft.com/office/drawing/2014/main" id="{5AA120E9-76CF-43C5-87E3-28644AAAAE9E}"/>
              </a:ext>
            </a:extLst>
          </p:cNvPr>
          <p:cNvSpPr>
            <a:spLocks noGrp="1"/>
          </p:cNvSpPr>
          <p:nvPr>
            <p:ph type="body" sz="quarter" idx="26" hasCustomPrompt="1"/>
          </p:nvPr>
        </p:nvSpPr>
        <p:spPr>
          <a:xfrm>
            <a:off x="8647129" y="3935109"/>
            <a:ext cx="2484000" cy="221313"/>
          </a:xfrm>
          <a:prstGeom prst="rect">
            <a:avLst/>
          </a:prstGeom>
        </p:spPr>
        <p:txBody>
          <a:bodyPr/>
          <a:lstStyle>
            <a:lvl1pPr marL="0" indent="0">
              <a:buNone/>
              <a:defRPr sz="1200">
                <a:latin typeface="M05 Text Office" panose="020B0504040000000004" pitchFamily="34" charset="0"/>
              </a:defRPr>
            </a:lvl1pPr>
          </a:lstStyle>
          <a:p>
            <a:pPr lvl="0"/>
            <a:r>
              <a:rPr lang="de-DE"/>
              <a:t>Text</a:t>
            </a:r>
          </a:p>
        </p:txBody>
      </p:sp>
    </p:spTree>
    <p:extLst>
      <p:ext uri="{BB962C8B-B14F-4D97-AF65-F5344CB8AC3E}">
        <p14:creationId xmlns:p14="http://schemas.microsoft.com/office/powerpoint/2010/main" val="28006624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elle &amp; Bi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470917F-44CE-4D97-98E7-00F6C22BF846}"/>
              </a:ext>
            </a:extLst>
          </p:cNvPr>
          <p:cNvSpPr>
            <a:spLocks noGrp="1"/>
          </p:cNvSpPr>
          <p:nvPr>
            <p:ph type="sldNum" sz="quarter" idx="10"/>
          </p:nvPr>
        </p:nvSpPr>
        <p:spPr/>
        <p:txBody>
          <a:bodyPr/>
          <a:lstStyle>
            <a:lvl1pPr>
              <a:defRPr>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3" name="Bildplatzhalter 12">
            <a:extLst>
              <a:ext uri="{FF2B5EF4-FFF2-40B4-BE49-F238E27FC236}">
                <a16:creationId xmlns:a16="http://schemas.microsoft.com/office/drawing/2014/main" id="{6922D3FA-8EFF-4DC2-B570-CF09AE60435A}"/>
              </a:ext>
            </a:extLst>
          </p:cNvPr>
          <p:cNvSpPr>
            <a:spLocks noGrp="1"/>
          </p:cNvSpPr>
          <p:nvPr>
            <p:ph type="pic" sz="quarter" idx="13"/>
          </p:nvPr>
        </p:nvSpPr>
        <p:spPr>
          <a:xfrm>
            <a:off x="7045484" y="1881188"/>
            <a:ext cx="4010025" cy="4427537"/>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6" name="Titel 5">
            <a:extLst>
              <a:ext uri="{FF2B5EF4-FFF2-40B4-BE49-F238E27FC236}">
                <a16:creationId xmlns:a16="http://schemas.microsoft.com/office/drawing/2014/main" id="{E792D233-76B7-4EE5-A7D3-B66CF21BBC32}"/>
              </a:ext>
            </a:extLst>
          </p:cNvPr>
          <p:cNvSpPr>
            <a:spLocks noGrp="1"/>
          </p:cNvSpPr>
          <p:nvPr>
            <p:ph type="title"/>
          </p:nvPr>
        </p:nvSpPr>
        <p:spPr/>
        <p:txBody>
          <a:bodyPr/>
          <a:lstStyle>
            <a:lvl1pPr>
              <a:defRPr>
                <a:latin typeface="M05 Text Office Bold" panose="020B0804040000000004" pitchFamily="34" charset="0"/>
              </a:defRPr>
            </a:lvl1pPr>
          </a:lstStyle>
          <a:p>
            <a:r>
              <a:rPr lang="de-DE"/>
              <a:t>Mastertitelformat bearbeiten</a:t>
            </a:r>
          </a:p>
        </p:txBody>
      </p:sp>
      <p:sp>
        <p:nvSpPr>
          <p:cNvPr id="8" name="Textplatzhalter 3">
            <a:extLst>
              <a:ext uri="{FF2B5EF4-FFF2-40B4-BE49-F238E27FC236}">
                <a16:creationId xmlns:a16="http://schemas.microsoft.com/office/drawing/2014/main" id="{9D383C4E-6AF0-487B-AA48-BB1435D56FB7}"/>
              </a:ext>
            </a:extLst>
          </p:cNvPr>
          <p:cNvSpPr>
            <a:spLocks noGrp="1"/>
          </p:cNvSpPr>
          <p:nvPr>
            <p:ph type="body" sz="quarter" idx="15"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4" name="Tabellenplatzhalter 3">
            <a:extLst>
              <a:ext uri="{FF2B5EF4-FFF2-40B4-BE49-F238E27FC236}">
                <a16:creationId xmlns:a16="http://schemas.microsoft.com/office/drawing/2014/main" id="{AAB74F14-BD6B-4742-90FA-8E4BBFD9F8C6}"/>
              </a:ext>
            </a:extLst>
          </p:cNvPr>
          <p:cNvSpPr>
            <a:spLocks noGrp="1"/>
          </p:cNvSpPr>
          <p:nvPr>
            <p:ph type="tbl" sz="quarter" idx="16" hasCustomPrompt="1"/>
          </p:nvPr>
        </p:nvSpPr>
        <p:spPr>
          <a:xfrm>
            <a:off x="330201" y="1879600"/>
            <a:ext cx="6567487" cy="4427538"/>
          </a:xfrm>
          <a:prstGeom prst="rect">
            <a:avLst/>
          </a:prstGeom>
        </p:spPr>
        <p:txBody>
          <a:bodyPr/>
          <a:lstStyle>
            <a:lvl1pPr>
              <a:defRPr>
                <a:latin typeface="M05 Text Office" panose="020B0504040000000004" pitchFamily="34" charset="0"/>
              </a:defRPr>
            </a:lvl1pPr>
          </a:lstStyle>
          <a:p>
            <a:r>
              <a:rPr lang="de-DE"/>
              <a:t>Tabelle einfügen</a:t>
            </a:r>
          </a:p>
        </p:txBody>
      </p:sp>
    </p:spTree>
    <p:extLst>
      <p:ext uri="{BB962C8B-B14F-4D97-AF65-F5344CB8AC3E}">
        <p14:creationId xmlns:p14="http://schemas.microsoft.com/office/powerpoint/2010/main" val="5288343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elle, Bild &amp; Text">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470917F-44CE-4D97-98E7-00F6C22BF846}"/>
              </a:ext>
            </a:extLst>
          </p:cNvPr>
          <p:cNvSpPr>
            <a:spLocks noGrp="1"/>
          </p:cNvSpPr>
          <p:nvPr>
            <p:ph type="sldNum" sz="quarter" idx="10"/>
          </p:nvPr>
        </p:nvSpPr>
        <p:spPr/>
        <p:txBody>
          <a:bodyPr/>
          <a:lstStyle>
            <a:lvl1pPr>
              <a:defRPr>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3" name="Bildplatzhalter 12">
            <a:extLst>
              <a:ext uri="{FF2B5EF4-FFF2-40B4-BE49-F238E27FC236}">
                <a16:creationId xmlns:a16="http://schemas.microsoft.com/office/drawing/2014/main" id="{6922D3FA-8EFF-4DC2-B570-CF09AE60435A}"/>
              </a:ext>
            </a:extLst>
          </p:cNvPr>
          <p:cNvSpPr>
            <a:spLocks noGrp="1"/>
          </p:cNvSpPr>
          <p:nvPr>
            <p:ph type="pic" sz="quarter" idx="13"/>
          </p:nvPr>
        </p:nvSpPr>
        <p:spPr>
          <a:xfrm>
            <a:off x="7045484" y="1881188"/>
            <a:ext cx="4010025" cy="4427537"/>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6" name="Titel 5">
            <a:extLst>
              <a:ext uri="{FF2B5EF4-FFF2-40B4-BE49-F238E27FC236}">
                <a16:creationId xmlns:a16="http://schemas.microsoft.com/office/drawing/2014/main" id="{E792D233-76B7-4EE5-A7D3-B66CF21BBC32}"/>
              </a:ext>
            </a:extLst>
          </p:cNvPr>
          <p:cNvSpPr>
            <a:spLocks noGrp="1"/>
          </p:cNvSpPr>
          <p:nvPr>
            <p:ph type="title"/>
          </p:nvPr>
        </p:nvSpPr>
        <p:spPr/>
        <p:txBody>
          <a:bodyPr/>
          <a:lstStyle>
            <a:lvl1pPr>
              <a:defRPr>
                <a:latin typeface="M05 Text Office Bold" panose="020B0804040000000004" pitchFamily="34" charset="0"/>
              </a:defRPr>
            </a:lvl1pPr>
          </a:lstStyle>
          <a:p>
            <a:r>
              <a:rPr lang="de-DE"/>
              <a:t>Mastertitelformat bearbeiten</a:t>
            </a:r>
          </a:p>
        </p:txBody>
      </p:sp>
      <p:sp>
        <p:nvSpPr>
          <p:cNvPr id="8" name="Textplatzhalter 3">
            <a:extLst>
              <a:ext uri="{FF2B5EF4-FFF2-40B4-BE49-F238E27FC236}">
                <a16:creationId xmlns:a16="http://schemas.microsoft.com/office/drawing/2014/main" id="{9D383C4E-6AF0-487B-AA48-BB1435D56FB7}"/>
              </a:ext>
            </a:extLst>
          </p:cNvPr>
          <p:cNvSpPr>
            <a:spLocks noGrp="1"/>
          </p:cNvSpPr>
          <p:nvPr>
            <p:ph type="body" sz="quarter" idx="15"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4" name="Tabellenplatzhalter 3">
            <a:extLst>
              <a:ext uri="{FF2B5EF4-FFF2-40B4-BE49-F238E27FC236}">
                <a16:creationId xmlns:a16="http://schemas.microsoft.com/office/drawing/2014/main" id="{AAB74F14-BD6B-4742-90FA-8E4BBFD9F8C6}"/>
              </a:ext>
            </a:extLst>
          </p:cNvPr>
          <p:cNvSpPr>
            <a:spLocks noGrp="1"/>
          </p:cNvSpPr>
          <p:nvPr>
            <p:ph type="tbl" sz="quarter" idx="16" hasCustomPrompt="1"/>
          </p:nvPr>
        </p:nvSpPr>
        <p:spPr>
          <a:xfrm>
            <a:off x="330201" y="1879600"/>
            <a:ext cx="6567487" cy="2153149"/>
          </a:xfrm>
          <a:prstGeom prst="rect">
            <a:avLst/>
          </a:prstGeom>
        </p:spPr>
        <p:txBody>
          <a:bodyPr/>
          <a:lstStyle>
            <a:lvl1pPr>
              <a:defRPr>
                <a:latin typeface="M05 Text Office" panose="020B0504040000000004" pitchFamily="34" charset="0"/>
              </a:defRPr>
            </a:lvl1pPr>
          </a:lstStyle>
          <a:p>
            <a:r>
              <a:rPr lang="de-DE"/>
              <a:t>Tabelle einfügen</a:t>
            </a:r>
          </a:p>
        </p:txBody>
      </p:sp>
      <p:sp>
        <p:nvSpPr>
          <p:cNvPr id="5" name="Textplatzhalter 4">
            <a:extLst>
              <a:ext uri="{FF2B5EF4-FFF2-40B4-BE49-F238E27FC236}">
                <a16:creationId xmlns:a16="http://schemas.microsoft.com/office/drawing/2014/main" id="{A2E41642-A227-476E-9599-CEF21042EAA7}"/>
              </a:ext>
            </a:extLst>
          </p:cNvPr>
          <p:cNvSpPr>
            <a:spLocks noGrp="1"/>
          </p:cNvSpPr>
          <p:nvPr>
            <p:ph type="body" sz="quarter" idx="17"/>
          </p:nvPr>
        </p:nvSpPr>
        <p:spPr>
          <a:xfrm>
            <a:off x="330200" y="4153989"/>
            <a:ext cx="6575425" cy="2153149"/>
          </a:xfrm>
          <a:prstGeom prst="rect">
            <a:avLst/>
          </a:prstGeom>
        </p:spPr>
        <p:txBody>
          <a:bodyPr/>
          <a:lstStyle>
            <a:lvl1pPr>
              <a:defRPr>
                <a:latin typeface="M05 Text Office" panose="020B0504040000000004" pitchFamily="34" charset="0"/>
              </a:defRPr>
            </a:lvl1pPr>
            <a:lvl2pPr>
              <a:defRPr>
                <a:latin typeface="M05 Text Office" panose="020B0504040000000004" pitchFamily="34" charset="0"/>
              </a:defRPr>
            </a:lvl2pPr>
            <a:lvl3pPr>
              <a:defRPr>
                <a:latin typeface="M05 Text Office" panose="020B0504040000000004" pitchFamily="34" charset="0"/>
              </a:defRPr>
            </a:lvl3pPr>
            <a:lvl4pPr>
              <a:defRPr>
                <a:latin typeface="M05 Text Office" panose="020B0504040000000004" pitchFamily="34" charset="0"/>
              </a:defRPr>
            </a:lvl4pPr>
            <a:lvl5pPr>
              <a:defRPr>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8077017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mart Ar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FF540A-5101-4220-AC00-E1E2C7FEB097}"/>
              </a:ext>
            </a:extLst>
          </p:cNvPr>
          <p:cNvSpPr>
            <a:spLocks noGrp="1"/>
          </p:cNvSpPr>
          <p:nvPr>
            <p:ph type="title" hasCustomPrompt="1"/>
          </p:nvPr>
        </p:nvSpPr>
        <p:spPr/>
        <p:txBody>
          <a:bodyPr/>
          <a:lstStyle>
            <a:lvl1pPr>
              <a:defRPr>
                <a:latin typeface="M05 Text Office Bold" panose="020B0804040000000004" pitchFamily="34" charset="0"/>
              </a:defRPr>
            </a:lvl1pPr>
          </a:lstStyle>
          <a:p>
            <a:r>
              <a:rPr lang="de-DE"/>
              <a:t>MASTERTITELFORMAT BEARBEITEN</a:t>
            </a:r>
          </a:p>
        </p:txBody>
      </p:sp>
      <p:sp>
        <p:nvSpPr>
          <p:cNvPr id="3" name="Foliennummernplatzhalter 2">
            <a:extLst>
              <a:ext uri="{FF2B5EF4-FFF2-40B4-BE49-F238E27FC236}">
                <a16:creationId xmlns:a16="http://schemas.microsoft.com/office/drawing/2014/main" id="{6FEDDB72-5C14-41CC-98D1-AAC845699547}"/>
              </a:ext>
            </a:extLst>
          </p:cNvPr>
          <p:cNvSpPr>
            <a:spLocks noGrp="1"/>
          </p:cNvSpPr>
          <p:nvPr>
            <p:ph type="sldNum" sz="quarter" idx="10"/>
          </p:nvPr>
        </p:nvSpPr>
        <p:spPr/>
        <p:txBody>
          <a:bodyPr/>
          <a:lstStyle>
            <a:lvl1pPr>
              <a:defRPr>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6" name="SmartArt-Platzhalter 5">
            <a:extLst>
              <a:ext uri="{FF2B5EF4-FFF2-40B4-BE49-F238E27FC236}">
                <a16:creationId xmlns:a16="http://schemas.microsoft.com/office/drawing/2014/main" id="{E443FE94-55F7-47D1-9483-AD26D240327A}"/>
              </a:ext>
            </a:extLst>
          </p:cNvPr>
          <p:cNvSpPr>
            <a:spLocks noGrp="1"/>
          </p:cNvSpPr>
          <p:nvPr>
            <p:ph type="dgm" sz="quarter" idx="12"/>
          </p:nvPr>
        </p:nvSpPr>
        <p:spPr>
          <a:xfrm>
            <a:off x="334963" y="1881188"/>
            <a:ext cx="10729912" cy="4425950"/>
          </a:xfrm>
          <a:prstGeom prst="rect">
            <a:avLst/>
          </a:prstGeom>
        </p:spPr>
        <p:txBody>
          <a:bodyPr/>
          <a:lstStyle>
            <a:lvl1pPr>
              <a:defRPr>
                <a:latin typeface="M05 Text Office" panose="020B0504040000000004" pitchFamily="34" charset="0"/>
              </a:defRPr>
            </a:lvl1pPr>
          </a:lstStyle>
          <a:p>
            <a:r>
              <a:rPr lang="de-DE"/>
              <a:t>Klicken Sie auf das Symbol, um die SmartArt-Grafik hinzuzufügen</a:t>
            </a:r>
          </a:p>
        </p:txBody>
      </p:sp>
      <p:sp>
        <p:nvSpPr>
          <p:cNvPr id="8" name="Textplatzhalter 3">
            <a:extLst>
              <a:ext uri="{FF2B5EF4-FFF2-40B4-BE49-F238E27FC236}">
                <a16:creationId xmlns:a16="http://schemas.microsoft.com/office/drawing/2014/main" id="{482CBDAB-96D6-4450-BBDB-F1BBDC54370A}"/>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Tree>
    <p:extLst>
      <p:ext uri="{BB962C8B-B14F-4D97-AF65-F5344CB8AC3E}">
        <p14:creationId xmlns:p14="http://schemas.microsoft.com/office/powerpoint/2010/main" val="7060991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agramm und Text">
    <p:spTree>
      <p:nvGrpSpPr>
        <p:cNvPr id="1" name=""/>
        <p:cNvGrpSpPr/>
        <p:nvPr/>
      </p:nvGrpSpPr>
      <p:grpSpPr>
        <a:xfrm>
          <a:off x="0" y="0"/>
          <a:ext cx="0" cy="0"/>
          <a:chOff x="0" y="0"/>
          <a:chExt cx="0" cy="0"/>
        </a:xfrm>
      </p:grpSpPr>
      <p:sp>
        <p:nvSpPr>
          <p:cNvPr id="11" name="Rechteck: eine Ecke abgeschnitten 1">
            <a:extLst>
              <a:ext uri="{FF2B5EF4-FFF2-40B4-BE49-F238E27FC236}">
                <a16:creationId xmlns:a16="http://schemas.microsoft.com/office/drawing/2014/main" id="{58F6A0E0-0BFD-4C09-8949-81991561DDDC}"/>
              </a:ext>
            </a:extLst>
          </p:cNvPr>
          <p:cNvSpPr>
            <a:spLocks noChangeAspect="1"/>
          </p:cNvSpPr>
          <p:nvPr userDrawn="1"/>
        </p:nvSpPr>
        <p:spPr>
          <a:xfrm flipV="1">
            <a:off x="334956" y="1883854"/>
            <a:ext cx="5188778" cy="356224"/>
          </a:xfrm>
          <a:custGeom>
            <a:avLst/>
            <a:gdLst>
              <a:gd name="connsiteX0" fmla="*/ 0 w 5191124"/>
              <a:gd name="connsiteY0" fmla="*/ 0 h 352816"/>
              <a:gd name="connsiteX1" fmla="*/ 5014716 w 5191124"/>
              <a:gd name="connsiteY1" fmla="*/ 0 h 352816"/>
              <a:gd name="connsiteX2" fmla="*/ 5191124 w 5191124"/>
              <a:gd name="connsiteY2" fmla="*/ 176408 h 352816"/>
              <a:gd name="connsiteX3" fmla="*/ 5191124 w 5191124"/>
              <a:gd name="connsiteY3" fmla="*/ 352816 h 352816"/>
              <a:gd name="connsiteX4" fmla="*/ 0 w 5191124"/>
              <a:gd name="connsiteY4" fmla="*/ 352816 h 352816"/>
              <a:gd name="connsiteX5" fmla="*/ 0 w 5191124"/>
              <a:gd name="connsiteY5" fmla="*/ 0 h 352816"/>
              <a:gd name="connsiteX0" fmla="*/ 0 w 5191124"/>
              <a:gd name="connsiteY0" fmla="*/ 0 h 352816"/>
              <a:gd name="connsiteX1" fmla="*/ 4978997 w 5191124"/>
              <a:gd name="connsiteY1" fmla="*/ 0 h 352816"/>
              <a:gd name="connsiteX2" fmla="*/ 5191124 w 5191124"/>
              <a:gd name="connsiteY2" fmla="*/ 176408 h 352816"/>
              <a:gd name="connsiteX3" fmla="*/ 5191124 w 5191124"/>
              <a:gd name="connsiteY3" fmla="*/ 352816 h 352816"/>
              <a:gd name="connsiteX4" fmla="*/ 0 w 5191124"/>
              <a:gd name="connsiteY4" fmla="*/ 352816 h 352816"/>
              <a:gd name="connsiteX5" fmla="*/ 0 w 5191124"/>
              <a:gd name="connsiteY5" fmla="*/ 0 h 352816"/>
              <a:gd name="connsiteX0" fmla="*/ 0 w 5195886"/>
              <a:gd name="connsiteY0" fmla="*/ 0 h 352816"/>
              <a:gd name="connsiteX1" fmla="*/ 4978997 w 5195886"/>
              <a:gd name="connsiteY1" fmla="*/ 0 h 352816"/>
              <a:gd name="connsiteX2" fmla="*/ 5195886 w 5195886"/>
              <a:gd name="connsiteY2" fmla="*/ 197839 h 352816"/>
              <a:gd name="connsiteX3" fmla="*/ 5191124 w 5195886"/>
              <a:gd name="connsiteY3" fmla="*/ 352816 h 352816"/>
              <a:gd name="connsiteX4" fmla="*/ 0 w 5195886"/>
              <a:gd name="connsiteY4" fmla="*/ 352816 h 352816"/>
              <a:gd name="connsiteX5" fmla="*/ 0 w 5195886"/>
              <a:gd name="connsiteY5" fmla="*/ 0 h 352816"/>
              <a:gd name="connsiteX0" fmla="*/ 0 w 5195886"/>
              <a:gd name="connsiteY0" fmla="*/ 2381 h 355197"/>
              <a:gd name="connsiteX1" fmla="*/ 4948041 w 5195886"/>
              <a:gd name="connsiteY1" fmla="*/ 0 h 355197"/>
              <a:gd name="connsiteX2" fmla="*/ 5195886 w 5195886"/>
              <a:gd name="connsiteY2" fmla="*/ 200220 h 355197"/>
              <a:gd name="connsiteX3" fmla="*/ 5191124 w 5195886"/>
              <a:gd name="connsiteY3" fmla="*/ 355197 h 355197"/>
              <a:gd name="connsiteX4" fmla="*/ 0 w 5195886"/>
              <a:gd name="connsiteY4" fmla="*/ 355197 h 355197"/>
              <a:gd name="connsiteX5" fmla="*/ 0 w 5195886"/>
              <a:gd name="connsiteY5" fmla="*/ 2381 h 355197"/>
              <a:gd name="connsiteX0" fmla="*/ 0 w 5195886"/>
              <a:gd name="connsiteY0" fmla="*/ 2381 h 355197"/>
              <a:gd name="connsiteX1" fmla="*/ 4948041 w 5195886"/>
              <a:gd name="connsiteY1" fmla="*/ 0 h 355197"/>
              <a:gd name="connsiteX2" fmla="*/ 5195886 w 5195886"/>
              <a:gd name="connsiteY2" fmla="*/ 228795 h 355197"/>
              <a:gd name="connsiteX3" fmla="*/ 5191124 w 5195886"/>
              <a:gd name="connsiteY3" fmla="*/ 355197 h 355197"/>
              <a:gd name="connsiteX4" fmla="*/ 0 w 5195886"/>
              <a:gd name="connsiteY4" fmla="*/ 355197 h 355197"/>
              <a:gd name="connsiteX5" fmla="*/ 0 w 5195886"/>
              <a:gd name="connsiteY5" fmla="*/ 2381 h 355197"/>
              <a:gd name="connsiteX0" fmla="*/ 0 w 5195886"/>
              <a:gd name="connsiteY0" fmla="*/ 2381 h 355197"/>
              <a:gd name="connsiteX1" fmla="*/ 4948041 w 5195886"/>
              <a:gd name="connsiteY1" fmla="*/ 0 h 355197"/>
              <a:gd name="connsiteX2" fmla="*/ 5195886 w 5195886"/>
              <a:gd name="connsiteY2" fmla="*/ 228795 h 355197"/>
              <a:gd name="connsiteX3" fmla="*/ 5193505 w 5195886"/>
              <a:gd name="connsiteY3" fmla="*/ 355197 h 355197"/>
              <a:gd name="connsiteX4" fmla="*/ 0 w 5195886"/>
              <a:gd name="connsiteY4" fmla="*/ 355197 h 355197"/>
              <a:gd name="connsiteX5" fmla="*/ 0 w 5195886"/>
              <a:gd name="connsiteY5" fmla="*/ 2381 h 355197"/>
              <a:gd name="connsiteX0" fmla="*/ 0 w 5195886"/>
              <a:gd name="connsiteY0" fmla="*/ 0 h 352816"/>
              <a:gd name="connsiteX1" fmla="*/ 4948041 w 5195886"/>
              <a:gd name="connsiteY1" fmla="*/ 1 h 352816"/>
              <a:gd name="connsiteX2" fmla="*/ 5195886 w 5195886"/>
              <a:gd name="connsiteY2" fmla="*/ 226414 h 352816"/>
              <a:gd name="connsiteX3" fmla="*/ 5193505 w 5195886"/>
              <a:gd name="connsiteY3" fmla="*/ 352816 h 352816"/>
              <a:gd name="connsiteX4" fmla="*/ 0 w 5195886"/>
              <a:gd name="connsiteY4" fmla="*/ 352816 h 352816"/>
              <a:gd name="connsiteX5" fmla="*/ 0 w 5195886"/>
              <a:gd name="connsiteY5" fmla="*/ 0 h 352816"/>
              <a:gd name="connsiteX0" fmla="*/ 0 w 5198373"/>
              <a:gd name="connsiteY0" fmla="*/ 0 h 352816"/>
              <a:gd name="connsiteX1" fmla="*/ 4948041 w 5198373"/>
              <a:gd name="connsiteY1" fmla="*/ 1 h 352816"/>
              <a:gd name="connsiteX2" fmla="*/ 5195886 w 5198373"/>
              <a:gd name="connsiteY2" fmla="*/ 226414 h 352816"/>
              <a:gd name="connsiteX3" fmla="*/ 5198268 w 5198373"/>
              <a:gd name="connsiteY3" fmla="*/ 350435 h 352816"/>
              <a:gd name="connsiteX4" fmla="*/ 0 w 5198373"/>
              <a:gd name="connsiteY4" fmla="*/ 352816 h 352816"/>
              <a:gd name="connsiteX5" fmla="*/ 0 w 5198373"/>
              <a:gd name="connsiteY5" fmla="*/ 0 h 352816"/>
              <a:gd name="connsiteX0" fmla="*/ 0 w 5200718"/>
              <a:gd name="connsiteY0" fmla="*/ 0 h 352816"/>
              <a:gd name="connsiteX1" fmla="*/ 4948041 w 5200718"/>
              <a:gd name="connsiteY1" fmla="*/ 1 h 352816"/>
              <a:gd name="connsiteX2" fmla="*/ 5195886 w 5200718"/>
              <a:gd name="connsiteY2" fmla="*/ 226414 h 352816"/>
              <a:gd name="connsiteX3" fmla="*/ 5200650 w 5200718"/>
              <a:gd name="connsiteY3" fmla="*/ 350435 h 352816"/>
              <a:gd name="connsiteX4" fmla="*/ 0 w 5200718"/>
              <a:gd name="connsiteY4" fmla="*/ 352816 h 352816"/>
              <a:gd name="connsiteX5" fmla="*/ 0 w 5200718"/>
              <a:gd name="connsiteY5" fmla="*/ 0 h 352816"/>
              <a:gd name="connsiteX0" fmla="*/ 0 w 5200650"/>
              <a:gd name="connsiteY0" fmla="*/ 0 h 352816"/>
              <a:gd name="connsiteX1" fmla="*/ 4948041 w 5200650"/>
              <a:gd name="connsiteY1" fmla="*/ 1 h 352816"/>
              <a:gd name="connsiteX2" fmla="*/ 5195886 w 5200650"/>
              <a:gd name="connsiteY2" fmla="*/ 226414 h 352816"/>
              <a:gd name="connsiteX3" fmla="*/ 5200650 w 5200650"/>
              <a:gd name="connsiteY3" fmla="*/ 350435 h 352816"/>
              <a:gd name="connsiteX4" fmla="*/ 0 w 5200650"/>
              <a:gd name="connsiteY4" fmla="*/ 352816 h 352816"/>
              <a:gd name="connsiteX5" fmla="*/ 0 w 5200650"/>
              <a:gd name="connsiteY5" fmla="*/ 0 h 352816"/>
              <a:gd name="connsiteX0" fmla="*/ 0 w 5198269"/>
              <a:gd name="connsiteY0" fmla="*/ 0 h 352816"/>
              <a:gd name="connsiteX1" fmla="*/ 4948041 w 5198269"/>
              <a:gd name="connsiteY1" fmla="*/ 1 h 352816"/>
              <a:gd name="connsiteX2" fmla="*/ 5195886 w 5198269"/>
              <a:gd name="connsiteY2" fmla="*/ 226414 h 352816"/>
              <a:gd name="connsiteX3" fmla="*/ 5198269 w 5198269"/>
              <a:gd name="connsiteY3" fmla="*/ 352816 h 352816"/>
              <a:gd name="connsiteX4" fmla="*/ 0 w 5198269"/>
              <a:gd name="connsiteY4" fmla="*/ 352816 h 352816"/>
              <a:gd name="connsiteX5" fmla="*/ 0 w 5198269"/>
              <a:gd name="connsiteY5" fmla="*/ 0 h 352816"/>
              <a:gd name="connsiteX0" fmla="*/ 0 w 5198269"/>
              <a:gd name="connsiteY0" fmla="*/ 0 h 352816"/>
              <a:gd name="connsiteX1" fmla="*/ 4948041 w 5198269"/>
              <a:gd name="connsiteY1" fmla="*/ 1 h 352816"/>
              <a:gd name="connsiteX2" fmla="*/ 5195886 w 5198269"/>
              <a:gd name="connsiteY2" fmla="*/ 254989 h 352816"/>
              <a:gd name="connsiteX3" fmla="*/ 5198269 w 5198269"/>
              <a:gd name="connsiteY3" fmla="*/ 352816 h 352816"/>
              <a:gd name="connsiteX4" fmla="*/ 0 w 5198269"/>
              <a:gd name="connsiteY4" fmla="*/ 352816 h 352816"/>
              <a:gd name="connsiteX5" fmla="*/ 0 w 5198269"/>
              <a:gd name="connsiteY5" fmla="*/ 0 h 352816"/>
              <a:gd name="connsiteX0" fmla="*/ 0 w 5198269"/>
              <a:gd name="connsiteY0" fmla="*/ 0 h 352816"/>
              <a:gd name="connsiteX1" fmla="*/ 4948041 w 5198269"/>
              <a:gd name="connsiteY1" fmla="*/ 1 h 352816"/>
              <a:gd name="connsiteX2" fmla="*/ 5198267 w 5198269"/>
              <a:gd name="connsiteY2" fmla="*/ 254989 h 352816"/>
              <a:gd name="connsiteX3" fmla="*/ 5198269 w 5198269"/>
              <a:gd name="connsiteY3" fmla="*/ 352816 h 352816"/>
              <a:gd name="connsiteX4" fmla="*/ 0 w 5198269"/>
              <a:gd name="connsiteY4" fmla="*/ 352816 h 352816"/>
              <a:gd name="connsiteX5" fmla="*/ 0 w 5198269"/>
              <a:gd name="connsiteY5" fmla="*/ 0 h 352816"/>
              <a:gd name="connsiteX0" fmla="*/ 0 w 5198269"/>
              <a:gd name="connsiteY0" fmla="*/ 0 h 352816"/>
              <a:gd name="connsiteX1" fmla="*/ 4948041 w 5198269"/>
              <a:gd name="connsiteY1" fmla="*/ 1 h 352816"/>
              <a:gd name="connsiteX2" fmla="*/ 5195172 w 5198269"/>
              <a:gd name="connsiteY2" fmla="*/ 140469 h 352816"/>
              <a:gd name="connsiteX3" fmla="*/ 5198269 w 5198269"/>
              <a:gd name="connsiteY3" fmla="*/ 352816 h 352816"/>
              <a:gd name="connsiteX4" fmla="*/ 0 w 5198269"/>
              <a:gd name="connsiteY4" fmla="*/ 352816 h 352816"/>
              <a:gd name="connsiteX5" fmla="*/ 0 w 5198269"/>
              <a:gd name="connsiteY5" fmla="*/ 0 h 352816"/>
              <a:gd name="connsiteX0" fmla="*/ 0 w 5198269"/>
              <a:gd name="connsiteY0" fmla="*/ 0 h 352816"/>
              <a:gd name="connsiteX1" fmla="*/ 5043991 w 5198269"/>
              <a:gd name="connsiteY1" fmla="*/ 3097 h 352816"/>
              <a:gd name="connsiteX2" fmla="*/ 5195172 w 5198269"/>
              <a:gd name="connsiteY2" fmla="*/ 140469 h 352816"/>
              <a:gd name="connsiteX3" fmla="*/ 5198269 w 5198269"/>
              <a:gd name="connsiteY3" fmla="*/ 352816 h 352816"/>
              <a:gd name="connsiteX4" fmla="*/ 0 w 5198269"/>
              <a:gd name="connsiteY4" fmla="*/ 352816 h 352816"/>
              <a:gd name="connsiteX5" fmla="*/ 0 w 5198269"/>
              <a:gd name="connsiteY5" fmla="*/ 0 h 352816"/>
              <a:gd name="connsiteX0" fmla="*/ 0 w 5198269"/>
              <a:gd name="connsiteY0" fmla="*/ 4060 h 356876"/>
              <a:gd name="connsiteX1" fmla="*/ 5043991 w 5198269"/>
              <a:gd name="connsiteY1" fmla="*/ 0 h 356876"/>
              <a:gd name="connsiteX2" fmla="*/ 5195172 w 5198269"/>
              <a:gd name="connsiteY2" fmla="*/ 144529 h 356876"/>
              <a:gd name="connsiteX3" fmla="*/ 5198269 w 5198269"/>
              <a:gd name="connsiteY3" fmla="*/ 356876 h 356876"/>
              <a:gd name="connsiteX4" fmla="*/ 0 w 5198269"/>
              <a:gd name="connsiteY4" fmla="*/ 356876 h 356876"/>
              <a:gd name="connsiteX5" fmla="*/ 0 w 5198269"/>
              <a:gd name="connsiteY5" fmla="*/ 4060 h 356876"/>
              <a:gd name="connsiteX0" fmla="*/ 0 w 5199943"/>
              <a:gd name="connsiteY0" fmla="*/ 4060 h 356876"/>
              <a:gd name="connsiteX1" fmla="*/ 5043991 w 5199943"/>
              <a:gd name="connsiteY1" fmla="*/ 0 h 356876"/>
              <a:gd name="connsiteX2" fmla="*/ 5199943 w 5199943"/>
              <a:gd name="connsiteY2" fmla="*/ 144529 h 356876"/>
              <a:gd name="connsiteX3" fmla="*/ 5198269 w 5199943"/>
              <a:gd name="connsiteY3" fmla="*/ 356876 h 356876"/>
              <a:gd name="connsiteX4" fmla="*/ 0 w 5199943"/>
              <a:gd name="connsiteY4" fmla="*/ 356876 h 356876"/>
              <a:gd name="connsiteX5" fmla="*/ 0 w 5199943"/>
              <a:gd name="connsiteY5" fmla="*/ 4060 h 356876"/>
              <a:gd name="connsiteX0" fmla="*/ 0 w 5199943"/>
              <a:gd name="connsiteY0" fmla="*/ 4060 h 356876"/>
              <a:gd name="connsiteX1" fmla="*/ 5043991 w 5199943"/>
              <a:gd name="connsiteY1" fmla="*/ 0 h 356876"/>
              <a:gd name="connsiteX2" fmla="*/ 5199943 w 5199943"/>
              <a:gd name="connsiteY2" fmla="*/ 142143 h 356876"/>
              <a:gd name="connsiteX3" fmla="*/ 5198269 w 5199943"/>
              <a:gd name="connsiteY3" fmla="*/ 356876 h 356876"/>
              <a:gd name="connsiteX4" fmla="*/ 0 w 5199943"/>
              <a:gd name="connsiteY4" fmla="*/ 356876 h 356876"/>
              <a:gd name="connsiteX5" fmla="*/ 0 w 5199943"/>
              <a:gd name="connsiteY5" fmla="*/ 4060 h 356876"/>
              <a:gd name="connsiteX0" fmla="*/ 0 w 5198269"/>
              <a:gd name="connsiteY0" fmla="*/ 4060 h 356876"/>
              <a:gd name="connsiteX1" fmla="*/ 5043991 w 5198269"/>
              <a:gd name="connsiteY1" fmla="*/ 0 h 356876"/>
              <a:gd name="connsiteX2" fmla="*/ 5197558 w 5198269"/>
              <a:gd name="connsiteY2" fmla="*/ 142143 h 356876"/>
              <a:gd name="connsiteX3" fmla="*/ 5198269 w 5198269"/>
              <a:gd name="connsiteY3" fmla="*/ 356876 h 356876"/>
              <a:gd name="connsiteX4" fmla="*/ 0 w 5198269"/>
              <a:gd name="connsiteY4" fmla="*/ 356876 h 356876"/>
              <a:gd name="connsiteX5" fmla="*/ 0 w 5198269"/>
              <a:gd name="connsiteY5" fmla="*/ 4060 h 356876"/>
              <a:gd name="connsiteX0" fmla="*/ 0 w 5198269"/>
              <a:gd name="connsiteY0" fmla="*/ 0 h 352816"/>
              <a:gd name="connsiteX1" fmla="*/ 5043991 w 5198269"/>
              <a:gd name="connsiteY1" fmla="*/ 711 h 352816"/>
              <a:gd name="connsiteX2" fmla="*/ 5197558 w 5198269"/>
              <a:gd name="connsiteY2" fmla="*/ 138083 h 352816"/>
              <a:gd name="connsiteX3" fmla="*/ 5198269 w 5198269"/>
              <a:gd name="connsiteY3" fmla="*/ 352816 h 352816"/>
              <a:gd name="connsiteX4" fmla="*/ 0 w 5198269"/>
              <a:gd name="connsiteY4" fmla="*/ 352816 h 352816"/>
              <a:gd name="connsiteX5" fmla="*/ 0 w 5198269"/>
              <a:gd name="connsiteY5" fmla="*/ 0 h 352816"/>
              <a:gd name="connsiteX0" fmla="*/ 0 w 5198269"/>
              <a:gd name="connsiteY0" fmla="*/ 4059 h 356875"/>
              <a:gd name="connsiteX1" fmla="*/ 5043991 w 5198269"/>
              <a:gd name="connsiteY1" fmla="*/ 0 h 356875"/>
              <a:gd name="connsiteX2" fmla="*/ 5197558 w 5198269"/>
              <a:gd name="connsiteY2" fmla="*/ 142142 h 356875"/>
              <a:gd name="connsiteX3" fmla="*/ 5198269 w 5198269"/>
              <a:gd name="connsiteY3" fmla="*/ 356875 h 356875"/>
              <a:gd name="connsiteX4" fmla="*/ 0 w 5198269"/>
              <a:gd name="connsiteY4" fmla="*/ 356875 h 356875"/>
              <a:gd name="connsiteX5" fmla="*/ 0 w 5198269"/>
              <a:gd name="connsiteY5" fmla="*/ 4059 h 356875"/>
              <a:gd name="connsiteX0" fmla="*/ 0 w 5198269"/>
              <a:gd name="connsiteY0" fmla="*/ 4059 h 356875"/>
              <a:gd name="connsiteX1" fmla="*/ 5043991 w 5198269"/>
              <a:gd name="connsiteY1" fmla="*/ 0 h 356875"/>
              <a:gd name="connsiteX2" fmla="*/ 5197558 w 5198269"/>
              <a:gd name="connsiteY2" fmla="*/ 142142 h 356875"/>
              <a:gd name="connsiteX3" fmla="*/ 5198269 w 5198269"/>
              <a:gd name="connsiteY3" fmla="*/ 356875 h 356875"/>
              <a:gd name="connsiteX4" fmla="*/ 0 w 5198269"/>
              <a:gd name="connsiteY4" fmla="*/ 356875 h 356875"/>
              <a:gd name="connsiteX5" fmla="*/ 0 w 5198269"/>
              <a:gd name="connsiteY5" fmla="*/ 4059 h 356875"/>
              <a:gd name="connsiteX0" fmla="*/ 0 w 5198269"/>
              <a:gd name="connsiteY0" fmla="*/ 4059 h 356875"/>
              <a:gd name="connsiteX1" fmla="*/ 5043991 w 5198269"/>
              <a:gd name="connsiteY1" fmla="*/ 0 h 356875"/>
              <a:gd name="connsiteX2" fmla="*/ 5197558 w 5198269"/>
              <a:gd name="connsiteY2" fmla="*/ 142142 h 356875"/>
              <a:gd name="connsiteX3" fmla="*/ 5198269 w 5198269"/>
              <a:gd name="connsiteY3" fmla="*/ 356875 h 356875"/>
              <a:gd name="connsiteX4" fmla="*/ 0 w 5198269"/>
              <a:gd name="connsiteY4" fmla="*/ 356875 h 356875"/>
              <a:gd name="connsiteX5" fmla="*/ 0 w 5198269"/>
              <a:gd name="connsiteY5" fmla="*/ 4059 h 356875"/>
              <a:gd name="connsiteX0" fmla="*/ 0 w 5198269"/>
              <a:gd name="connsiteY0" fmla="*/ 4059 h 356875"/>
              <a:gd name="connsiteX1" fmla="*/ 5043991 w 5198269"/>
              <a:gd name="connsiteY1" fmla="*/ 0 h 356875"/>
              <a:gd name="connsiteX2" fmla="*/ 5197558 w 5198269"/>
              <a:gd name="connsiteY2" fmla="*/ 142142 h 356875"/>
              <a:gd name="connsiteX3" fmla="*/ 5198269 w 5198269"/>
              <a:gd name="connsiteY3" fmla="*/ 356875 h 356875"/>
              <a:gd name="connsiteX4" fmla="*/ 0 w 5198269"/>
              <a:gd name="connsiteY4" fmla="*/ 356875 h 356875"/>
              <a:gd name="connsiteX5" fmla="*/ 0 w 5198269"/>
              <a:gd name="connsiteY5" fmla="*/ 4059 h 356875"/>
              <a:gd name="connsiteX0" fmla="*/ 0 w 5198269"/>
              <a:gd name="connsiteY0" fmla="*/ 4059 h 356875"/>
              <a:gd name="connsiteX1" fmla="*/ 5043991 w 5198269"/>
              <a:gd name="connsiteY1" fmla="*/ 0 h 356875"/>
              <a:gd name="connsiteX2" fmla="*/ 5197558 w 5198269"/>
              <a:gd name="connsiteY2" fmla="*/ 142142 h 356875"/>
              <a:gd name="connsiteX3" fmla="*/ 5198269 w 5198269"/>
              <a:gd name="connsiteY3" fmla="*/ 356875 h 356875"/>
              <a:gd name="connsiteX4" fmla="*/ 0 w 5198269"/>
              <a:gd name="connsiteY4" fmla="*/ 356875 h 356875"/>
              <a:gd name="connsiteX5" fmla="*/ 0 w 5198269"/>
              <a:gd name="connsiteY5" fmla="*/ 4059 h 356875"/>
              <a:gd name="connsiteX0" fmla="*/ 0 w 5198269"/>
              <a:gd name="connsiteY0" fmla="*/ 4059 h 356875"/>
              <a:gd name="connsiteX1" fmla="*/ 5043991 w 5198269"/>
              <a:gd name="connsiteY1" fmla="*/ 0 h 356875"/>
              <a:gd name="connsiteX2" fmla="*/ 5197558 w 5198269"/>
              <a:gd name="connsiteY2" fmla="*/ 142142 h 356875"/>
              <a:gd name="connsiteX3" fmla="*/ 5198269 w 5198269"/>
              <a:gd name="connsiteY3" fmla="*/ 356875 h 356875"/>
              <a:gd name="connsiteX4" fmla="*/ 0 w 5198269"/>
              <a:gd name="connsiteY4" fmla="*/ 356875 h 356875"/>
              <a:gd name="connsiteX5" fmla="*/ 0 w 5198269"/>
              <a:gd name="connsiteY5" fmla="*/ 4059 h 356875"/>
              <a:gd name="connsiteX0" fmla="*/ 0 w 5198269"/>
              <a:gd name="connsiteY0" fmla="*/ 4059 h 356875"/>
              <a:gd name="connsiteX1" fmla="*/ 5043991 w 5198269"/>
              <a:gd name="connsiteY1" fmla="*/ 0 h 356875"/>
              <a:gd name="connsiteX2" fmla="*/ 5197558 w 5198269"/>
              <a:gd name="connsiteY2" fmla="*/ 142142 h 356875"/>
              <a:gd name="connsiteX3" fmla="*/ 5198269 w 5198269"/>
              <a:gd name="connsiteY3" fmla="*/ 356875 h 356875"/>
              <a:gd name="connsiteX4" fmla="*/ 0 w 5198269"/>
              <a:gd name="connsiteY4" fmla="*/ 356875 h 356875"/>
              <a:gd name="connsiteX5" fmla="*/ 0 w 5198269"/>
              <a:gd name="connsiteY5" fmla="*/ 4059 h 356875"/>
              <a:gd name="connsiteX0" fmla="*/ 0 w 5200654"/>
              <a:gd name="connsiteY0" fmla="*/ 1673 h 356875"/>
              <a:gd name="connsiteX1" fmla="*/ 5046376 w 5200654"/>
              <a:gd name="connsiteY1" fmla="*/ 0 h 356875"/>
              <a:gd name="connsiteX2" fmla="*/ 5199943 w 5200654"/>
              <a:gd name="connsiteY2" fmla="*/ 142142 h 356875"/>
              <a:gd name="connsiteX3" fmla="*/ 5200654 w 5200654"/>
              <a:gd name="connsiteY3" fmla="*/ 356875 h 356875"/>
              <a:gd name="connsiteX4" fmla="*/ 2385 w 5200654"/>
              <a:gd name="connsiteY4" fmla="*/ 356875 h 356875"/>
              <a:gd name="connsiteX5" fmla="*/ 0 w 5200654"/>
              <a:gd name="connsiteY5" fmla="*/ 1673 h 356875"/>
              <a:gd name="connsiteX0" fmla="*/ 0 w 5200654"/>
              <a:gd name="connsiteY0" fmla="*/ 0 h 357587"/>
              <a:gd name="connsiteX1" fmla="*/ 5046376 w 5200654"/>
              <a:gd name="connsiteY1" fmla="*/ 712 h 357587"/>
              <a:gd name="connsiteX2" fmla="*/ 5199943 w 5200654"/>
              <a:gd name="connsiteY2" fmla="*/ 142854 h 357587"/>
              <a:gd name="connsiteX3" fmla="*/ 5200654 w 5200654"/>
              <a:gd name="connsiteY3" fmla="*/ 357587 h 357587"/>
              <a:gd name="connsiteX4" fmla="*/ 2385 w 5200654"/>
              <a:gd name="connsiteY4" fmla="*/ 357587 h 357587"/>
              <a:gd name="connsiteX5" fmla="*/ 0 w 5200654"/>
              <a:gd name="connsiteY5" fmla="*/ 0 h 357587"/>
              <a:gd name="connsiteX0" fmla="*/ 0 w 5198269"/>
              <a:gd name="connsiteY0" fmla="*/ 1673 h 356875"/>
              <a:gd name="connsiteX1" fmla="*/ 5043991 w 5198269"/>
              <a:gd name="connsiteY1" fmla="*/ 0 h 356875"/>
              <a:gd name="connsiteX2" fmla="*/ 5197558 w 5198269"/>
              <a:gd name="connsiteY2" fmla="*/ 142142 h 356875"/>
              <a:gd name="connsiteX3" fmla="*/ 5198269 w 5198269"/>
              <a:gd name="connsiteY3" fmla="*/ 356875 h 356875"/>
              <a:gd name="connsiteX4" fmla="*/ 0 w 5198269"/>
              <a:gd name="connsiteY4" fmla="*/ 356875 h 356875"/>
              <a:gd name="connsiteX5" fmla="*/ 0 w 5198269"/>
              <a:gd name="connsiteY5" fmla="*/ 1673 h 35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8269" h="356875">
                <a:moveTo>
                  <a:pt x="0" y="1673"/>
                </a:moveTo>
                <a:lnTo>
                  <a:pt x="5043991" y="0"/>
                </a:lnTo>
                <a:cubicBezTo>
                  <a:pt x="5127400" y="84996"/>
                  <a:pt x="5114149" y="57146"/>
                  <a:pt x="5197558" y="142142"/>
                </a:cubicBezTo>
                <a:cubicBezTo>
                  <a:pt x="5196764" y="184276"/>
                  <a:pt x="5196681" y="352841"/>
                  <a:pt x="5198269" y="356875"/>
                </a:cubicBezTo>
                <a:lnTo>
                  <a:pt x="0" y="356875"/>
                </a:lnTo>
                <a:lnTo>
                  <a:pt x="0" y="16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Diagrammplatzhalter 11">
            <a:extLst>
              <a:ext uri="{FF2B5EF4-FFF2-40B4-BE49-F238E27FC236}">
                <a16:creationId xmlns:a16="http://schemas.microsoft.com/office/drawing/2014/main" id="{303DE881-4B18-4441-9482-A372444F119B}"/>
              </a:ext>
            </a:extLst>
          </p:cNvPr>
          <p:cNvSpPr>
            <a:spLocks noGrp="1"/>
          </p:cNvSpPr>
          <p:nvPr>
            <p:ph type="chart" sz="quarter" idx="13"/>
          </p:nvPr>
        </p:nvSpPr>
        <p:spPr>
          <a:xfrm>
            <a:off x="336550" y="2324100"/>
            <a:ext cx="5191125" cy="3984625"/>
          </a:xfrm>
          <a:prstGeom prst="rect">
            <a:avLst/>
          </a:prstGeom>
        </p:spPr>
        <p:txBody>
          <a:bodyPr/>
          <a:lstStyle>
            <a:lvl1pPr>
              <a:defRPr>
                <a:latin typeface="M05 Text Office" panose="020B0504040000000004" pitchFamily="34" charset="0"/>
              </a:defRPr>
            </a:lvl1pPr>
          </a:lstStyle>
          <a:p>
            <a:r>
              <a:rPr lang="de-DE"/>
              <a:t>Diagramm durch Klicken auf Symbol hinzufügen</a:t>
            </a:r>
          </a:p>
        </p:txBody>
      </p:sp>
      <p:sp>
        <p:nvSpPr>
          <p:cNvPr id="14" name="Textplatzhalter 18">
            <a:extLst>
              <a:ext uri="{FF2B5EF4-FFF2-40B4-BE49-F238E27FC236}">
                <a16:creationId xmlns:a16="http://schemas.microsoft.com/office/drawing/2014/main" id="{D56AFF05-19A3-44B2-8A84-38D9D474645D}"/>
              </a:ext>
            </a:extLst>
          </p:cNvPr>
          <p:cNvSpPr>
            <a:spLocks noGrp="1"/>
          </p:cNvSpPr>
          <p:nvPr>
            <p:ph type="body" sz="quarter" idx="16" hasCustomPrompt="1"/>
          </p:nvPr>
        </p:nvSpPr>
        <p:spPr>
          <a:xfrm>
            <a:off x="334956" y="1939343"/>
            <a:ext cx="4957234" cy="245247"/>
          </a:xfrm>
          <a:prstGeom prst="rect">
            <a:avLst/>
          </a:prstGeom>
        </p:spPr>
        <p:txBody>
          <a:bodyPr lIns="37440" tIns="45720" rIns="37440" bIns="45720"/>
          <a:lstStyle>
            <a:lvl1pPr marL="0" indent="0">
              <a:buNone/>
              <a:defRPr sz="1600" b="1">
                <a:latin typeface="M05 Text Office" panose="020B0504040000000004" pitchFamily="34" charset="0"/>
              </a:defRPr>
            </a:lvl1pPr>
          </a:lstStyle>
          <a:p>
            <a:pPr lvl="0"/>
            <a:r>
              <a:rPr lang="de-DE"/>
              <a:t>Platzhalter für Diagrammtitel </a:t>
            </a:r>
          </a:p>
        </p:txBody>
      </p:sp>
      <p:sp>
        <p:nvSpPr>
          <p:cNvPr id="16" name="Textplatzhalter 15">
            <a:extLst>
              <a:ext uri="{FF2B5EF4-FFF2-40B4-BE49-F238E27FC236}">
                <a16:creationId xmlns:a16="http://schemas.microsoft.com/office/drawing/2014/main" id="{D47A33FF-69AF-41EE-812E-42FC13F28E68}"/>
              </a:ext>
            </a:extLst>
          </p:cNvPr>
          <p:cNvSpPr>
            <a:spLocks noGrp="1"/>
          </p:cNvSpPr>
          <p:nvPr>
            <p:ph type="body" sz="quarter" idx="17"/>
          </p:nvPr>
        </p:nvSpPr>
        <p:spPr>
          <a:xfrm>
            <a:off x="5737226" y="2324100"/>
            <a:ext cx="5318284" cy="3984625"/>
          </a:xfrm>
          <a:prstGeom prst="rect">
            <a:avLst/>
          </a:prstGeom>
        </p:spPr>
        <p:txBody>
          <a:bodyPr/>
          <a:lstStyle>
            <a:lvl1pPr>
              <a:defRPr>
                <a:latin typeface="M05 Text Office" panose="020B0504040000000004" pitchFamily="34" charset="0"/>
              </a:defRPr>
            </a:lvl1pPr>
            <a:lvl2pPr>
              <a:defRPr>
                <a:latin typeface="M05 Text Office" panose="020B0504040000000004" pitchFamily="34" charset="0"/>
              </a:defRPr>
            </a:lvl2pPr>
            <a:lvl3pPr>
              <a:defRPr>
                <a:latin typeface="M05 Text Office" panose="020B0504040000000004" pitchFamily="34" charset="0"/>
              </a:defRPr>
            </a:lvl3pPr>
            <a:lvl4pPr>
              <a:defRPr>
                <a:latin typeface="M05 Text Office" panose="020B0504040000000004" pitchFamily="34" charset="0"/>
              </a:defRPr>
            </a:lvl4pPr>
            <a:lvl5pPr>
              <a:defRPr>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a:extLst>
              <a:ext uri="{FF2B5EF4-FFF2-40B4-BE49-F238E27FC236}">
                <a16:creationId xmlns:a16="http://schemas.microsoft.com/office/drawing/2014/main" id="{45E3D30E-F44B-40B1-AB91-44D8BABA5FA9}"/>
              </a:ext>
            </a:extLst>
          </p:cNvPr>
          <p:cNvSpPr>
            <a:spLocks noGrp="1"/>
          </p:cNvSpPr>
          <p:nvPr>
            <p:ph type="title"/>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13" name="Foliennummernplatzhalter 52">
            <a:extLst>
              <a:ext uri="{FF2B5EF4-FFF2-40B4-BE49-F238E27FC236}">
                <a16:creationId xmlns:a16="http://schemas.microsoft.com/office/drawing/2014/main" id="{D874788A-3E01-4735-B998-BF7681C4A1D5}"/>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0" name="Textplatzhalter 3">
            <a:extLst>
              <a:ext uri="{FF2B5EF4-FFF2-40B4-BE49-F238E27FC236}">
                <a16:creationId xmlns:a16="http://schemas.microsoft.com/office/drawing/2014/main" id="{9F1113BD-2EDB-4CBB-AD29-0E160C28A368}"/>
              </a:ext>
            </a:extLst>
          </p:cNvPr>
          <p:cNvSpPr>
            <a:spLocks noGrp="1"/>
          </p:cNvSpPr>
          <p:nvPr>
            <p:ph type="body" sz="quarter" idx="18"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Tree>
    <p:extLst>
      <p:ext uri="{BB962C8B-B14F-4D97-AF65-F5344CB8AC3E}">
        <p14:creationId xmlns:p14="http://schemas.microsoft.com/office/powerpoint/2010/main" val="31651517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11" name="Rechteck: eine Ecke abgeschnitten 1">
            <a:extLst>
              <a:ext uri="{FF2B5EF4-FFF2-40B4-BE49-F238E27FC236}">
                <a16:creationId xmlns:a16="http://schemas.microsoft.com/office/drawing/2014/main" id="{58F6A0E0-0BFD-4C09-8949-81991561DDDC}"/>
              </a:ext>
            </a:extLst>
          </p:cNvPr>
          <p:cNvSpPr>
            <a:spLocks noChangeAspect="1"/>
          </p:cNvSpPr>
          <p:nvPr userDrawn="1"/>
        </p:nvSpPr>
        <p:spPr>
          <a:xfrm flipV="1">
            <a:off x="334955" y="1883854"/>
            <a:ext cx="10727999" cy="356224"/>
          </a:xfrm>
          <a:custGeom>
            <a:avLst/>
            <a:gdLst>
              <a:gd name="connsiteX0" fmla="*/ 0 w 5191124"/>
              <a:gd name="connsiteY0" fmla="*/ 0 h 352816"/>
              <a:gd name="connsiteX1" fmla="*/ 5014716 w 5191124"/>
              <a:gd name="connsiteY1" fmla="*/ 0 h 352816"/>
              <a:gd name="connsiteX2" fmla="*/ 5191124 w 5191124"/>
              <a:gd name="connsiteY2" fmla="*/ 176408 h 352816"/>
              <a:gd name="connsiteX3" fmla="*/ 5191124 w 5191124"/>
              <a:gd name="connsiteY3" fmla="*/ 352816 h 352816"/>
              <a:gd name="connsiteX4" fmla="*/ 0 w 5191124"/>
              <a:gd name="connsiteY4" fmla="*/ 352816 h 352816"/>
              <a:gd name="connsiteX5" fmla="*/ 0 w 5191124"/>
              <a:gd name="connsiteY5" fmla="*/ 0 h 352816"/>
              <a:gd name="connsiteX0" fmla="*/ 0 w 5191124"/>
              <a:gd name="connsiteY0" fmla="*/ 0 h 352816"/>
              <a:gd name="connsiteX1" fmla="*/ 4978997 w 5191124"/>
              <a:gd name="connsiteY1" fmla="*/ 0 h 352816"/>
              <a:gd name="connsiteX2" fmla="*/ 5191124 w 5191124"/>
              <a:gd name="connsiteY2" fmla="*/ 176408 h 352816"/>
              <a:gd name="connsiteX3" fmla="*/ 5191124 w 5191124"/>
              <a:gd name="connsiteY3" fmla="*/ 352816 h 352816"/>
              <a:gd name="connsiteX4" fmla="*/ 0 w 5191124"/>
              <a:gd name="connsiteY4" fmla="*/ 352816 h 352816"/>
              <a:gd name="connsiteX5" fmla="*/ 0 w 5191124"/>
              <a:gd name="connsiteY5" fmla="*/ 0 h 352816"/>
              <a:gd name="connsiteX0" fmla="*/ 0 w 5195886"/>
              <a:gd name="connsiteY0" fmla="*/ 0 h 352816"/>
              <a:gd name="connsiteX1" fmla="*/ 4978997 w 5195886"/>
              <a:gd name="connsiteY1" fmla="*/ 0 h 352816"/>
              <a:gd name="connsiteX2" fmla="*/ 5195886 w 5195886"/>
              <a:gd name="connsiteY2" fmla="*/ 197839 h 352816"/>
              <a:gd name="connsiteX3" fmla="*/ 5191124 w 5195886"/>
              <a:gd name="connsiteY3" fmla="*/ 352816 h 352816"/>
              <a:gd name="connsiteX4" fmla="*/ 0 w 5195886"/>
              <a:gd name="connsiteY4" fmla="*/ 352816 h 352816"/>
              <a:gd name="connsiteX5" fmla="*/ 0 w 5195886"/>
              <a:gd name="connsiteY5" fmla="*/ 0 h 352816"/>
              <a:gd name="connsiteX0" fmla="*/ 0 w 5195886"/>
              <a:gd name="connsiteY0" fmla="*/ 2381 h 355197"/>
              <a:gd name="connsiteX1" fmla="*/ 4948041 w 5195886"/>
              <a:gd name="connsiteY1" fmla="*/ 0 h 355197"/>
              <a:gd name="connsiteX2" fmla="*/ 5195886 w 5195886"/>
              <a:gd name="connsiteY2" fmla="*/ 200220 h 355197"/>
              <a:gd name="connsiteX3" fmla="*/ 5191124 w 5195886"/>
              <a:gd name="connsiteY3" fmla="*/ 355197 h 355197"/>
              <a:gd name="connsiteX4" fmla="*/ 0 w 5195886"/>
              <a:gd name="connsiteY4" fmla="*/ 355197 h 355197"/>
              <a:gd name="connsiteX5" fmla="*/ 0 w 5195886"/>
              <a:gd name="connsiteY5" fmla="*/ 2381 h 355197"/>
              <a:gd name="connsiteX0" fmla="*/ 0 w 5195886"/>
              <a:gd name="connsiteY0" fmla="*/ 2381 h 355197"/>
              <a:gd name="connsiteX1" fmla="*/ 4948041 w 5195886"/>
              <a:gd name="connsiteY1" fmla="*/ 0 h 355197"/>
              <a:gd name="connsiteX2" fmla="*/ 5195886 w 5195886"/>
              <a:gd name="connsiteY2" fmla="*/ 228795 h 355197"/>
              <a:gd name="connsiteX3" fmla="*/ 5191124 w 5195886"/>
              <a:gd name="connsiteY3" fmla="*/ 355197 h 355197"/>
              <a:gd name="connsiteX4" fmla="*/ 0 w 5195886"/>
              <a:gd name="connsiteY4" fmla="*/ 355197 h 355197"/>
              <a:gd name="connsiteX5" fmla="*/ 0 w 5195886"/>
              <a:gd name="connsiteY5" fmla="*/ 2381 h 355197"/>
              <a:gd name="connsiteX0" fmla="*/ 0 w 5195886"/>
              <a:gd name="connsiteY0" fmla="*/ 2381 h 355197"/>
              <a:gd name="connsiteX1" fmla="*/ 4948041 w 5195886"/>
              <a:gd name="connsiteY1" fmla="*/ 0 h 355197"/>
              <a:gd name="connsiteX2" fmla="*/ 5195886 w 5195886"/>
              <a:gd name="connsiteY2" fmla="*/ 228795 h 355197"/>
              <a:gd name="connsiteX3" fmla="*/ 5193505 w 5195886"/>
              <a:gd name="connsiteY3" fmla="*/ 355197 h 355197"/>
              <a:gd name="connsiteX4" fmla="*/ 0 w 5195886"/>
              <a:gd name="connsiteY4" fmla="*/ 355197 h 355197"/>
              <a:gd name="connsiteX5" fmla="*/ 0 w 5195886"/>
              <a:gd name="connsiteY5" fmla="*/ 2381 h 355197"/>
              <a:gd name="connsiteX0" fmla="*/ 0 w 5195886"/>
              <a:gd name="connsiteY0" fmla="*/ 0 h 352816"/>
              <a:gd name="connsiteX1" fmla="*/ 4948041 w 5195886"/>
              <a:gd name="connsiteY1" fmla="*/ 1 h 352816"/>
              <a:gd name="connsiteX2" fmla="*/ 5195886 w 5195886"/>
              <a:gd name="connsiteY2" fmla="*/ 226414 h 352816"/>
              <a:gd name="connsiteX3" fmla="*/ 5193505 w 5195886"/>
              <a:gd name="connsiteY3" fmla="*/ 352816 h 352816"/>
              <a:gd name="connsiteX4" fmla="*/ 0 w 5195886"/>
              <a:gd name="connsiteY4" fmla="*/ 352816 h 352816"/>
              <a:gd name="connsiteX5" fmla="*/ 0 w 5195886"/>
              <a:gd name="connsiteY5" fmla="*/ 0 h 352816"/>
              <a:gd name="connsiteX0" fmla="*/ 0 w 5198373"/>
              <a:gd name="connsiteY0" fmla="*/ 0 h 352816"/>
              <a:gd name="connsiteX1" fmla="*/ 4948041 w 5198373"/>
              <a:gd name="connsiteY1" fmla="*/ 1 h 352816"/>
              <a:gd name="connsiteX2" fmla="*/ 5195886 w 5198373"/>
              <a:gd name="connsiteY2" fmla="*/ 226414 h 352816"/>
              <a:gd name="connsiteX3" fmla="*/ 5198268 w 5198373"/>
              <a:gd name="connsiteY3" fmla="*/ 350435 h 352816"/>
              <a:gd name="connsiteX4" fmla="*/ 0 w 5198373"/>
              <a:gd name="connsiteY4" fmla="*/ 352816 h 352816"/>
              <a:gd name="connsiteX5" fmla="*/ 0 w 5198373"/>
              <a:gd name="connsiteY5" fmla="*/ 0 h 352816"/>
              <a:gd name="connsiteX0" fmla="*/ 0 w 5200718"/>
              <a:gd name="connsiteY0" fmla="*/ 0 h 352816"/>
              <a:gd name="connsiteX1" fmla="*/ 4948041 w 5200718"/>
              <a:gd name="connsiteY1" fmla="*/ 1 h 352816"/>
              <a:gd name="connsiteX2" fmla="*/ 5195886 w 5200718"/>
              <a:gd name="connsiteY2" fmla="*/ 226414 h 352816"/>
              <a:gd name="connsiteX3" fmla="*/ 5200650 w 5200718"/>
              <a:gd name="connsiteY3" fmla="*/ 350435 h 352816"/>
              <a:gd name="connsiteX4" fmla="*/ 0 w 5200718"/>
              <a:gd name="connsiteY4" fmla="*/ 352816 h 352816"/>
              <a:gd name="connsiteX5" fmla="*/ 0 w 5200718"/>
              <a:gd name="connsiteY5" fmla="*/ 0 h 352816"/>
              <a:gd name="connsiteX0" fmla="*/ 0 w 5200650"/>
              <a:gd name="connsiteY0" fmla="*/ 0 h 352816"/>
              <a:gd name="connsiteX1" fmla="*/ 4948041 w 5200650"/>
              <a:gd name="connsiteY1" fmla="*/ 1 h 352816"/>
              <a:gd name="connsiteX2" fmla="*/ 5195886 w 5200650"/>
              <a:gd name="connsiteY2" fmla="*/ 226414 h 352816"/>
              <a:gd name="connsiteX3" fmla="*/ 5200650 w 5200650"/>
              <a:gd name="connsiteY3" fmla="*/ 350435 h 352816"/>
              <a:gd name="connsiteX4" fmla="*/ 0 w 5200650"/>
              <a:gd name="connsiteY4" fmla="*/ 352816 h 352816"/>
              <a:gd name="connsiteX5" fmla="*/ 0 w 5200650"/>
              <a:gd name="connsiteY5" fmla="*/ 0 h 352816"/>
              <a:gd name="connsiteX0" fmla="*/ 0 w 5198269"/>
              <a:gd name="connsiteY0" fmla="*/ 0 h 352816"/>
              <a:gd name="connsiteX1" fmla="*/ 4948041 w 5198269"/>
              <a:gd name="connsiteY1" fmla="*/ 1 h 352816"/>
              <a:gd name="connsiteX2" fmla="*/ 5195886 w 5198269"/>
              <a:gd name="connsiteY2" fmla="*/ 226414 h 352816"/>
              <a:gd name="connsiteX3" fmla="*/ 5198269 w 5198269"/>
              <a:gd name="connsiteY3" fmla="*/ 352816 h 352816"/>
              <a:gd name="connsiteX4" fmla="*/ 0 w 5198269"/>
              <a:gd name="connsiteY4" fmla="*/ 352816 h 352816"/>
              <a:gd name="connsiteX5" fmla="*/ 0 w 5198269"/>
              <a:gd name="connsiteY5" fmla="*/ 0 h 352816"/>
              <a:gd name="connsiteX0" fmla="*/ 0 w 5198269"/>
              <a:gd name="connsiteY0" fmla="*/ 0 h 352816"/>
              <a:gd name="connsiteX1" fmla="*/ 4948041 w 5198269"/>
              <a:gd name="connsiteY1" fmla="*/ 1 h 352816"/>
              <a:gd name="connsiteX2" fmla="*/ 5195886 w 5198269"/>
              <a:gd name="connsiteY2" fmla="*/ 254989 h 352816"/>
              <a:gd name="connsiteX3" fmla="*/ 5198269 w 5198269"/>
              <a:gd name="connsiteY3" fmla="*/ 352816 h 352816"/>
              <a:gd name="connsiteX4" fmla="*/ 0 w 5198269"/>
              <a:gd name="connsiteY4" fmla="*/ 352816 h 352816"/>
              <a:gd name="connsiteX5" fmla="*/ 0 w 5198269"/>
              <a:gd name="connsiteY5" fmla="*/ 0 h 352816"/>
              <a:gd name="connsiteX0" fmla="*/ 0 w 5198269"/>
              <a:gd name="connsiteY0" fmla="*/ 0 h 352816"/>
              <a:gd name="connsiteX1" fmla="*/ 4948041 w 5198269"/>
              <a:gd name="connsiteY1" fmla="*/ 1 h 352816"/>
              <a:gd name="connsiteX2" fmla="*/ 5198267 w 5198269"/>
              <a:gd name="connsiteY2" fmla="*/ 254989 h 352816"/>
              <a:gd name="connsiteX3" fmla="*/ 5198269 w 5198269"/>
              <a:gd name="connsiteY3" fmla="*/ 352816 h 352816"/>
              <a:gd name="connsiteX4" fmla="*/ 0 w 5198269"/>
              <a:gd name="connsiteY4" fmla="*/ 352816 h 352816"/>
              <a:gd name="connsiteX5" fmla="*/ 0 w 5198269"/>
              <a:gd name="connsiteY5" fmla="*/ 0 h 352816"/>
              <a:gd name="connsiteX0" fmla="*/ 0 w 5198269"/>
              <a:gd name="connsiteY0" fmla="*/ 0 h 352816"/>
              <a:gd name="connsiteX1" fmla="*/ 4948041 w 5198269"/>
              <a:gd name="connsiteY1" fmla="*/ 1 h 352816"/>
              <a:gd name="connsiteX2" fmla="*/ 5195172 w 5198269"/>
              <a:gd name="connsiteY2" fmla="*/ 140469 h 352816"/>
              <a:gd name="connsiteX3" fmla="*/ 5198269 w 5198269"/>
              <a:gd name="connsiteY3" fmla="*/ 352816 h 352816"/>
              <a:gd name="connsiteX4" fmla="*/ 0 w 5198269"/>
              <a:gd name="connsiteY4" fmla="*/ 352816 h 352816"/>
              <a:gd name="connsiteX5" fmla="*/ 0 w 5198269"/>
              <a:gd name="connsiteY5" fmla="*/ 0 h 352816"/>
              <a:gd name="connsiteX0" fmla="*/ 0 w 5198269"/>
              <a:gd name="connsiteY0" fmla="*/ 0 h 352816"/>
              <a:gd name="connsiteX1" fmla="*/ 5043991 w 5198269"/>
              <a:gd name="connsiteY1" fmla="*/ 3097 h 352816"/>
              <a:gd name="connsiteX2" fmla="*/ 5195172 w 5198269"/>
              <a:gd name="connsiteY2" fmla="*/ 140469 h 352816"/>
              <a:gd name="connsiteX3" fmla="*/ 5198269 w 5198269"/>
              <a:gd name="connsiteY3" fmla="*/ 352816 h 352816"/>
              <a:gd name="connsiteX4" fmla="*/ 0 w 5198269"/>
              <a:gd name="connsiteY4" fmla="*/ 352816 h 352816"/>
              <a:gd name="connsiteX5" fmla="*/ 0 w 5198269"/>
              <a:gd name="connsiteY5" fmla="*/ 0 h 352816"/>
              <a:gd name="connsiteX0" fmla="*/ 0 w 5198269"/>
              <a:gd name="connsiteY0" fmla="*/ 4060 h 356876"/>
              <a:gd name="connsiteX1" fmla="*/ 5043991 w 5198269"/>
              <a:gd name="connsiteY1" fmla="*/ 0 h 356876"/>
              <a:gd name="connsiteX2" fmla="*/ 5195172 w 5198269"/>
              <a:gd name="connsiteY2" fmla="*/ 144529 h 356876"/>
              <a:gd name="connsiteX3" fmla="*/ 5198269 w 5198269"/>
              <a:gd name="connsiteY3" fmla="*/ 356876 h 356876"/>
              <a:gd name="connsiteX4" fmla="*/ 0 w 5198269"/>
              <a:gd name="connsiteY4" fmla="*/ 356876 h 356876"/>
              <a:gd name="connsiteX5" fmla="*/ 0 w 5198269"/>
              <a:gd name="connsiteY5" fmla="*/ 4060 h 356876"/>
              <a:gd name="connsiteX0" fmla="*/ 0 w 5199943"/>
              <a:gd name="connsiteY0" fmla="*/ 4060 h 356876"/>
              <a:gd name="connsiteX1" fmla="*/ 5043991 w 5199943"/>
              <a:gd name="connsiteY1" fmla="*/ 0 h 356876"/>
              <a:gd name="connsiteX2" fmla="*/ 5199943 w 5199943"/>
              <a:gd name="connsiteY2" fmla="*/ 144529 h 356876"/>
              <a:gd name="connsiteX3" fmla="*/ 5198269 w 5199943"/>
              <a:gd name="connsiteY3" fmla="*/ 356876 h 356876"/>
              <a:gd name="connsiteX4" fmla="*/ 0 w 5199943"/>
              <a:gd name="connsiteY4" fmla="*/ 356876 h 356876"/>
              <a:gd name="connsiteX5" fmla="*/ 0 w 5199943"/>
              <a:gd name="connsiteY5" fmla="*/ 4060 h 356876"/>
              <a:gd name="connsiteX0" fmla="*/ 0 w 5199943"/>
              <a:gd name="connsiteY0" fmla="*/ 4060 h 356876"/>
              <a:gd name="connsiteX1" fmla="*/ 5043991 w 5199943"/>
              <a:gd name="connsiteY1" fmla="*/ 0 h 356876"/>
              <a:gd name="connsiteX2" fmla="*/ 5199943 w 5199943"/>
              <a:gd name="connsiteY2" fmla="*/ 142143 h 356876"/>
              <a:gd name="connsiteX3" fmla="*/ 5198269 w 5199943"/>
              <a:gd name="connsiteY3" fmla="*/ 356876 h 356876"/>
              <a:gd name="connsiteX4" fmla="*/ 0 w 5199943"/>
              <a:gd name="connsiteY4" fmla="*/ 356876 h 356876"/>
              <a:gd name="connsiteX5" fmla="*/ 0 w 5199943"/>
              <a:gd name="connsiteY5" fmla="*/ 4060 h 356876"/>
              <a:gd name="connsiteX0" fmla="*/ 0 w 5198269"/>
              <a:gd name="connsiteY0" fmla="*/ 4060 h 356876"/>
              <a:gd name="connsiteX1" fmla="*/ 5043991 w 5198269"/>
              <a:gd name="connsiteY1" fmla="*/ 0 h 356876"/>
              <a:gd name="connsiteX2" fmla="*/ 5197558 w 5198269"/>
              <a:gd name="connsiteY2" fmla="*/ 142143 h 356876"/>
              <a:gd name="connsiteX3" fmla="*/ 5198269 w 5198269"/>
              <a:gd name="connsiteY3" fmla="*/ 356876 h 356876"/>
              <a:gd name="connsiteX4" fmla="*/ 0 w 5198269"/>
              <a:gd name="connsiteY4" fmla="*/ 356876 h 356876"/>
              <a:gd name="connsiteX5" fmla="*/ 0 w 5198269"/>
              <a:gd name="connsiteY5" fmla="*/ 4060 h 356876"/>
              <a:gd name="connsiteX0" fmla="*/ 0 w 5198269"/>
              <a:gd name="connsiteY0" fmla="*/ 0 h 352816"/>
              <a:gd name="connsiteX1" fmla="*/ 5043991 w 5198269"/>
              <a:gd name="connsiteY1" fmla="*/ 711 h 352816"/>
              <a:gd name="connsiteX2" fmla="*/ 5197558 w 5198269"/>
              <a:gd name="connsiteY2" fmla="*/ 138083 h 352816"/>
              <a:gd name="connsiteX3" fmla="*/ 5198269 w 5198269"/>
              <a:gd name="connsiteY3" fmla="*/ 352816 h 352816"/>
              <a:gd name="connsiteX4" fmla="*/ 0 w 5198269"/>
              <a:gd name="connsiteY4" fmla="*/ 352816 h 352816"/>
              <a:gd name="connsiteX5" fmla="*/ 0 w 5198269"/>
              <a:gd name="connsiteY5" fmla="*/ 0 h 352816"/>
              <a:gd name="connsiteX0" fmla="*/ 0 w 5198269"/>
              <a:gd name="connsiteY0" fmla="*/ 4059 h 356875"/>
              <a:gd name="connsiteX1" fmla="*/ 5043991 w 5198269"/>
              <a:gd name="connsiteY1" fmla="*/ 0 h 356875"/>
              <a:gd name="connsiteX2" fmla="*/ 5197558 w 5198269"/>
              <a:gd name="connsiteY2" fmla="*/ 142142 h 356875"/>
              <a:gd name="connsiteX3" fmla="*/ 5198269 w 5198269"/>
              <a:gd name="connsiteY3" fmla="*/ 356875 h 356875"/>
              <a:gd name="connsiteX4" fmla="*/ 0 w 5198269"/>
              <a:gd name="connsiteY4" fmla="*/ 356875 h 356875"/>
              <a:gd name="connsiteX5" fmla="*/ 0 w 5198269"/>
              <a:gd name="connsiteY5" fmla="*/ 4059 h 356875"/>
              <a:gd name="connsiteX0" fmla="*/ 0 w 5198269"/>
              <a:gd name="connsiteY0" fmla="*/ 4059 h 356875"/>
              <a:gd name="connsiteX1" fmla="*/ 5043991 w 5198269"/>
              <a:gd name="connsiteY1" fmla="*/ 0 h 356875"/>
              <a:gd name="connsiteX2" fmla="*/ 5197558 w 5198269"/>
              <a:gd name="connsiteY2" fmla="*/ 142142 h 356875"/>
              <a:gd name="connsiteX3" fmla="*/ 5198269 w 5198269"/>
              <a:gd name="connsiteY3" fmla="*/ 356875 h 356875"/>
              <a:gd name="connsiteX4" fmla="*/ 0 w 5198269"/>
              <a:gd name="connsiteY4" fmla="*/ 356875 h 356875"/>
              <a:gd name="connsiteX5" fmla="*/ 0 w 5198269"/>
              <a:gd name="connsiteY5" fmla="*/ 4059 h 356875"/>
              <a:gd name="connsiteX0" fmla="*/ 0 w 5198269"/>
              <a:gd name="connsiteY0" fmla="*/ 4059 h 356875"/>
              <a:gd name="connsiteX1" fmla="*/ 5043991 w 5198269"/>
              <a:gd name="connsiteY1" fmla="*/ 0 h 356875"/>
              <a:gd name="connsiteX2" fmla="*/ 5197558 w 5198269"/>
              <a:gd name="connsiteY2" fmla="*/ 142142 h 356875"/>
              <a:gd name="connsiteX3" fmla="*/ 5198269 w 5198269"/>
              <a:gd name="connsiteY3" fmla="*/ 356875 h 356875"/>
              <a:gd name="connsiteX4" fmla="*/ 0 w 5198269"/>
              <a:gd name="connsiteY4" fmla="*/ 356875 h 356875"/>
              <a:gd name="connsiteX5" fmla="*/ 0 w 5198269"/>
              <a:gd name="connsiteY5" fmla="*/ 4059 h 356875"/>
              <a:gd name="connsiteX0" fmla="*/ 0 w 5198269"/>
              <a:gd name="connsiteY0" fmla="*/ 4059 h 356875"/>
              <a:gd name="connsiteX1" fmla="*/ 5043991 w 5198269"/>
              <a:gd name="connsiteY1" fmla="*/ 0 h 356875"/>
              <a:gd name="connsiteX2" fmla="*/ 5197558 w 5198269"/>
              <a:gd name="connsiteY2" fmla="*/ 142142 h 356875"/>
              <a:gd name="connsiteX3" fmla="*/ 5198269 w 5198269"/>
              <a:gd name="connsiteY3" fmla="*/ 356875 h 356875"/>
              <a:gd name="connsiteX4" fmla="*/ 0 w 5198269"/>
              <a:gd name="connsiteY4" fmla="*/ 356875 h 356875"/>
              <a:gd name="connsiteX5" fmla="*/ 0 w 5198269"/>
              <a:gd name="connsiteY5" fmla="*/ 4059 h 356875"/>
              <a:gd name="connsiteX0" fmla="*/ 0 w 5198269"/>
              <a:gd name="connsiteY0" fmla="*/ 4059 h 356875"/>
              <a:gd name="connsiteX1" fmla="*/ 5043991 w 5198269"/>
              <a:gd name="connsiteY1" fmla="*/ 0 h 356875"/>
              <a:gd name="connsiteX2" fmla="*/ 5197558 w 5198269"/>
              <a:gd name="connsiteY2" fmla="*/ 142142 h 356875"/>
              <a:gd name="connsiteX3" fmla="*/ 5198269 w 5198269"/>
              <a:gd name="connsiteY3" fmla="*/ 356875 h 356875"/>
              <a:gd name="connsiteX4" fmla="*/ 0 w 5198269"/>
              <a:gd name="connsiteY4" fmla="*/ 356875 h 356875"/>
              <a:gd name="connsiteX5" fmla="*/ 0 w 5198269"/>
              <a:gd name="connsiteY5" fmla="*/ 4059 h 356875"/>
              <a:gd name="connsiteX0" fmla="*/ 0 w 5198269"/>
              <a:gd name="connsiteY0" fmla="*/ 4059 h 356875"/>
              <a:gd name="connsiteX1" fmla="*/ 5043991 w 5198269"/>
              <a:gd name="connsiteY1" fmla="*/ 0 h 356875"/>
              <a:gd name="connsiteX2" fmla="*/ 5197558 w 5198269"/>
              <a:gd name="connsiteY2" fmla="*/ 142142 h 356875"/>
              <a:gd name="connsiteX3" fmla="*/ 5198269 w 5198269"/>
              <a:gd name="connsiteY3" fmla="*/ 356875 h 356875"/>
              <a:gd name="connsiteX4" fmla="*/ 0 w 5198269"/>
              <a:gd name="connsiteY4" fmla="*/ 356875 h 356875"/>
              <a:gd name="connsiteX5" fmla="*/ 0 w 5198269"/>
              <a:gd name="connsiteY5" fmla="*/ 4059 h 356875"/>
              <a:gd name="connsiteX0" fmla="*/ 0 w 5198269"/>
              <a:gd name="connsiteY0" fmla="*/ 4059 h 356875"/>
              <a:gd name="connsiteX1" fmla="*/ 5043991 w 5198269"/>
              <a:gd name="connsiteY1" fmla="*/ 0 h 356875"/>
              <a:gd name="connsiteX2" fmla="*/ 5197558 w 5198269"/>
              <a:gd name="connsiteY2" fmla="*/ 142142 h 356875"/>
              <a:gd name="connsiteX3" fmla="*/ 5198269 w 5198269"/>
              <a:gd name="connsiteY3" fmla="*/ 356875 h 356875"/>
              <a:gd name="connsiteX4" fmla="*/ 0 w 5198269"/>
              <a:gd name="connsiteY4" fmla="*/ 356875 h 356875"/>
              <a:gd name="connsiteX5" fmla="*/ 0 w 5198269"/>
              <a:gd name="connsiteY5" fmla="*/ 4059 h 356875"/>
              <a:gd name="connsiteX0" fmla="*/ 0 w 5200654"/>
              <a:gd name="connsiteY0" fmla="*/ 1673 h 356875"/>
              <a:gd name="connsiteX1" fmla="*/ 5046376 w 5200654"/>
              <a:gd name="connsiteY1" fmla="*/ 0 h 356875"/>
              <a:gd name="connsiteX2" fmla="*/ 5199943 w 5200654"/>
              <a:gd name="connsiteY2" fmla="*/ 142142 h 356875"/>
              <a:gd name="connsiteX3" fmla="*/ 5200654 w 5200654"/>
              <a:gd name="connsiteY3" fmla="*/ 356875 h 356875"/>
              <a:gd name="connsiteX4" fmla="*/ 2385 w 5200654"/>
              <a:gd name="connsiteY4" fmla="*/ 356875 h 356875"/>
              <a:gd name="connsiteX5" fmla="*/ 0 w 5200654"/>
              <a:gd name="connsiteY5" fmla="*/ 1673 h 356875"/>
              <a:gd name="connsiteX0" fmla="*/ 0 w 5200654"/>
              <a:gd name="connsiteY0" fmla="*/ 0 h 357587"/>
              <a:gd name="connsiteX1" fmla="*/ 5046376 w 5200654"/>
              <a:gd name="connsiteY1" fmla="*/ 712 h 357587"/>
              <a:gd name="connsiteX2" fmla="*/ 5199943 w 5200654"/>
              <a:gd name="connsiteY2" fmla="*/ 142854 h 357587"/>
              <a:gd name="connsiteX3" fmla="*/ 5200654 w 5200654"/>
              <a:gd name="connsiteY3" fmla="*/ 357587 h 357587"/>
              <a:gd name="connsiteX4" fmla="*/ 2385 w 5200654"/>
              <a:gd name="connsiteY4" fmla="*/ 357587 h 357587"/>
              <a:gd name="connsiteX5" fmla="*/ 0 w 5200654"/>
              <a:gd name="connsiteY5" fmla="*/ 0 h 357587"/>
              <a:gd name="connsiteX0" fmla="*/ 0 w 5198269"/>
              <a:gd name="connsiteY0" fmla="*/ 1673 h 356875"/>
              <a:gd name="connsiteX1" fmla="*/ 5043991 w 5198269"/>
              <a:gd name="connsiteY1" fmla="*/ 0 h 356875"/>
              <a:gd name="connsiteX2" fmla="*/ 5197558 w 5198269"/>
              <a:gd name="connsiteY2" fmla="*/ 142142 h 356875"/>
              <a:gd name="connsiteX3" fmla="*/ 5198269 w 5198269"/>
              <a:gd name="connsiteY3" fmla="*/ 356875 h 356875"/>
              <a:gd name="connsiteX4" fmla="*/ 0 w 5198269"/>
              <a:gd name="connsiteY4" fmla="*/ 356875 h 356875"/>
              <a:gd name="connsiteX5" fmla="*/ 0 w 5198269"/>
              <a:gd name="connsiteY5" fmla="*/ 1673 h 35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8269" h="356875">
                <a:moveTo>
                  <a:pt x="0" y="1673"/>
                </a:moveTo>
                <a:lnTo>
                  <a:pt x="5043991" y="0"/>
                </a:lnTo>
                <a:cubicBezTo>
                  <a:pt x="5127400" y="84996"/>
                  <a:pt x="5114149" y="57146"/>
                  <a:pt x="5197558" y="142142"/>
                </a:cubicBezTo>
                <a:cubicBezTo>
                  <a:pt x="5196764" y="184276"/>
                  <a:pt x="5196681" y="352841"/>
                  <a:pt x="5198269" y="356875"/>
                </a:cubicBezTo>
                <a:lnTo>
                  <a:pt x="0" y="356875"/>
                </a:lnTo>
                <a:lnTo>
                  <a:pt x="0" y="167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Diagrammplatzhalter 11">
            <a:extLst>
              <a:ext uri="{FF2B5EF4-FFF2-40B4-BE49-F238E27FC236}">
                <a16:creationId xmlns:a16="http://schemas.microsoft.com/office/drawing/2014/main" id="{303DE881-4B18-4441-9482-A372444F119B}"/>
              </a:ext>
            </a:extLst>
          </p:cNvPr>
          <p:cNvSpPr>
            <a:spLocks noGrp="1"/>
          </p:cNvSpPr>
          <p:nvPr>
            <p:ph type="chart" sz="quarter" idx="13"/>
          </p:nvPr>
        </p:nvSpPr>
        <p:spPr>
          <a:xfrm>
            <a:off x="330201" y="2323224"/>
            <a:ext cx="10725308" cy="3984625"/>
          </a:xfrm>
          <a:prstGeom prst="rect">
            <a:avLst/>
          </a:prstGeom>
        </p:spPr>
        <p:txBody>
          <a:bodyPr/>
          <a:lstStyle>
            <a:lvl1pPr>
              <a:defRPr>
                <a:latin typeface="M05 Text Office" panose="020B0504040000000004" pitchFamily="34" charset="0"/>
              </a:defRPr>
            </a:lvl1pPr>
          </a:lstStyle>
          <a:p>
            <a:r>
              <a:rPr lang="de-DE"/>
              <a:t>Diagramm durch Klicken auf Symbol hinzufügen</a:t>
            </a:r>
          </a:p>
        </p:txBody>
      </p:sp>
      <p:sp>
        <p:nvSpPr>
          <p:cNvPr id="14" name="Textplatzhalter 18">
            <a:extLst>
              <a:ext uri="{FF2B5EF4-FFF2-40B4-BE49-F238E27FC236}">
                <a16:creationId xmlns:a16="http://schemas.microsoft.com/office/drawing/2014/main" id="{D56AFF05-19A3-44B2-8A84-38D9D474645D}"/>
              </a:ext>
            </a:extLst>
          </p:cNvPr>
          <p:cNvSpPr>
            <a:spLocks noGrp="1"/>
          </p:cNvSpPr>
          <p:nvPr>
            <p:ph type="body" sz="quarter" idx="16" hasCustomPrompt="1"/>
          </p:nvPr>
        </p:nvSpPr>
        <p:spPr>
          <a:xfrm>
            <a:off x="334956" y="1939343"/>
            <a:ext cx="4957234" cy="245247"/>
          </a:xfrm>
          <a:prstGeom prst="rect">
            <a:avLst/>
          </a:prstGeom>
        </p:spPr>
        <p:txBody>
          <a:bodyPr lIns="37440" tIns="45720" rIns="37440" bIns="45720"/>
          <a:lstStyle>
            <a:lvl1pPr marL="0" indent="0">
              <a:buNone/>
              <a:defRPr sz="1600" b="1">
                <a:latin typeface="M05 Text Office" panose="020B0504040000000004" pitchFamily="34" charset="0"/>
              </a:defRPr>
            </a:lvl1pPr>
          </a:lstStyle>
          <a:p>
            <a:pPr lvl="0"/>
            <a:r>
              <a:rPr lang="de-DE"/>
              <a:t>Platzhalter für Diagrammtitel </a:t>
            </a:r>
          </a:p>
        </p:txBody>
      </p:sp>
      <p:sp>
        <p:nvSpPr>
          <p:cNvPr id="2" name="Titel 1">
            <a:extLst>
              <a:ext uri="{FF2B5EF4-FFF2-40B4-BE49-F238E27FC236}">
                <a16:creationId xmlns:a16="http://schemas.microsoft.com/office/drawing/2014/main" id="{45E3D30E-F44B-40B1-AB91-44D8BABA5FA9}"/>
              </a:ext>
            </a:extLst>
          </p:cNvPr>
          <p:cNvSpPr>
            <a:spLocks noGrp="1"/>
          </p:cNvSpPr>
          <p:nvPr>
            <p:ph type="title"/>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13" name="Foliennummernplatzhalter 52">
            <a:extLst>
              <a:ext uri="{FF2B5EF4-FFF2-40B4-BE49-F238E27FC236}">
                <a16:creationId xmlns:a16="http://schemas.microsoft.com/office/drawing/2014/main" id="{D874788A-3E01-4735-B998-BF7681C4A1D5}"/>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0" name="Textplatzhalter 3">
            <a:extLst>
              <a:ext uri="{FF2B5EF4-FFF2-40B4-BE49-F238E27FC236}">
                <a16:creationId xmlns:a16="http://schemas.microsoft.com/office/drawing/2014/main" id="{9F1113BD-2EDB-4CBB-AD29-0E160C28A368}"/>
              </a:ext>
            </a:extLst>
          </p:cNvPr>
          <p:cNvSpPr>
            <a:spLocks noGrp="1"/>
          </p:cNvSpPr>
          <p:nvPr>
            <p:ph type="body" sz="quarter" idx="18"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Tree>
    <p:extLst>
      <p:ext uri="{BB962C8B-B14F-4D97-AF65-F5344CB8AC3E}">
        <p14:creationId xmlns:p14="http://schemas.microsoft.com/office/powerpoint/2010/main" val="33216511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o/Con">
    <p:bg>
      <p:bgRef idx="1001">
        <a:schemeClr val="bg1"/>
      </p:bgRef>
    </p:bg>
    <p:spTree>
      <p:nvGrpSpPr>
        <p:cNvPr id="1" name=""/>
        <p:cNvGrpSpPr/>
        <p:nvPr/>
      </p:nvGrpSpPr>
      <p:grpSpPr>
        <a:xfrm>
          <a:off x="0" y="0"/>
          <a:ext cx="0" cy="0"/>
          <a:chOff x="0" y="0"/>
          <a:chExt cx="0" cy="0"/>
        </a:xfrm>
      </p:grpSpPr>
      <p:sp>
        <p:nvSpPr>
          <p:cNvPr id="20" name="Textplatzhalter 2">
            <a:extLst>
              <a:ext uri="{FF2B5EF4-FFF2-40B4-BE49-F238E27FC236}">
                <a16:creationId xmlns:a16="http://schemas.microsoft.com/office/drawing/2014/main" id="{F920A0E4-FD31-4E54-8033-CC6CEF823A45}"/>
              </a:ext>
            </a:extLst>
          </p:cNvPr>
          <p:cNvSpPr>
            <a:spLocks noGrp="1" noChangeAspect="1"/>
          </p:cNvSpPr>
          <p:nvPr>
            <p:ph type="body" sz="quarter" idx="19" hasCustomPrompt="1"/>
          </p:nvPr>
        </p:nvSpPr>
        <p:spPr>
          <a:xfrm flipH="1">
            <a:off x="5695964" y="1907059"/>
            <a:ext cx="5373363" cy="4226502"/>
          </a:xfrm>
          <a:custGeom>
            <a:avLst/>
            <a:gdLst>
              <a:gd name="connsiteX0" fmla="*/ 0 w 10191750"/>
              <a:gd name="connsiteY0" fmla="*/ 0 h 6858000"/>
              <a:gd name="connsiteX1" fmla="*/ 6762750 w 10191750"/>
              <a:gd name="connsiteY1" fmla="*/ 0 h 6858000"/>
              <a:gd name="connsiteX2" fmla="*/ 10191750 w 10191750"/>
              <a:gd name="connsiteY2" fmla="*/ 3429000 h 6858000"/>
              <a:gd name="connsiteX3" fmla="*/ 10191750 w 10191750"/>
              <a:gd name="connsiteY3" fmla="*/ 6858000 h 6858000"/>
              <a:gd name="connsiteX4" fmla="*/ 0 w 10191750"/>
              <a:gd name="connsiteY4" fmla="*/ 6858000 h 6858000"/>
              <a:gd name="connsiteX5" fmla="*/ 0 w 10191750"/>
              <a:gd name="connsiteY5" fmla="*/ 0 h 6858000"/>
              <a:gd name="connsiteX0" fmla="*/ 0 w 10191750"/>
              <a:gd name="connsiteY0" fmla="*/ 9525 h 6867525"/>
              <a:gd name="connsiteX1" fmla="*/ 4410075 w 10191750"/>
              <a:gd name="connsiteY1" fmla="*/ 0 h 6867525"/>
              <a:gd name="connsiteX2" fmla="*/ 10191750 w 10191750"/>
              <a:gd name="connsiteY2" fmla="*/ 3438525 h 6867525"/>
              <a:gd name="connsiteX3" fmla="*/ 10191750 w 10191750"/>
              <a:gd name="connsiteY3" fmla="*/ 6867525 h 6867525"/>
              <a:gd name="connsiteX4" fmla="*/ 0 w 10191750"/>
              <a:gd name="connsiteY4" fmla="*/ 6867525 h 6867525"/>
              <a:gd name="connsiteX5" fmla="*/ 0 w 10191750"/>
              <a:gd name="connsiteY5" fmla="*/ 9525 h 6867525"/>
              <a:gd name="connsiteX0" fmla="*/ 0 w 10191750"/>
              <a:gd name="connsiteY0" fmla="*/ 9525 h 6867525"/>
              <a:gd name="connsiteX1" fmla="*/ 4410075 w 10191750"/>
              <a:gd name="connsiteY1" fmla="*/ 0 h 6867525"/>
              <a:gd name="connsiteX2" fmla="*/ 10172700 w 10191750"/>
              <a:gd name="connsiteY2" fmla="*/ 5781675 h 6867525"/>
              <a:gd name="connsiteX3" fmla="*/ 10191750 w 10191750"/>
              <a:gd name="connsiteY3" fmla="*/ 6867525 h 6867525"/>
              <a:gd name="connsiteX4" fmla="*/ 0 w 10191750"/>
              <a:gd name="connsiteY4" fmla="*/ 6867525 h 6867525"/>
              <a:gd name="connsiteX5" fmla="*/ 0 w 10191750"/>
              <a:gd name="connsiteY5" fmla="*/ 9525 h 6867525"/>
              <a:gd name="connsiteX0" fmla="*/ 0 w 10176285"/>
              <a:gd name="connsiteY0" fmla="*/ 9525 h 6867525"/>
              <a:gd name="connsiteX1" fmla="*/ 4410075 w 10176285"/>
              <a:gd name="connsiteY1" fmla="*/ 0 h 6867525"/>
              <a:gd name="connsiteX2" fmla="*/ 10172700 w 10176285"/>
              <a:gd name="connsiteY2" fmla="*/ 5781675 h 6867525"/>
              <a:gd name="connsiteX3" fmla="*/ 10176285 w 10176285"/>
              <a:gd name="connsiteY3" fmla="*/ 6867525 h 6867525"/>
              <a:gd name="connsiteX4" fmla="*/ 0 w 10176285"/>
              <a:gd name="connsiteY4" fmla="*/ 6867525 h 6867525"/>
              <a:gd name="connsiteX5" fmla="*/ 0 w 10176285"/>
              <a:gd name="connsiteY5" fmla="*/ 9525 h 6867525"/>
              <a:gd name="connsiteX0" fmla="*/ 0 w 10176285"/>
              <a:gd name="connsiteY0" fmla="*/ 9525 h 6867525"/>
              <a:gd name="connsiteX1" fmla="*/ 7590398 w 10176285"/>
              <a:gd name="connsiteY1" fmla="*/ 0 h 6867525"/>
              <a:gd name="connsiteX2" fmla="*/ 10172700 w 10176285"/>
              <a:gd name="connsiteY2" fmla="*/ 5781675 h 6867525"/>
              <a:gd name="connsiteX3" fmla="*/ 10176285 w 10176285"/>
              <a:gd name="connsiteY3" fmla="*/ 6867525 h 6867525"/>
              <a:gd name="connsiteX4" fmla="*/ 0 w 10176285"/>
              <a:gd name="connsiteY4" fmla="*/ 6867525 h 6867525"/>
              <a:gd name="connsiteX5" fmla="*/ 0 w 10176285"/>
              <a:gd name="connsiteY5" fmla="*/ 9525 h 6867525"/>
              <a:gd name="connsiteX0" fmla="*/ 0 w 10176285"/>
              <a:gd name="connsiteY0" fmla="*/ 9525 h 6867525"/>
              <a:gd name="connsiteX1" fmla="*/ 7590398 w 10176285"/>
              <a:gd name="connsiteY1" fmla="*/ 0 h 6867525"/>
              <a:gd name="connsiteX2" fmla="*/ 10154932 w 10176285"/>
              <a:gd name="connsiteY2" fmla="*/ 1994458 h 6867525"/>
              <a:gd name="connsiteX3" fmla="*/ 10176285 w 10176285"/>
              <a:gd name="connsiteY3" fmla="*/ 6867525 h 6867525"/>
              <a:gd name="connsiteX4" fmla="*/ 0 w 10176285"/>
              <a:gd name="connsiteY4" fmla="*/ 6867525 h 6867525"/>
              <a:gd name="connsiteX5" fmla="*/ 0 w 10176285"/>
              <a:gd name="connsiteY5" fmla="*/ 9525 h 6867525"/>
              <a:gd name="connsiteX0" fmla="*/ 0 w 10176285"/>
              <a:gd name="connsiteY0" fmla="*/ 9525 h 6867525"/>
              <a:gd name="connsiteX1" fmla="*/ 7590398 w 10176285"/>
              <a:gd name="connsiteY1" fmla="*/ 0 h 6867525"/>
              <a:gd name="connsiteX2" fmla="*/ 10154932 w 10176285"/>
              <a:gd name="connsiteY2" fmla="*/ 1994458 h 6867525"/>
              <a:gd name="connsiteX3" fmla="*/ 10176285 w 10176285"/>
              <a:gd name="connsiteY3" fmla="*/ 6867525 h 6867525"/>
              <a:gd name="connsiteX4" fmla="*/ 0 w 10176285"/>
              <a:gd name="connsiteY4" fmla="*/ 6867525 h 6867525"/>
              <a:gd name="connsiteX5" fmla="*/ 0 w 10176285"/>
              <a:gd name="connsiteY5" fmla="*/ 9525 h 6867525"/>
              <a:gd name="connsiteX0" fmla="*/ 0 w 10176285"/>
              <a:gd name="connsiteY0" fmla="*/ 1397 h 6859397"/>
              <a:gd name="connsiteX1" fmla="*/ 7590398 w 10176285"/>
              <a:gd name="connsiteY1" fmla="*/ 0 h 6859397"/>
              <a:gd name="connsiteX2" fmla="*/ 10154932 w 10176285"/>
              <a:gd name="connsiteY2" fmla="*/ 1986330 h 6859397"/>
              <a:gd name="connsiteX3" fmla="*/ 10176285 w 10176285"/>
              <a:gd name="connsiteY3" fmla="*/ 6859397 h 6859397"/>
              <a:gd name="connsiteX4" fmla="*/ 0 w 10176285"/>
              <a:gd name="connsiteY4" fmla="*/ 6859397 h 6859397"/>
              <a:gd name="connsiteX5" fmla="*/ 0 w 10176285"/>
              <a:gd name="connsiteY5" fmla="*/ 1397 h 6859397"/>
              <a:gd name="connsiteX0" fmla="*/ 0 w 10176285"/>
              <a:gd name="connsiteY0" fmla="*/ -1 h 6857999"/>
              <a:gd name="connsiteX1" fmla="*/ 7590398 w 10176285"/>
              <a:gd name="connsiteY1" fmla="*/ 6731 h 6857999"/>
              <a:gd name="connsiteX2" fmla="*/ 10154932 w 10176285"/>
              <a:gd name="connsiteY2" fmla="*/ 1984932 h 6857999"/>
              <a:gd name="connsiteX3" fmla="*/ 10176285 w 10176285"/>
              <a:gd name="connsiteY3" fmla="*/ 6857999 h 6857999"/>
              <a:gd name="connsiteX4" fmla="*/ 0 w 10176285"/>
              <a:gd name="connsiteY4" fmla="*/ 6857999 h 6857999"/>
              <a:gd name="connsiteX5" fmla="*/ 0 w 10176285"/>
              <a:gd name="connsiteY5" fmla="*/ -1 h 6857999"/>
              <a:gd name="connsiteX0" fmla="*/ 0 w 10176285"/>
              <a:gd name="connsiteY0" fmla="*/ 0 h 6853937"/>
              <a:gd name="connsiteX1" fmla="*/ 7590398 w 10176285"/>
              <a:gd name="connsiteY1" fmla="*/ 2669 h 6853937"/>
              <a:gd name="connsiteX2" fmla="*/ 10154932 w 10176285"/>
              <a:gd name="connsiteY2" fmla="*/ 1980870 h 6853937"/>
              <a:gd name="connsiteX3" fmla="*/ 10176285 w 10176285"/>
              <a:gd name="connsiteY3" fmla="*/ 6853937 h 6853937"/>
              <a:gd name="connsiteX4" fmla="*/ 0 w 10176285"/>
              <a:gd name="connsiteY4" fmla="*/ 6853937 h 6853937"/>
              <a:gd name="connsiteX5" fmla="*/ 0 w 10176285"/>
              <a:gd name="connsiteY5" fmla="*/ 0 h 6853937"/>
              <a:gd name="connsiteX0" fmla="*/ 0 w 10176285"/>
              <a:gd name="connsiteY0" fmla="*/ 0 h 6853937"/>
              <a:gd name="connsiteX1" fmla="*/ 7590398 w 10176285"/>
              <a:gd name="connsiteY1" fmla="*/ 2669 h 6853937"/>
              <a:gd name="connsiteX2" fmla="*/ 10159535 w 10176285"/>
              <a:gd name="connsiteY2" fmla="*/ 1992690 h 6853937"/>
              <a:gd name="connsiteX3" fmla="*/ 10176285 w 10176285"/>
              <a:gd name="connsiteY3" fmla="*/ 6853937 h 6853937"/>
              <a:gd name="connsiteX4" fmla="*/ 0 w 10176285"/>
              <a:gd name="connsiteY4" fmla="*/ 6853937 h 6853937"/>
              <a:gd name="connsiteX5" fmla="*/ 0 w 10176285"/>
              <a:gd name="connsiteY5" fmla="*/ 0 h 6853937"/>
              <a:gd name="connsiteX0" fmla="*/ 0 w 10176285"/>
              <a:gd name="connsiteY0" fmla="*/ 0 h 6853937"/>
              <a:gd name="connsiteX1" fmla="*/ 7590398 w 10176285"/>
              <a:gd name="connsiteY1" fmla="*/ 2669 h 6853937"/>
              <a:gd name="connsiteX2" fmla="*/ 10159535 w 10176285"/>
              <a:gd name="connsiteY2" fmla="*/ 1992690 h 6853937"/>
              <a:gd name="connsiteX3" fmla="*/ 10176285 w 10176285"/>
              <a:gd name="connsiteY3" fmla="*/ 6853937 h 6853937"/>
              <a:gd name="connsiteX4" fmla="*/ 0 w 10176285"/>
              <a:gd name="connsiteY4" fmla="*/ 6853937 h 6853937"/>
              <a:gd name="connsiteX5" fmla="*/ 0 w 10176285"/>
              <a:gd name="connsiteY5" fmla="*/ 0 h 6853937"/>
              <a:gd name="connsiteX0" fmla="*/ 0 w 10171682"/>
              <a:gd name="connsiteY0" fmla="*/ 0 h 6853937"/>
              <a:gd name="connsiteX1" fmla="*/ 7590398 w 10171682"/>
              <a:gd name="connsiteY1" fmla="*/ 2669 h 6853937"/>
              <a:gd name="connsiteX2" fmla="*/ 10159535 w 10171682"/>
              <a:gd name="connsiteY2" fmla="*/ 199269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1682"/>
              <a:gd name="connsiteY0" fmla="*/ 0 h 6853937"/>
              <a:gd name="connsiteX1" fmla="*/ 7590398 w 10171682"/>
              <a:gd name="connsiteY1" fmla="*/ 2669 h 6853937"/>
              <a:gd name="connsiteX2" fmla="*/ 10159536 w 10171682"/>
              <a:gd name="connsiteY2" fmla="*/ 198481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1682"/>
              <a:gd name="connsiteY0" fmla="*/ 0 h 6853937"/>
              <a:gd name="connsiteX1" fmla="*/ 7590398 w 10171682"/>
              <a:gd name="connsiteY1" fmla="*/ 2669 h 6853937"/>
              <a:gd name="connsiteX2" fmla="*/ 10164139 w 10171682"/>
              <a:gd name="connsiteY2" fmla="*/ 198481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1682"/>
              <a:gd name="connsiteY0" fmla="*/ 0 h 6853937"/>
              <a:gd name="connsiteX1" fmla="*/ 7590398 w 10171682"/>
              <a:gd name="connsiteY1" fmla="*/ 2669 h 6853937"/>
              <a:gd name="connsiteX2" fmla="*/ 10164139 w 10171682"/>
              <a:gd name="connsiteY2" fmla="*/ 198481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1682"/>
              <a:gd name="connsiteY0" fmla="*/ 0 h 6853937"/>
              <a:gd name="connsiteX1" fmla="*/ 7590398 w 10171682"/>
              <a:gd name="connsiteY1" fmla="*/ 2669 h 6853937"/>
              <a:gd name="connsiteX2" fmla="*/ 10164139 w 10171682"/>
              <a:gd name="connsiteY2" fmla="*/ 198481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2137"/>
              <a:gd name="connsiteY0" fmla="*/ 0 h 6853937"/>
              <a:gd name="connsiteX1" fmla="*/ 7590398 w 10172137"/>
              <a:gd name="connsiteY1" fmla="*/ 2669 h 6853937"/>
              <a:gd name="connsiteX2" fmla="*/ 10168741 w 10172137"/>
              <a:gd name="connsiteY2" fmla="*/ 1984810 h 6853937"/>
              <a:gd name="connsiteX3" fmla="*/ 10171682 w 10172137"/>
              <a:gd name="connsiteY3" fmla="*/ 6853937 h 6853937"/>
              <a:gd name="connsiteX4" fmla="*/ 0 w 10172137"/>
              <a:gd name="connsiteY4" fmla="*/ 6853937 h 6853937"/>
              <a:gd name="connsiteX5" fmla="*/ 0 w 10172137"/>
              <a:gd name="connsiteY5" fmla="*/ 0 h 6853937"/>
              <a:gd name="connsiteX0" fmla="*/ 0 w 10175589"/>
              <a:gd name="connsiteY0" fmla="*/ 0 h 6853937"/>
              <a:gd name="connsiteX1" fmla="*/ 7590398 w 10175589"/>
              <a:gd name="connsiteY1" fmla="*/ 2669 h 6853937"/>
              <a:gd name="connsiteX2" fmla="*/ 10173172 w 10175589"/>
              <a:gd name="connsiteY2" fmla="*/ 1984810 h 6853937"/>
              <a:gd name="connsiteX3" fmla="*/ 10171682 w 10175589"/>
              <a:gd name="connsiteY3" fmla="*/ 6853937 h 6853937"/>
              <a:gd name="connsiteX4" fmla="*/ 0 w 10175589"/>
              <a:gd name="connsiteY4" fmla="*/ 6853937 h 6853937"/>
              <a:gd name="connsiteX5" fmla="*/ 0 w 10175589"/>
              <a:gd name="connsiteY5" fmla="*/ 0 h 6853937"/>
              <a:gd name="connsiteX0" fmla="*/ 0 w 10176567"/>
              <a:gd name="connsiteY0" fmla="*/ 0 h 6853937"/>
              <a:gd name="connsiteX1" fmla="*/ 7590398 w 10176567"/>
              <a:gd name="connsiteY1" fmla="*/ 2669 h 6853937"/>
              <a:gd name="connsiteX2" fmla="*/ 10173172 w 10176567"/>
              <a:gd name="connsiteY2" fmla="*/ 1984810 h 6853937"/>
              <a:gd name="connsiteX3" fmla="*/ 10176113 w 10176567"/>
              <a:gd name="connsiteY3" fmla="*/ 6850145 h 6853937"/>
              <a:gd name="connsiteX4" fmla="*/ 0 w 10176567"/>
              <a:gd name="connsiteY4" fmla="*/ 6853937 h 6853937"/>
              <a:gd name="connsiteX5" fmla="*/ 0 w 10176567"/>
              <a:gd name="connsiteY5" fmla="*/ 0 h 6853937"/>
              <a:gd name="connsiteX0" fmla="*/ 0 w 10176112"/>
              <a:gd name="connsiteY0" fmla="*/ 0 h 6853937"/>
              <a:gd name="connsiteX1" fmla="*/ 7590398 w 10176112"/>
              <a:gd name="connsiteY1" fmla="*/ 2669 h 6853937"/>
              <a:gd name="connsiteX2" fmla="*/ 10168743 w 10176112"/>
              <a:gd name="connsiteY2" fmla="*/ 1992395 h 6853937"/>
              <a:gd name="connsiteX3" fmla="*/ 10176113 w 10176112"/>
              <a:gd name="connsiteY3" fmla="*/ 6850145 h 6853937"/>
              <a:gd name="connsiteX4" fmla="*/ 0 w 10176112"/>
              <a:gd name="connsiteY4" fmla="*/ 6853937 h 6853937"/>
              <a:gd name="connsiteX5" fmla="*/ 0 w 10176112"/>
              <a:gd name="connsiteY5" fmla="*/ 0 h 6853937"/>
              <a:gd name="connsiteX0" fmla="*/ 0 w 10176114"/>
              <a:gd name="connsiteY0" fmla="*/ 0 h 6853937"/>
              <a:gd name="connsiteX1" fmla="*/ 7590398 w 10176114"/>
              <a:gd name="connsiteY1" fmla="*/ 2669 h 6853937"/>
              <a:gd name="connsiteX2" fmla="*/ 10168744 w 10176114"/>
              <a:gd name="connsiteY2" fmla="*/ 1999783 h 6853937"/>
              <a:gd name="connsiteX3" fmla="*/ 10176113 w 10176114"/>
              <a:gd name="connsiteY3" fmla="*/ 6850145 h 6853937"/>
              <a:gd name="connsiteX4" fmla="*/ 0 w 10176114"/>
              <a:gd name="connsiteY4" fmla="*/ 6853937 h 6853937"/>
              <a:gd name="connsiteX5" fmla="*/ 0 w 10176114"/>
              <a:gd name="connsiteY5" fmla="*/ 0 h 6853937"/>
              <a:gd name="connsiteX0" fmla="*/ 0 w 10176112"/>
              <a:gd name="connsiteY0" fmla="*/ 4717 h 6858654"/>
              <a:gd name="connsiteX1" fmla="*/ 7590397 w 10176112"/>
              <a:gd name="connsiteY1" fmla="*/ 0 h 6858654"/>
              <a:gd name="connsiteX2" fmla="*/ 10168744 w 10176112"/>
              <a:gd name="connsiteY2" fmla="*/ 2004500 h 6858654"/>
              <a:gd name="connsiteX3" fmla="*/ 10176113 w 10176112"/>
              <a:gd name="connsiteY3" fmla="*/ 6854862 h 6858654"/>
              <a:gd name="connsiteX4" fmla="*/ 0 w 10176112"/>
              <a:gd name="connsiteY4" fmla="*/ 6858654 h 6858654"/>
              <a:gd name="connsiteX5" fmla="*/ 0 w 10176112"/>
              <a:gd name="connsiteY5" fmla="*/ 4717 h 6858654"/>
              <a:gd name="connsiteX0" fmla="*/ 0 w 10176114"/>
              <a:gd name="connsiteY0" fmla="*/ 0 h 6861325"/>
              <a:gd name="connsiteX1" fmla="*/ 7590397 w 10176114"/>
              <a:gd name="connsiteY1" fmla="*/ 2671 h 6861325"/>
              <a:gd name="connsiteX2" fmla="*/ 10168744 w 10176114"/>
              <a:gd name="connsiteY2" fmla="*/ 2007171 h 6861325"/>
              <a:gd name="connsiteX3" fmla="*/ 10176113 w 10176114"/>
              <a:gd name="connsiteY3" fmla="*/ 6857533 h 6861325"/>
              <a:gd name="connsiteX4" fmla="*/ 0 w 10176114"/>
              <a:gd name="connsiteY4" fmla="*/ 6861325 h 6861325"/>
              <a:gd name="connsiteX5" fmla="*/ 0 w 10176114"/>
              <a:gd name="connsiteY5" fmla="*/ 0 h 6861325"/>
              <a:gd name="connsiteX0" fmla="*/ 0 w 10176112"/>
              <a:gd name="connsiteY0" fmla="*/ 0 h 6861325"/>
              <a:gd name="connsiteX1" fmla="*/ 7590397 w 10176112"/>
              <a:gd name="connsiteY1" fmla="*/ 2671 h 6861325"/>
              <a:gd name="connsiteX2" fmla="*/ 10168744 w 10176112"/>
              <a:gd name="connsiteY2" fmla="*/ 2007171 h 6861325"/>
              <a:gd name="connsiteX3" fmla="*/ 10176113 w 10176112"/>
              <a:gd name="connsiteY3" fmla="*/ 6857533 h 6861325"/>
              <a:gd name="connsiteX4" fmla="*/ 0 w 10176112"/>
              <a:gd name="connsiteY4" fmla="*/ 6861325 h 6861325"/>
              <a:gd name="connsiteX5" fmla="*/ 0 w 10176112"/>
              <a:gd name="connsiteY5" fmla="*/ 0 h 6861325"/>
              <a:gd name="connsiteX0" fmla="*/ 0 w 10176114"/>
              <a:gd name="connsiteY0" fmla="*/ 0 h 6861325"/>
              <a:gd name="connsiteX1" fmla="*/ 7590397 w 10176114"/>
              <a:gd name="connsiteY1" fmla="*/ 2671 h 6861325"/>
              <a:gd name="connsiteX2" fmla="*/ 10168744 w 10176114"/>
              <a:gd name="connsiteY2" fmla="*/ 2007171 h 6861325"/>
              <a:gd name="connsiteX3" fmla="*/ 10176113 w 10176114"/>
              <a:gd name="connsiteY3" fmla="*/ 6857533 h 6861325"/>
              <a:gd name="connsiteX4" fmla="*/ 0 w 10176114"/>
              <a:gd name="connsiteY4" fmla="*/ 6861325 h 6861325"/>
              <a:gd name="connsiteX5" fmla="*/ 0 w 10176114"/>
              <a:gd name="connsiteY5" fmla="*/ 0 h 6861325"/>
              <a:gd name="connsiteX0" fmla="*/ 0 w 10176112"/>
              <a:gd name="connsiteY0" fmla="*/ 0 h 6861325"/>
              <a:gd name="connsiteX1" fmla="*/ 7590397 w 10176112"/>
              <a:gd name="connsiteY1" fmla="*/ 2671 h 6861325"/>
              <a:gd name="connsiteX2" fmla="*/ 10168744 w 10176112"/>
              <a:gd name="connsiteY2" fmla="*/ 2007171 h 6861325"/>
              <a:gd name="connsiteX3" fmla="*/ 10176113 w 10176112"/>
              <a:gd name="connsiteY3" fmla="*/ 6857533 h 6861325"/>
              <a:gd name="connsiteX4" fmla="*/ 0 w 10176112"/>
              <a:gd name="connsiteY4" fmla="*/ 6861325 h 6861325"/>
              <a:gd name="connsiteX5" fmla="*/ 0 w 10176112"/>
              <a:gd name="connsiteY5" fmla="*/ 0 h 6861325"/>
              <a:gd name="connsiteX0" fmla="*/ 0 w 10176114"/>
              <a:gd name="connsiteY0" fmla="*/ 0 h 6861325"/>
              <a:gd name="connsiteX1" fmla="*/ 7590397 w 10176114"/>
              <a:gd name="connsiteY1" fmla="*/ 2671 h 6861325"/>
              <a:gd name="connsiteX2" fmla="*/ 10168744 w 10176114"/>
              <a:gd name="connsiteY2" fmla="*/ 2007171 h 6861325"/>
              <a:gd name="connsiteX3" fmla="*/ 10176113 w 10176114"/>
              <a:gd name="connsiteY3" fmla="*/ 6857533 h 6861325"/>
              <a:gd name="connsiteX4" fmla="*/ 0 w 10176114"/>
              <a:gd name="connsiteY4" fmla="*/ 6861325 h 6861325"/>
              <a:gd name="connsiteX5" fmla="*/ 0 w 10176114"/>
              <a:gd name="connsiteY5" fmla="*/ 0 h 6861325"/>
              <a:gd name="connsiteX0" fmla="*/ 0 w 10176112"/>
              <a:gd name="connsiteY0" fmla="*/ 0 h 6861325"/>
              <a:gd name="connsiteX1" fmla="*/ 7590397 w 10176112"/>
              <a:gd name="connsiteY1" fmla="*/ 2671 h 6861325"/>
              <a:gd name="connsiteX2" fmla="*/ 10168744 w 10176112"/>
              <a:gd name="connsiteY2" fmla="*/ 2007171 h 6861325"/>
              <a:gd name="connsiteX3" fmla="*/ 10176113 w 10176112"/>
              <a:gd name="connsiteY3" fmla="*/ 6857533 h 6861325"/>
              <a:gd name="connsiteX4" fmla="*/ 0 w 10176112"/>
              <a:gd name="connsiteY4" fmla="*/ 6861325 h 6861325"/>
              <a:gd name="connsiteX5" fmla="*/ 0 w 10176112"/>
              <a:gd name="connsiteY5" fmla="*/ 0 h 6861325"/>
              <a:gd name="connsiteX0" fmla="*/ 0 w 10176114"/>
              <a:gd name="connsiteY0" fmla="*/ 0 h 6861325"/>
              <a:gd name="connsiteX1" fmla="*/ 7590397 w 10176114"/>
              <a:gd name="connsiteY1" fmla="*/ 2671 h 6861325"/>
              <a:gd name="connsiteX2" fmla="*/ 10168744 w 10176114"/>
              <a:gd name="connsiteY2" fmla="*/ 2007171 h 6861325"/>
              <a:gd name="connsiteX3" fmla="*/ 10176113 w 10176114"/>
              <a:gd name="connsiteY3" fmla="*/ 6857533 h 6861325"/>
              <a:gd name="connsiteX4" fmla="*/ 0 w 10176114"/>
              <a:gd name="connsiteY4" fmla="*/ 6861325 h 6861325"/>
              <a:gd name="connsiteX5" fmla="*/ 0 w 10176114"/>
              <a:gd name="connsiteY5" fmla="*/ 0 h 6861325"/>
              <a:gd name="connsiteX0" fmla="*/ 0 w 10176112"/>
              <a:gd name="connsiteY0" fmla="*/ 4715 h 6866040"/>
              <a:gd name="connsiteX1" fmla="*/ 7594712 w 10176112"/>
              <a:gd name="connsiteY1" fmla="*/ 0 h 6866040"/>
              <a:gd name="connsiteX2" fmla="*/ 10168744 w 10176112"/>
              <a:gd name="connsiteY2" fmla="*/ 2011886 h 6866040"/>
              <a:gd name="connsiteX3" fmla="*/ 10176113 w 10176112"/>
              <a:gd name="connsiteY3" fmla="*/ 6862248 h 6866040"/>
              <a:gd name="connsiteX4" fmla="*/ 0 w 10176112"/>
              <a:gd name="connsiteY4" fmla="*/ 6866040 h 6866040"/>
              <a:gd name="connsiteX5" fmla="*/ 0 w 10176112"/>
              <a:gd name="connsiteY5" fmla="*/ 4715 h 6866040"/>
              <a:gd name="connsiteX0" fmla="*/ 0 w 10176114"/>
              <a:gd name="connsiteY0" fmla="*/ 1 h 6861326"/>
              <a:gd name="connsiteX1" fmla="*/ 7485316 w 10176114"/>
              <a:gd name="connsiteY1" fmla="*/ 8664 h 6861326"/>
              <a:gd name="connsiteX2" fmla="*/ 10168744 w 10176114"/>
              <a:gd name="connsiteY2" fmla="*/ 2007172 h 6861326"/>
              <a:gd name="connsiteX3" fmla="*/ 10176113 w 10176114"/>
              <a:gd name="connsiteY3" fmla="*/ 6857534 h 6861326"/>
              <a:gd name="connsiteX4" fmla="*/ 0 w 10176114"/>
              <a:gd name="connsiteY4" fmla="*/ 6861326 h 6861326"/>
              <a:gd name="connsiteX5" fmla="*/ 0 w 10176114"/>
              <a:gd name="connsiteY5" fmla="*/ 1 h 6861326"/>
              <a:gd name="connsiteX0" fmla="*/ 0 w 10176112"/>
              <a:gd name="connsiteY0" fmla="*/ -1 h 6861324"/>
              <a:gd name="connsiteX1" fmla="*/ 7485316 w 10176112"/>
              <a:gd name="connsiteY1" fmla="*/ 8662 h 6861324"/>
              <a:gd name="connsiteX2" fmla="*/ 10168744 w 10176112"/>
              <a:gd name="connsiteY2" fmla="*/ 2080748 h 6861324"/>
              <a:gd name="connsiteX3" fmla="*/ 10176113 w 10176112"/>
              <a:gd name="connsiteY3" fmla="*/ 6857532 h 6861324"/>
              <a:gd name="connsiteX4" fmla="*/ 0 w 10176112"/>
              <a:gd name="connsiteY4" fmla="*/ 6861324 h 6861324"/>
              <a:gd name="connsiteX5" fmla="*/ 0 w 10176112"/>
              <a:gd name="connsiteY5" fmla="*/ -1 h 6861324"/>
              <a:gd name="connsiteX0" fmla="*/ 0 w 10179149"/>
              <a:gd name="connsiteY0" fmla="*/ 1 h 6861326"/>
              <a:gd name="connsiteX1" fmla="*/ 7485316 w 10179149"/>
              <a:gd name="connsiteY1" fmla="*/ 8664 h 6861326"/>
              <a:gd name="connsiteX2" fmla="*/ 10176558 w 10179149"/>
              <a:gd name="connsiteY2" fmla="*/ 2080750 h 6861326"/>
              <a:gd name="connsiteX3" fmla="*/ 10176113 w 10179149"/>
              <a:gd name="connsiteY3" fmla="*/ 6857534 h 6861326"/>
              <a:gd name="connsiteX4" fmla="*/ 0 w 10179149"/>
              <a:gd name="connsiteY4" fmla="*/ 6861326 h 6861326"/>
              <a:gd name="connsiteX5" fmla="*/ 0 w 10179149"/>
              <a:gd name="connsiteY5" fmla="*/ 1 h 6861326"/>
              <a:gd name="connsiteX0" fmla="*/ 0 w 10186056"/>
              <a:gd name="connsiteY0" fmla="*/ -1 h 6861324"/>
              <a:gd name="connsiteX1" fmla="*/ 7485316 w 10186056"/>
              <a:gd name="connsiteY1" fmla="*/ 8662 h 6861324"/>
              <a:gd name="connsiteX2" fmla="*/ 10184372 w 10186056"/>
              <a:gd name="connsiteY2" fmla="*/ 2080748 h 6861324"/>
              <a:gd name="connsiteX3" fmla="*/ 10176113 w 10186056"/>
              <a:gd name="connsiteY3" fmla="*/ 6857532 h 6861324"/>
              <a:gd name="connsiteX4" fmla="*/ 0 w 10186056"/>
              <a:gd name="connsiteY4" fmla="*/ 6861324 h 6861324"/>
              <a:gd name="connsiteX5" fmla="*/ 0 w 10186056"/>
              <a:gd name="connsiteY5" fmla="*/ -1 h 6861324"/>
              <a:gd name="connsiteX0" fmla="*/ 0 w 10179149"/>
              <a:gd name="connsiteY0" fmla="*/ 1 h 6861326"/>
              <a:gd name="connsiteX1" fmla="*/ 7485316 w 10179149"/>
              <a:gd name="connsiteY1" fmla="*/ 8664 h 6861326"/>
              <a:gd name="connsiteX2" fmla="*/ 10176559 w 10179149"/>
              <a:gd name="connsiteY2" fmla="*/ 2087437 h 6861326"/>
              <a:gd name="connsiteX3" fmla="*/ 10176113 w 10179149"/>
              <a:gd name="connsiteY3" fmla="*/ 6857534 h 6861326"/>
              <a:gd name="connsiteX4" fmla="*/ 0 w 10179149"/>
              <a:gd name="connsiteY4" fmla="*/ 6861326 h 6861326"/>
              <a:gd name="connsiteX5" fmla="*/ 0 w 10179149"/>
              <a:gd name="connsiteY5" fmla="*/ 1 h 6861326"/>
              <a:gd name="connsiteX0" fmla="*/ 0 w 10179149"/>
              <a:gd name="connsiteY0" fmla="*/ -1 h 6861324"/>
              <a:gd name="connsiteX1" fmla="*/ 7485316 w 10179149"/>
              <a:gd name="connsiteY1" fmla="*/ 8662 h 6861324"/>
              <a:gd name="connsiteX2" fmla="*/ 10176559 w 10179149"/>
              <a:gd name="connsiteY2" fmla="*/ 2087435 h 6861324"/>
              <a:gd name="connsiteX3" fmla="*/ 10176113 w 10179149"/>
              <a:gd name="connsiteY3" fmla="*/ 6857532 h 6861324"/>
              <a:gd name="connsiteX4" fmla="*/ 0 w 10179149"/>
              <a:gd name="connsiteY4" fmla="*/ 6861324 h 6861324"/>
              <a:gd name="connsiteX5" fmla="*/ 0 w 10179149"/>
              <a:gd name="connsiteY5" fmla="*/ -1 h 6861324"/>
              <a:gd name="connsiteX0" fmla="*/ 0 w 10179149"/>
              <a:gd name="connsiteY0" fmla="*/ 1 h 6861326"/>
              <a:gd name="connsiteX1" fmla="*/ 7485316 w 10179149"/>
              <a:gd name="connsiteY1" fmla="*/ 1975 h 6861326"/>
              <a:gd name="connsiteX2" fmla="*/ 10176559 w 10179149"/>
              <a:gd name="connsiteY2" fmla="*/ 2087437 h 6861326"/>
              <a:gd name="connsiteX3" fmla="*/ 10176113 w 10179149"/>
              <a:gd name="connsiteY3" fmla="*/ 6857534 h 6861326"/>
              <a:gd name="connsiteX4" fmla="*/ 0 w 10179149"/>
              <a:gd name="connsiteY4" fmla="*/ 6861326 h 6861326"/>
              <a:gd name="connsiteX5" fmla="*/ 0 w 10179149"/>
              <a:gd name="connsiteY5" fmla="*/ 1 h 6861326"/>
              <a:gd name="connsiteX0" fmla="*/ 0 w 10193438"/>
              <a:gd name="connsiteY0" fmla="*/ -1 h 6861324"/>
              <a:gd name="connsiteX1" fmla="*/ 7485316 w 10193438"/>
              <a:gd name="connsiteY1" fmla="*/ 1973 h 6861324"/>
              <a:gd name="connsiteX2" fmla="*/ 10192188 w 10193438"/>
              <a:gd name="connsiteY2" fmla="*/ 2087435 h 6861324"/>
              <a:gd name="connsiteX3" fmla="*/ 10176113 w 10193438"/>
              <a:gd name="connsiteY3" fmla="*/ 6857532 h 6861324"/>
              <a:gd name="connsiteX4" fmla="*/ 0 w 10193438"/>
              <a:gd name="connsiteY4" fmla="*/ 6861324 h 6861324"/>
              <a:gd name="connsiteX5" fmla="*/ 0 w 10193438"/>
              <a:gd name="connsiteY5" fmla="*/ -1 h 6861324"/>
              <a:gd name="connsiteX0" fmla="*/ 0 w 10179149"/>
              <a:gd name="connsiteY0" fmla="*/ 1 h 6861326"/>
              <a:gd name="connsiteX1" fmla="*/ 7485316 w 10179149"/>
              <a:gd name="connsiteY1" fmla="*/ 1975 h 6861326"/>
              <a:gd name="connsiteX2" fmla="*/ 10176559 w 10179149"/>
              <a:gd name="connsiteY2" fmla="*/ 2087437 h 6861326"/>
              <a:gd name="connsiteX3" fmla="*/ 10176113 w 10179149"/>
              <a:gd name="connsiteY3" fmla="*/ 6857534 h 6861326"/>
              <a:gd name="connsiteX4" fmla="*/ 0 w 10179149"/>
              <a:gd name="connsiteY4" fmla="*/ 6861326 h 6861326"/>
              <a:gd name="connsiteX5" fmla="*/ 0 w 10179149"/>
              <a:gd name="connsiteY5" fmla="*/ 1 h 6861326"/>
              <a:gd name="connsiteX0" fmla="*/ 0 w 10179149"/>
              <a:gd name="connsiteY0" fmla="*/ -1 h 6861324"/>
              <a:gd name="connsiteX1" fmla="*/ 7485316 w 10179149"/>
              <a:gd name="connsiteY1" fmla="*/ 1973 h 6861324"/>
              <a:gd name="connsiteX2" fmla="*/ 10176559 w 10179149"/>
              <a:gd name="connsiteY2" fmla="*/ 2087435 h 6861324"/>
              <a:gd name="connsiteX3" fmla="*/ 10176113 w 10179149"/>
              <a:gd name="connsiteY3" fmla="*/ 6857532 h 6861324"/>
              <a:gd name="connsiteX4" fmla="*/ 0 w 10179149"/>
              <a:gd name="connsiteY4" fmla="*/ 6861324 h 6861324"/>
              <a:gd name="connsiteX5" fmla="*/ 0 w 10179149"/>
              <a:gd name="connsiteY5" fmla="*/ -1 h 6861324"/>
              <a:gd name="connsiteX0" fmla="*/ 0 w 10183928"/>
              <a:gd name="connsiteY0" fmla="*/ 1 h 6861326"/>
              <a:gd name="connsiteX1" fmla="*/ 7485316 w 10183928"/>
              <a:gd name="connsiteY1" fmla="*/ 1975 h 6861326"/>
              <a:gd name="connsiteX2" fmla="*/ 10176559 w 10183928"/>
              <a:gd name="connsiteY2" fmla="*/ 2087437 h 6861326"/>
              <a:gd name="connsiteX3" fmla="*/ 10183928 w 10183928"/>
              <a:gd name="connsiteY3" fmla="*/ 6857534 h 6861326"/>
              <a:gd name="connsiteX4" fmla="*/ 0 w 10183928"/>
              <a:gd name="connsiteY4" fmla="*/ 6861326 h 6861326"/>
              <a:gd name="connsiteX5" fmla="*/ 0 w 10183928"/>
              <a:gd name="connsiteY5" fmla="*/ 1 h 6861326"/>
              <a:gd name="connsiteX0" fmla="*/ 0 w 10183928"/>
              <a:gd name="connsiteY0" fmla="*/ -1 h 6861324"/>
              <a:gd name="connsiteX1" fmla="*/ 7485316 w 10183928"/>
              <a:gd name="connsiteY1" fmla="*/ 1973 h 6861324"/>
              <a:gd name="connsiteX2" fmla="*/ 10176559 w 10183928"/>
              <a:gd name="connsiteY2" fmla="*/ 2087435 h 6861324"/>
              <a:gd name="connsiteX3" fmla="*/ 10183928 w 10183928"/>
              <a:gd name="connsiteY3" fmla="*/ 6857532 h 6861324"/>
              <a:gd name="connsiteX4" fmla="*/ 0 w 10183928"/>
              <a:gd name="connsiteY4" fmla="*/ 6861324 h 6861324"/>
              <a:gd name="connsiteX5" fmla="*/ 0 w 10183928"/>
              <a:gd name="connsiteY5" fmla="*/ -1 h 6861324"/>
              <a:gd name="connsiteX0" fmla="*/ 0 w 10186963"/>
              <a:gd name="connsiteY0" fmla="*/ 1 h 6861326"/>
              <a:gd name="connsiteX1" fmla="*/ 7485316 w 10186963"/>
              <a:gd name="connsiteY1" fmla="*/ 1975 h 6861326"/>
              <a:gd name="connsiteX2" fmla="*/ 10184374 w 10186963"/>
              <a:gd name="connsiteY2" fmla="*/ 2087437 h 6861326"/>
              <a:gd name="connsiteX3" fmla="*/ 10183928 w 10186963"/>
              <a:gd name="connsiteY3" fmla="*/ 6857534 h 6861326"/>
              <a:gd name="connsiteX4" fmla="*/ 0 w 10186963"/>
              <a:gd name="connsiteY4" fmla="*/ 6861326 h 6861326"/>
              <a:gd name="connsiteX5" fmla="*/ 0 w 10186963"/>
              <a:gd name="connsiteY5" fmla="*/ 1 h 6861326"/>
              <a:gd name="connsiteX0" fmla="*/ 0 w 10193874"/>
              <a:gd name="connsiteY0" fmla="*/ -1 h 6861324"/>
              <a:gd name="connsiteX1" fmla="*/ 7485316 w 10193874"/>
              <a:gd name="connsiteY1" fmla="*/ 1973 h 6861324"/>
              <a:gd name="connsiteX2" fmla="*/ 10192190 w 10193874"/>
              <a:gd name="connsiteY2" fmla="*/ 2094124 h 6861324"/>
              <a:gd name="connsiteX3" fmla="*/ 10183928 w 10193874"/>
              <a:gd name="connsiteY3" fmla="*/ 6857532 h 6861324"/>
              <a:gd name="connsiteX4" fmla="*/ 0 w 10193874"/>
              <a:gd name="connsiteY4" fmla="*/ 6861324 h 6861324"/>
              <a:gd name="connsiteX5" fmla="*/ 0 w 10193874"/>
              <a:gd name="connsiteY5" fmla="*/ -1 h 686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93874" h="6861324">
                <a:moveTo>
                  <a:pt x="0" y="-1"/>
                </a:moveTo>
                <a:lnTo>
                  <a:pt x="7485316" y="1973"/>
                </a:lnTo>
                <a:lnTo>
                  <a:pt x="10192190" y="2094124"/>
                </a:lnTo>
                <a:cubicBezTo>
                  <a:pt x="10199308" y="3718480"/>
                  <a:pt x="10181413" y="6679074"/>
                  <a:pt x="10183928" y="6857532"/>
                </a:cubicBezTo>
                <a:lnTo>
                  <a:pt x="0" y="6861324"/>
                </a:lnTo>
                <a:lnTo>
                  <a:pt x="0" y="-1"/>
                </a:lnTo>
                <a:close/>
              </a:path>
            </a:pathLst>
          </a:custGeom>
          <a:ln>
            <a:solidFill>
              <a:schemeClr val="accent2"/>
            </a:solidFill>
          </a:ln>
        </p:spPr>
        <p:txBody>
          <a:bodyPr wrap="square" lIns="972000" tIns="360000" rIns="90000" bIns="90000">
            <a:noAutofit/>
          </a:bodyPr>
          <a:lstStyle>
            <a:lvl1pPr algn="l">
              <a:defRPr sz="1400">
                <a:latin typeface="M05 Text Office" panose="020B0504040000000004" pitchFamily="34" charset="0"/>
              </a:defRPr>
            </a:lvl1pPr>
            <a:lvl2pPr algn="l">
              <a:defRPr/>
            </a:lvl2pPr>
            <a:lvl3pPr algn="l">
              <a:defRPr/>
            </a:lvl3pPr>
            <a:lvl4pPr algn="l">
              <a:defRPr/>
            </a:lvl4pPr>
            <a:lvl5pPr algn="l">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consetetur</a:t>
            </a:r>
            <a:r>
              <a:rPr lang="de-DE"/>
              <a:t> </a:t>
            </a:r>
            <a:r>
              <a:rPr lang="de-DE" err="1"/>
              <a:t>sadipscing</a:t>
            </a:r>
            <a:r>
              <a:rPr lang="de-DE"/>
              <a:t> </a:t>
            </a:r>
            <a:r>
              <a:rPr lang="de-DE" err="1"/>
              <a:t>elitr</a:t>
            </a:r>
            <a:r>
              <a:rPr lang="de-DE"/>
              <a:t>, sed</a:t>
            </a:r>
          </a:p>
          <a:p>
            <a:pPr lvl="0"/>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sed </a:t>
            </a:r>
            <a:r>
              <a:rPr lang="de-DE" err="1"/>
              <a:t>diam</a:t>
            </a:r>
            <a:r>
              <a:rPr lang="de-DE"/>
              <a:t> </a:t>
            </a:r>
            <a:r>
              <a:rPr lang="de-DE" err="1"/>
              <a:t>voluptua</a:t>
            </a:r>
            <a:r>
              <a:rPr lang="de-DE"/>
              <a:t>.</a:t>
            </a:r>
          </a:p>
          <a:p>
            <a:pPr lvl="0"/>
            <a:r>
              <a:rPr lang="de-DE"/>
              <a:t>At </a:t>
            </a:r>
            <a:r>
              <a:rPr lang="de-DE" err="1"/>
              <a:t>vero</a:t>
            </a:r>
            <a:r>
              <a:rPr lang="de-DE"/>
              <a:t> </a:t>
            </a:r>
            <a:r>
              <a:rPr lang="de-DE" err="1"/>
              <a:t>eos</a:t>
            </a:r>
            <a:r>
              <a:rPr lang="de-DE"/>
              <a:t> et </a:t>
            </a:r>
            <a:r>
              <a:rPr lang="de-DE" err="1"/>
              <a:t>accusam</a:t>
            </a:r>
            <a:r>
              <a:rPr lang="de-DE"/>
              <a:t> et </a:t>
            </a:r>
            <a:r>
              <a:rPr lang="de-DE" err="1"/>
              <a:t>justo</a:t>
            </a:r>
            <a:r>
              <a:rPr lang="de-DE"/>
              <a:t> </a:t>
            </a:r>
            <a:r>
              <a:rPr lang="de-DE" err="1"/>
              <a:t>duo</a:t>
            </a:r>
            <a:r>
              <a:rPr lang="de-DE"/>
              <a:t> </a:t>
            </a:r>
            <a:r>
              <a:rPr lang="de-DE" err="1"/>
              <a:t>doloresd</a:t>
            </a:r>
            <a:endParaRPr lang="de-DE"/>
          </a:p>
          <a:p>
            <a:pPr lvl="0"/>
            <a:endParaRPr lang="de-DE"/>
          </a:p>
        </p:txBody>
      </p:sp>
      <p:sp>
        <p:nvSpPr>
          <p:cNvPr id="7" name="Foliennummernplatzhalter 6">
            <a:extLst>
              <a:ext uri="{FF2B5EF4-FFF2-40B4-BE49-F238E27FC236}">
                <a16:creationId xmlns:a16="http://schemas.microsoft.com/office/drawing/2014/main" id="{86255C4F-51CD-4A91-B01F-7B32782CE467}"/>
              </a:ext>
            </a:extLst>
          </p:cNvPr>
          <p:cNvSpPr>
            <a:spLocks noGrp="1"/>
          </p:cNvSpPr>
          <p:nvPr>
            <p:ph type="sldNum" sz="quarter" idx="14"/>
          </p:nvPr>
        </p:nvSpPr>
        <p:spPr/>
        <p:txBody>
          <a:bodyPr/>
          <a:lstStyle>
            <a:lvl1pPr>
              <a:defRPr>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8" name="Rechtwinkliges Dreieck 7">
            <a:extLst>
              <a:ext uri="{FF2B5EF4-FFF2-40B4-BE49-F238E27FC236}">
                <a16:creationId xmlns:a16="http://schemas.microsoft.com/office/drawing/2014/main" id="{9E2401D3-E0AF-4F1D-9BB9-AA2B0253B1CD}"/>
              </a:ext>
            </a:extLst>
          </p:cNvPr>
          <p:cNvSpPr>
            <a:spLocks noChangeAspect="1"/>
          </p:cNvSpPr>
          <p:nvPr userDrawn="1"/>
        </p:nvSpPr>
        <p:spPr>
          <a:xfrm rot="10800000">
            <a:off x="4289734" y="1896885"/>
            <a:ext cx="1407584" cy="1284052"/>
          </a:xfrm>
          <a:custGeom>
            <a:avLst/>
            <a:gdLst>
              <a:gd name="connsiteX0" fmla="*/ 0 w 1411703"/>
              <a:gd name="connsiteY0" fmla="*/ 1284052 h 1284052"/>
              <a:gd name="connsiteX1" fmla="*/ 0 w 1411703"/>
              <a:gd name="connsiteY1" fmla="*/ 0 h 1284052"/>
              <a:gd name="connsiteX2" fmla="*/ 1411703 w 1411703"/>
              <a:gd name="connsiteY2" fmla="*/ 1284052 h 1284052"/>
              <a:gd name="connsiteX3" fmla="*/ 0 w 1411703"/>
              <a:gd name="connsiteY3" fmla="*/ 1284052 h 1284052"/>
              <a:gd name="connsiteX0" fmla="*/ 0 w 1411703"/>
              <a:gd name="connsiteY0" fmla="*/ 1284052 h 1284052"/>
              <a:gd name="connsiteX1" fmla="*/ 4119 w 1411703"/>
              <a:gd name="connsiteY1" fmla="*/ 0 h 1284052"/>
              <a:gd name="connsiteX2" fmla="*/ 1411703 w 1411703"/>
              <a:gd name="connsiteY2" fmla="*/ 1284052 h 1284052"/>
              <a:gd name="connsiteX3" fmla="*/ 0 w 1411703"/>
              <a:gd name="connsiteY3" fmla="*/ 1284052 h 1284052"/>
              <a:gd name="connsiteX0" fmla="*/ 0 w 1407584"/>
              <a:gd name="connsiteY0" fmla="*/ 1284052 h 1284052"/>
              <a:gd name="connsiteX1" fmla="*/ 0 w 1407584"/>
              <a:gd name="connsiteY1" fmla="*/ 0 h 1284052"/>
              <a:gd name="connsiteX2" fmla="*/ 1407584 w 1407584"/>
              <a:gd name="connsiteY2" fmla="*/ 1284052 h 1284052"/>
              <a:gd name="connsiteX3" fmla="*/ 0 w 1407584"/>
              <a:gd name="connsiteY3" fmla="*/ 1284052 h 1284052"/>
            </a:gdLst>
            <a:ahLst/>
            <a:cxnLst>
              <a:cxn ang="0">
                <a:pos x="connsiteX0" y="connsiteY0"/>
              </a:cxn>
              <a:cxn ang="0">
                <a:pos x="connsiteX1" y="connsiteY1"/>
              </a:cxn>
              <a:cxn ang="0">
                <a:pos x="connsiteX2" y="connsiteY2"/>
              </a:cxn>
              <a:cxn ang="0">
                <a:pos x="connsiteX3" y="connsiteY3"/>
              </a:cxn>
            </a:cxnLst>
            <a:rect l="l" t="t" r="r" b="b"/>
            <a:pathLst>
              <a:path w="1407584" h="1284052">
                <a:moveTo>
                  <a:pt x="0" y="1284052"/>
                </a:moveTo>
                <a:lnTo>
                  <a:pt x="0" y="0"/>
                </a:lnTo>
                <a:lnTo>
                  <a:pt x="1407584" y="1284052"/>
                </a:lnTo>
                <a:lnTo>
                  <a:pt x="0" y="128405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M05 Text Office" panose="020B0504040000000004" pitchFamily="34" charset="0"/>
            </a:endParaRPr>
          </a:p>
        </p:txBody>
      </p:sp>
      <p:sp>
        <p:nvSpPr>
          <p:cNvPr id="12" name="Rechtwinkliges Dreieck 11">
            <a:extLst>
              <a:ext uri="{FF2B5EF4-FFF2-40B4-BE49-F238E27FC236}">
                <a16:creationId xmlns:a16="http://schemas.microsoft.com/office/drawing/2014/main" id="{FB668CA9-6AC7-45D0-B028-751D6A3EC0F5}"/>
              </a:ext>
            </a:extLst>
          </p:cNvPr>
          <p:cNvSpPr>
            <a:spLocks noChangeAspect="1"/>
          </p:cNvSpPr>
          <p:nvPr userDrawn="1"/>
        </p:nvSpPr>
        <p:spPr>
          <a:xfrm rot="10800000" flipH="1">
            <a:off x="5698265" y="1896885"/>
            <a:ext cx="1432915" cy="1284880"/>
          </a:xfrm>
          <a:custGeom>
            <a:avLst/>
            <a:gdLst>
              <a:gd name="connsiteX0" fmla="*/ 0 w 3153831"/>
              <a:gd name="connsiteY0" fmla="*/ 3729037 h 3729037"/>
              <a:gd name="connsiteX1" fmla="*/ 0 w 3153831"/>
              <a:gd name="connsiteY1" fmla="*/ 0 h 3729037"/>
              <a:gd name="connsiteX2" fmla="*/ 3153831 w 3153831"/>
              <a:gd name="connsiteY2" fmla="*/ 3729037 h 3729037"/>
              <a:gd name="connsiteX3" fmla="*/ 0 w 3153831"/>
              <a:gd name="connsiteY3" fmla="*/ 3729037 h 3729037"/>
              <a:gd name="connsiteX0" fmla="*/ 0 w 3187698"/>
              <a:gd name="connsiteY0" fmla="*/ 3729037 h 3729037"/>
              <a:gd name="connsiteX1" fmla="*/ 0 w 3187698"/>
              <a:gd name="connsiteY1" fmla="*/ 0 h 3729037"/>
              <a:gd name="connsiteX2" fmla="*/ 3187698 w 3187698"/>
              <a:gd name="connsiteY2" fmla="*/ 3729037 h 3729037"/>
              <a:gd name="connsiteX3" fmla="*/ 0 w 3187698"/>
              <a:gd name="connsiteY3" fmla="*/ 3729037 h 3729037"/>
              <a:gd name="connsiteX0" fmla="*/ 0 w 3204631"/>
              <a:gd name="connsiteY0" fmla="*/ 3729037 h 3737503"/>
              <a:gd name="connsiteX1" fmla="*/ 0 w 3204631"/>
              <a:gd name="connsiteY1" fmla="*/ 0 h 3737503"/>
              <a:gd name="connsiteX2" fmla="*/ 3204631 w 3204631"/>
              <a:gd name="connsiteY2" fmla="*/ 3737503 h 3737503"/>
              <a:gd name="connsiteX3" fmla="*/ 0 w 3204631"/>
              <a:gd name="connsiteY3" fmla="*/ 3729037 h 3737503"/>
              <a:gd name="connsiteX0" fmla="*/ 0 w 3204632"/>
              <a:gd name="connsiteY0" fmla="*/ 3729037 h 3734857"/>
              <a:gd name="connsiteX1" fmla="*/ 0 w 3204632"/>
              <a:gd name="connsiteY1" fmla="*/ 0 h 3734857"/>
              <a:gd name="connsiteX2" fmla="*/ 3204632 w 3204632"/>
              <a:gd name="connsiteY2" fmla="*/ 3734857 h 3734857"/>
              <a:gd name="connsiteX3" fmla="*/ 0 w 3204632"/>
              <a:gd name="connsiteY3" fmla="*/ 3729037 h 3734857"/>
              <a:gd name="connsiteX0" fmla="*/ 0 w 3201220"/>
              <a:gd name="connsiteY0" fmla="*/ 3729037 h 3731445"/>
              <a:gd name="connsiteX1" fmla="*/ 0 w 3201220"/>
              <a:gd name="connsiteY1" fmla="*/ 0 h 3731445"/>
              <a:gd name="connsiteX2" fmla="*/ 3201220 w 3201220"/>
              <a:gd name="connsiteY2" fmla="*/ 3731445 h 3731445"/>
              <a:gd name="connsiteX3" fmla="*/ 0 w 3201220"/>
              <a:gd name="connsiteY3" fmla="*/ 3729037 h 3731445"/>
            </a:gdLst>
            <a:ahLst/>
            <a:cxnLst>
              <a:cxn ang="0">
                <a:pos x="connsiteX0" y="connsiteY0"/>
              </a:cxn>
              <a:cxn ang="0">
                <a:pos x="connsiteX1" y="connsiteY1"/>
              </a:cxn>
              <a:cxn ang="0">
                <a:pos x="connsiteX2" y="connsiteY2"/>
              </a:cxn>
              <a:cxn ang="0">
                <a:pos x="connsiteX3" y="connsiteY3"/>
              </a:cxn>
            </a:cxnLst>
            <a:rect l="l" t="t" r="r" b="b"/>
            <a:pathLst>
              <a:path w="3201220" h="3731445">
                <a:moveTo>
                  <a:pt x="0" y="3729037"/>
                </a:moveTo>
                <a:lnTo>
                  <a:pt x="0" y="0"/>
                </a:lnTo>
                <a:lnTo>
                  <a:pt x="3201220" y="3731445"/>
                </a:lnTo>
                <a:lnTo>
                  <a:pt x="0" y="3729037"/>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M05 Text Office" panose="020B0504040000000004" pitchFamily="34" charset="0"/>
            </a:endParaRPr>
          </a:p>
        </p:txBody>
      </p:sp>
      <p:sp>
        <p:nvSpPr>
          <p:cNvPr id="3" name="Textplatzhalter 2">
            <a:extLst>
              <a:ext uri="{FF2B5EF4-FFF2-40B4-BE49-F238E27FC236}">
                <a16:creationId xmlns:a16="http://schemas.microsoft.com/office/drawing/2014/main" id="{225E22CC-44CE-427A-8743-D08B4A56A2A4}"/>
              </a:ext>
            </a:extLst>
          </p:cNvPr>
          <p:cNvSpPr>
            <a:spLocks noGrp="1" noChangeAspect="1"/>
          </p:cNvSpPr>
          <p:nvPr>
            <p:ph type="body" sz="quarter" idx="11" hasCustomPrompt="1"/>
          </p:nvPr>
        </p:nvSpPr>
        <p:spPr>
          <a:xfrm>
            <a:off x="330201" y="1905538"/>
            <a:ext cx="5364000" cy="4228023"/>
          </a:xfrm>
          <a:custGeom>
            <a:avLst/>
            <a:gdLst>
              <a:gd name="connsiteX0" fmla="*/ 0 w 10191750"/>
              <a:gd name="connsiteY0" fmla="*/ 0 h 6858000"/>
              <a:gd name="connsiteX1" fmla="*/ 6762750 w 10191750"/>
              <a:gd name="connsiteY1" fmla="*/ 0 h 6858000"/>
              <a:gd name="connsiteX2" fmla="*/ 10191750 w 10191750"/>
              <a:gd name="connsiteY2" fmla="*/ 3429000 h 6858000"/>
              <a:gd name="connsiteX3" fmla="*/ 10191750 w 10191750"/>
              <a:gd name="connsiteY3" fmla="*/ 6858000 h 6858000"/>
              <a:gd name="connsiteX4" fmla="*/ 0 w 10191750"/>
              <a:gd name="connsiteY4" fmla="*/ 6858000 h 6858000"/>
              <a:gd name="connsiteX5" fmla="*/ 0 w 10191750"/>
              <a:gd name="connsiteY5" fmla="*/ 0 h 6858000"/>
              <a:gd name="connsiteX0" fmla="*/ 0 w 10191750"/>
              <a:gd name="connsiteY0" fmla="*/ 9525 h 6867525"/>
              <a:gd name="connsiteX1" fmla="*/ 4410075 w 10191750"/>
              <a:gd name="connsiteY1" fmla="*/ 0 h 6867525"/>
              <a:gd name="connsiteX2" fmla="*/ 10191750 w 10191750"/>
              <a:gd name="connsiteY2" fmla="*/ 3438525 h 6867525"/>
              <a:gd name="connsiteX3" fmla="*/ 10191750 w 10191750"/>
              <a:gd name="connsiteY3" fmla="*/ 6867525 h 6867525"/>
              <a:gd name="connsiteX4" fmla="*/ 0 w 10191750"/>
              <a:gd name="connsiteY4" fmla="*/ 6867525 h 6867525"/>
              <a:gd name="connsiteX5" fmla="*/ 0 w 10191750"/>
              <a:gd name="connsiteY5" fmla="*/ 9525 h 6867525"/>
              <a:gd name="connsiteX0" fmla="*/ 0 w 10191750"/>
              <a:gd name="connsiteY0" fmla="*/ 9525 h 6867525"/>
              <a:gd name="connsiteX1" fmla="*/ 4410075 w 10191750"/>
              <a:gd name="connsiteY1" fmla="*/ 0 h 6867525"/>
              <a:gd name="connsiteX2" fmla="*/ 10172700 w 10191750"/>
              <a:gd name="connsiteY2" fmla="*/ 5781675 h 6867525"/>
              <a:gd name="connsiteX3" fmla="*/ 10191750 w 10191750"/>
              <a:gd name="connsiteY3" fmla="*/ 6867525 h 6867525"/>
              <a:gd name="connsiteX4" fmla="*/ 0 w 10191750"/>
              <a:gd name="connsiteY4" fmla="*/ 6867525 h 6867525"/>
              <a:gd name="connsiteX5" fmla="*/ 0 w 10191750"/>
              <a:gd name="connsiteY5" fmla="*/ 9525 h 6867525"/>
              <a:gd name="connsiteX0" fmla="*/ 0 w 10176285"/>
              <a:gd name="connsiteY0" fmla="*/ 9525 h 6867525"/>
              <a:gd name="connsiteX1" fmla="*/ 4410075 w 10176285"/>
              <a:gd name="connsiteY1" fmla="*/ 0 h 6867525"/>
              <a:gd name="connsiteX2" fmla="*/ 10172700 w 10176285"/>
              <a:gd name="connsiteY2" fmla="*/ 5781675 h 6867525"/>
              <a:gd name="connsiteX3" fmla="*/ 10176285 w 10176285"/>
              <a:gd name="connsiteY3" fmla="*/ 6867525 h 6867525"/>
              <a:gd name="connsiteX4" fmla="*/ 0 w 10176285"/>
              <a:gd name="connsiteY4" fmla="*/ 6867525 h 6867525"/>
              <a:gd name="connsiteX5" fmla="*/ 0 w 10176285"/>
              <a:gd name="connsiteY5" fmla="*/ 9525 h 6867525"/>
              <a:gd name="connsiteX0" fmla="*/ 0 w 10176285"/>
              <a:gd name="connsiteY0" fmla="*/ 9525 h 6867525"/>
              <a:gd name="connsiteX1" fmla="*/ 7590398 w 10176285"/>
              <a:gd name="connsiteY1" fmla="*/ 0 h 6867525"/>
              <a:gd name="connsiteX2" fmla="*/ 10172700 w 10176285"/>
              <a:gd name="connsiteY2" fmla="*/ 5781675 h 6867525"/>
              <a:gd name="connsiteX3" fmla="*/ 10176285 w 10176285"/>
              <a:gd name="connsiteY3" fmla="*/ 6867525 h 6867525"/>
              <a:gd name="connsiteX4" fmla="*/ 0 w 10176285"/>
              <a:gd name="connsiteY4" fmla="*/ 6867525 h 6867525"/>
              <a:gd name="connsiteX5" fmla="*/ 0 w 10176285"/>
              <a:gd name="connsiteY5" fmla="*/ 9525 h 6867525"/>
              <a:gd name="connsiteX0" fmla="*/ 0 w 10176285"/>
              <a:gd name="connsiteY0" fmla="*/ 9525 h 6867525"/>
              <a:gd name="connsiteX1" fmla="*/ 7590398 w 10176285"/>
              <a:gd name="connsiteY1" fmla="*/ 0 h 6867525"/>
              <a:gd name="connsiteX2" fmla="*/ 10154932 w 10176285"/>
              <a:gd name="connsiteY2" fmla="*/ 1994458 h 6867525"/>
              <a:gd name="connsiteX3" fmla="*/ 10176285 w 10176285"/>
              <a:gd name="connsiteY3" fmla="*/ 6867525 h 6867525"/>
              <a:gd name="connsiteX4" fmla="*/ 0 w 10176285"/>
              <a:gd name="connsiteY4" fmla="*/ 6867525 h 6867525"/>
              <a:gd name="connsiteX5" fmla="*/ 0 w 10176285"/>
              <a:gd name="connsiteY5" fmla="*/ 9525 h 6867525"/>
              <a:gd name="connsiteX0" fmla="*/ 0 w 10176285"/>
              <a:gd name="connsiteY0" fmla="*/ 9525 h 6867525"/>
              <a:gd name="connsiteX1" fmla="*/ 7590398 w 10176285"/>
              <a:gd name="connsiteY1" fmla="*/ 0 h 6867525"/>
              <a:gd name="connsiteX2" fmla="*/ 10154932 w 10176285"/>
              <a:gd name="connsiteY2" fmla="*/ 1994458 h 6867525"/>
              <a:gd name="connsiteX3" fmla="*/ 10176285 w 10176285"/>
              <a:gd name="connsiteY3" fmla="*/ 6867525 h 6867525"/>
              <a:gd name="connsiteX4" fmla="*/ 0 w 10176285"/>
              <a:gd name="connsiteY4" fmla="*/ 6867525 h 6867525"/>
              <a:gd name="connsiteX5" fmla="*/ 0 w 10176285"/>
              <a:gd name="connsiteY5" fmla="*/ 9525 h 6867525"/>
              <a:gd name="connsiteX0" fmla="*/ 0 w 10176285"/>
              <a:gd name="connsiteY0" fmla="*/ 1397 h 6859397"/>
              <a:gd name="connsiteX1" fmla="*/ 7590398 w 10176285"/>
              <a:gd name="connsiteY1" fmla="*/ 0 h 6859397"/>
              <a:gd name="connsiteX2" fmla="*/ 10154932 w 10176285"/>
              <a:gd name="connsiteY2" fmla="*/ 1986330 h 6859397"/>
              <a:gd name="connsiteX3" fmla="*/ 10176285 w 10176285"/>
              <a:gd name="connsiteY3" fmla="*/ 6859397 h 6859397"/>
              <a:gd name="connsiteX4" fmla="*/ 0 w 10176285"/>
              <a:gd name="connsiteY4" fmla="*/ 6859397 h 6859397"/>
              <a:gd name="connsiteX5" fmla="*/ 0 w 10176285"/>
              <a:gd name="connsiteY5" fmla="*/ 1397 h 6859397"/>
              <a:gd name="connsiteX0" fmla="*/ 0 w 10176285"/>
              <a:gd name="connsiteY0" fmla="*/ -1 h 6857999"/>
              <a:gd name="connsiteX1" fmla="*/ 7590398 w 10176285"/>
              <a:gd name="connsiteY1" fmla="*/ 6731 h 6857999"/>
              <a:gd name="connsiteX2" fmla="*/ 10154932 w 10176285"/>
              <a:gd name="connsiteY2" fmla="*/ 1984932 h 6857999"/>
              <a:gd name="connsiteX3" fmla="*/ 10176285 w 10176285"/>
              <a:gd name="connsiteY3" fmla="*/ 6857999 h 6857999"/>
              <a:gd name="connsiteX4" fmla="*/ 0 w 10176285"/>
              <a:gd name="connsiteY4" fmla="*/ 6857999 h 6857999"/>
              <a:gd name="connsiteX5" fmla="*/ 0 w 10176285"/>
              <a:gd name="connsiteY5" fmla="*/ -1 h 6857999"/>
              <a:gd name="connsiteX0" fmla="*/ 0 w 10176285"/>
              <a:gd name="connsiteY0" fmla="*/ 0 h 6853937"/>
              <a:gd name="connsiteX1" fmla="*/ 7590398 w 10176285"/>
              <a:gd name="connsiteY1" fmla="*/ 2669 h 6853937"/>
              <a:gd name="connsiteX2" fmla="*/ 10154932 w 10176285"/>
              <a:gd name="connsiteY2" fmla="*/ 1980870 h 6853937"/>
              <a:gd name="connsiteX3" fmla="*/ 10176285 w 10176285"/>
              <a:gd name="connsiteY3" fmla="*/ 6853937 h 6853937"/>
              <a:gd name="connsiteX4" fmla="*/ 0 w 10176285"/>
              <a:gd name="connsiteY4" fmla="*/ 6853937 h 6853937"/>
              <a:gd name="connsiteX5" fmla="*/ 0 w 10176285"/>
              <a:gd name="connsiteY5" fmla="*/ 0 h 6853937"/>
              <a:gd name="connsiteX0" fmla="*/ 0 w 10176285"/>
              <a:gd name="connsiteY0" fmla="*/ 0 h 6853937"/>
              <a:gd name="connsiteX1" fmla="*/ 7590398 w 10176285"/>
              <a:gd name="connsiteY1" fmla="*/ 2669 h 6853937"/>
              <a:gd name="connsiteX2" fmla="*/ 10159535 w 10176285"/>
              <a:gd name="connsiteY2" fmla="*/ 1992690 h 6853937"/>
              <a:gd name="connsiteX3" fmla="*/ 10176285 w 10176285"/>
              <a:gd name="connsiteY3" fmla="*/ 6853937 h 6853937"/>
              <a:gd name="connsiteX4" fmla="*/ 0 w 10176285"/>
              <a:gd name="connsiteY4" fmla="*/ 6853937 h 6853937"/>
              <a:gd name="connsiteX5" fmla="*/ 0 w 10176285"/>
              <a:gd name="connsiteY5" fmla="*/ 0 h 6853937"/>
              <a:gd name="connsiteX0" fmla="*/ 0 w 10176285"/>
              <a:gd name="connsiteY0" fmla="*/ 0 h 6853937"/>
              <a:gd name="connsiteX1" fmla="*/ 7590398 w 10176285"/>
              <a:gd name="connsiteY1" fmla="*/ 2669 h 6853937"/>
              <a:gd name="connsiteX2" fmla="*/ 10159535 w 10176285"/>
              <a:gd name="connsiteY2" fmla="*/ 1992690 h 6853937"/>
              <a:gd name="connsiteX3" fmla="*/ 10176285 w 10176285"/>
              <a:gd name="connsiteY3" fmla="*/ 6853937 h 6853937"/>
              <a:gd name="connsiteX4" fmla="*/ 0 w 10176285"/>
              <a:gd name="connsiteY4" fmla="*/ 6853937 h 6853937"/>
              <a:gd name="connsiteX5" fmla="*/ 0 w 10176285"/>
              <a:gd name="connsiteY5" fmla="*/ 0 h 6853937"/>
              <a:gd name="connsiteX0" fmla="*/ 0 w 10171682"/>
              <a:gd name="connsiteY0" fmla="*/ 0 h 6853937"/>
              <a:gd name="connsiteX1" fmla="*/ 7590398 w 10171682"/>
              <a:gd name="connsiteY1" fmla="*/ 2669 h 6853937"/>
              <a:gd name="connsiteX2" fmla="*/ 10159535 w 10171682"/>
              <a:gd name="connsiteY2" fmla="*/ 199269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1682"/>
              <a:gd name="connsiteY0" fmla="*/ 0 h 6853937"/>
              <a:gd name="connsiteX1" fmla="*/ 7590398 w 10171682"/>
              <a:gd name="connsiteY1" fmla="*/ 2669 h 6853937"/>
              <a:gd name="connsiteX2" fmla="*/ 10159536 w 10171682"/>
              <a:gd name="connsiteY2" fmla="*/ 198481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1682"/>
              <a:gd name="connsiteY0" fmla="*/ 0 h 6853937"/>
              <a:gd name="connsiteX1" fmla="*/ 7590398 w 10171682"/>
              <a:gd name="connsiteY1" fmla="*/ 2669 h 6853937"/>
              <a:gd name="connsiteX2" fmla="*/ 10164139 w 10171682"/>
              <a:gd name="connsiteY2" fmla="*/ 198481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1682"/>
              <a:gd name="connsiteY0" fmla="*/ 0 h 6853937"/>
              <a:gd name="connsiteX1" fmla="*/ 7590398 w 10171682"/>
              <a:gd name="connsiteY1" fmla="*/ 2669 h 6853937"/>
              <a:gd name="connsiteX2" fmla="*/ 10164139 w 10171682"/>
              <a:gd name="connsiteY2" fmla="*/ 198481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1682"/>
              <a:gd name="connsiteY0" fmla="*/ 0 h 6853937"/>
              <a:gd name="connsiteX1" fmla="*/ 7590398 w 10171682"/>
              <a:gd name="connsiteY1" fmla="*/ 2669 h 6853937"/>
              <a:gd name="connsiteX2" fmla="*/ 10164139 w 10171682"/>
              <a:gd name="connsiteY2" fmla="*/ 198481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2137"/>
              <a:gd name="connsiteY0" fmla="*/ 0 h 6853937"/>
              <a:gd name="connsiteX1" fmla="*/ 7590398 w 10172137"/>
              <a:gd name="connsiteY1" fmla="*/ 2669 h 6853937"/>
              <a:gd name="connsiteX2" fmla="*/ 10168741 w 10172137"/>
              <a:gd name="connsiteY2" fmla="*/ 1984810 h 6853937"/>
              <a:gd name="connsiteX3" fmla="*/ 10171682 w 10172137"/>
              <a:gd name="connsiteY3" fmla="*/ 6853937 h 6853937"/>
              <a:gd name="connsiteX4" fmla="*/ 0 w 10172137"/>
              <a:gd name="connsiteY4" fmla="*/ 6853937 h 6853937"/>
              <a:gd name="connsiteX5" fmla="*/ 0 w 10172137"/>
              <a:gd name="connsiteY5" fmla="*/ 0 h 6853937"/>
              <a:gd name="connsiteX0" fmla="*/ 0 w 10175589"/>
              <a:gd name="connsiteY0" fmla="*/ 0 h 6853937"/>
              <a:gd name="connsiteX1" fmla="*/ 7590398 w 10175589"/>
              <a:gd name="connsiteY1" fmla="*/ 2669 h 6853937"/>
              <a:gd name="connsiteX2" fmla="*/ 10173172 w 10175589"/>
              <a:gd name="connsiteY2" fmla="*/ 1984810 h 6853937"/>
              <a:gd name="connsiteX3" fmla="*/ 10171682 w 10175589"/>
              <a:gd name="connsiteY3" fmla="*/ 6853937 h 6853937"/>
              <a:gd name="connsiteX4" fmla="*/ 0 w 10175589"/>
              <a:gd name="connsiteY4" fmla="*/ 6853937 h 6853937"/>
              <a:gd name="connsiteX5" fmla="*/ 0 w 10175589"/>
              <a:gd name="connsiteY5" fmla="*/ 0 h 6853937"/>
              <a:gd name="connsiteX0" fmla="*/ 0 w 10176567"/>
              <a:gd name="connsiteY0" fmla="*/ 0 h 6853937"/>
              <a:gd name="connsiteX1" fmla="*/ 7590398 w 10176567"/>
              <a:gd name="connsiteY1" fmla="*/ 2669 h 6853937"/>
              <a:gd name="connsiteX2" fmla="*/ 10173172 w 10176567"/>
              <a:gd name="connsiteY2" fmla="*/ 1984810 h 6853937"/>
              <a:gd name="connsiteX3" fmla="*/ 10176113 w 10176567"/>
              <a:gd name="connsiteY3" fmla="*/ 6850145 h 6853937"/>
              <a:gd name="connsiteX4" fmla="*/ 0 w 10176567"/>
              <a:gd name="connsiteY4" fmla="*/ 6853937 h 6853937"/>
              <a:gd name="connsiteX5" fmla="*/ 0 w 10176567"/>
              <a:gd name="connsiteY5" fmla="*/ 0 h 6853937"/>
              <a:gd name="connsiteX0" fmla="*/ 0 w 10176112"/>
              <a:gd name="connsiteY0" fmla="*/ 0 h 6853937"/>
              <a:gd name="connsiteX1" fmla="*/ 7590398 w 10176112"/>
              <a:gd name="connsiteY1" fmla="*/ 2669 h 6853937"/>
              <a:gd name="connsiteX2" fmla="*/ 10168743 w 10176112"/>
              <a:gd name="connsiteY2" fmla="*/ 1992395 h 6853937"/>
              <a:gd name="connsiteX3" fmla="*/ 10176113 w 10176112"/>
              <a:gd name="connsiteY3" fmla="*/ 6850145 h 6853937"/>
              <a:gd name="connsiteX4" fmla="*/ 0 w 10176112"/>
              <a:gd name="connsiteY4" fmla="*/ 6853937 h 6853937"/>
              <a:gd name="connsiteX5" fmla="*/ 0 w 10176112"/>
              <a:gd name="connsiteY5" fmla="*/ 0 h 6853937"/>
              <a:gd name="connsiteX0" fmla="*/ 0 w 10176114"/>
              <a:gd name="connsiteY0" fmla="*/ 0 h 6853937"/>
              <a:gd name="connsiteX1" fmla="*/ 7590398 w 10176114"/>
              <a:gd name="connsiteY1" fmla="*/ 2669 h 6853937"/>
              <a:gd name="connsiteX2" fmla="*/ 10168744 w 10176114"/>
              <a:gd name="connsiteY2" fmla="*/ 1999783 h 6853937"/>
              <a:gd name="connsiteX3" fmla="*/ 10176113 w 10176114"/>
              <a:gd name="connsiteY3" fmla="*/ 6850145 h 6853937"/>
              <a:gd name="connsiteX4" fmla="*/ 0 w 10176114"/>
              <a:gd name="connsiteY4" fmla="*/ 6853937 h 6853937"/>
              <a:gd name="connsiteX5" fmla="*/ 0 w 10176114"/>
              <a:gd name="connsiteY5" fmla="*/ 0 h 6853937"/>
              <a:gd name="connsiteX0" fmla="*/ 0 w 10176112"/>
              <a:gd name="connsiteY0" fmla="*/ 4717 h 6858654"/>
              <a:gd name="connsiteX1" fmla="*/ 7590397 w 10176112"/>
              <a:gd name="connsiteY1" fmla="*/ 0 h 6858654"/>
              <a:gd name="connsiteX2" fmla="*/ 10168744 w 10176112"/>
              <a:gd name="connsiteY2" fmla="*/ 2004500 h 6858654"/>
              <a:gd name="connsiteX3" fmla="*/ 10176113 w 10176112"/>
              <a:gd name="connsiteY3" fmla="*/ 6854862 h 6858654"/>
              <a:gd name="connsiteX4" fmla="*/ 0 w 10176112"/>
              <a:gd name="connsiteY4" fmla="*/ 6858654 h 6858654"/>
              <a:gd name="connsiteX5" fmla="*/ 0 w 10176112"/>
              <a:gd name="connsiteY5" fmla="*/ 4717 h 6858654"/>
              <a:gd name="connsiteX0" fmla="*/ 0 w 10176114"/>
              <a:gd name="connsiteY0" fmla="*/ 0 h 6861325"/>
              <a:gd name="connsiteX1" fmla="*/ 7590397 w 10176114"/>
              <a:gd name="connsiteY1" fmla="*/ 2671 h 6861325"/>
              <a:gd name="connsiteX2" fmla="*/ 10168744 w 10176114"/>
              <a:gd name="connsiteY2" fmla="*/ 2007171 h 6861325"/>
              <a:gd name="connsiteX3" fmla="*/ 10176113 w 10176114"/>
              <a:gd name="connsiteY3" fmla="*/ 6857533 h 6861325"/>
              <a:gd name="connsiteX4" fmla="*/ 0 w 10176114"/>
              <a:gd name="connsiteY4" fmla="*/ 6861325 h 6861325"/>
              <a:gd name="connsiteX5" fmla="*/ 0 w 10176114"/>
              <a:gd name="connsiteY5" fmla="*/ 0 h 6861325"/>
              <a:gd name="connsiteX0" fmla="*/ 0 w 10176112"/>
              <a:gd name="connsiteY0" fmla="*/ 0 h 6861325"/>
              <a:gd name="connsiteX1" fmla="*/ 7590397 w 10176112"/>
              <a:gd name="connsiteY1" fmla="*/ 2671 h 6861325"/>
              <a:gd name="connsiteX2" fmla="*/ 10168744 w 10176112"/>
              <a:gd name="connsiteY2" fmla="*/ 2007171 h 6861325"/>
              <a:gd name="connsiteX3" fmla="*/ 10176113 w 10176112"/>
              <a:gd name="connsiteY3" fmla="*/ 6857533 h 6861325"/>
              <a:gd name="connsiteX4" fmla="*/ 0 w 10176112"/>
              <a:gd name="connsiteY4" fmla="*/ 6861325 h 6861325"/>
              <a:gd name="connsiteX5" fmla="*/ 0 w 10176112"/>
              <a:gd name="connsiteY5" fmla="*/ 0 h 6861325"/>
              <a:gd name="connsiteX0" fmla="*/ 0 w 10176114"/>
              <a:gd name="connsiteY0" fmla="*/ 0 h 6861325"/>
              <a:gd name="connsiteX1" fmla="*/ 7590397 w 10176114"/>
              <a:gd name="connsiteY1" fmla="*/ 2671 h 6861325"/>
              <a:gd name="connsiteX2" fmla="*/ 10168744 w 10176114"/>
              <a:gd name="connsiteY2" fmla="*/ 2007171 h 6861325"/>
              <a:gd name="connsiteX3" fmla="*/ 10176113 w 10176114"/>
              <a:gd name="connsiteY3" fmla="*/ 6857533 h 6861325"/>
              <a:gd name="connsiteX4" fmla="*/ 0 w 10176114"/>
              <a:gd name="connsiteY4" fmla="*/ 6861325 h 6861325"/>
              <a:gd name="connsiteX5" fmla="*/ 0 w 10176114"/>
              <a:gd name="connsiteY5" fmla="*/ 0 h 6861325"/>
              <a:gd name="connsiteX0" fmla="*/ 0 w 10176112"/>
              <a:gd name="connsiteY0" fmla="*/ 0 h 6861325"/>
              <a:gd name="connsiteX1" fmla="*/ 7590397 w 10176112"/>
              <a:gd name="connsiteY1" fmla="*/ 2671 h 6861325"/>
              <a:gd name="connsiteX2" fmla="*/ 10168744 w 10176112"/>
              <a:gd name="connsiteY2" fmla="*/ 2007171 h 6861325"/>
              <a:gd name="connsiteX3" fmla="*/ 10176113 w 10176112"/>
              <a:gd name="connsiteY3" fmla="*/ 6857533 h 6861325"/>
              <a:gd name="connsiteX4" fmla="*/ 0 w 10176112"/>
              <a:gd name="connsiteY4" fmla="*/ 6861325 h 6861325"/>
              <a:gd name="connsiteX5" fmla="*/ 0 w 10176112"/>
              <a:gd name="connsiteY5" fmla="*/ 0 h 6861325"/>
              <a:gd name="connsiteX0" fmla="*/ 0 w 10176114"/>
              <a:gd name="connsiteY0" fmla="*/ 0 h 6861325"/>
              <a:gd name="connsiteX1" fmla="*/ 7590397 w 10176114"/>
              <a:gd name="connsiteY1" fmla="*/ 2671 h 6861325"/>
              <a:gd name="connsiteX2" fmla="*/ 10168744 w 10176114"/>
              <a:gd name="connsiteY2" fmla="*/ 2007171 h 6861325"/>
              <a:gd name="connsiteX3" fmla="*/ 10176113 w 10176114"/>
              <a:gd name="connsiteY3" fmla="*/ 6857533 h 6861325"/>
              <a:gd name="connsiteX4" fmla="*/ 0 w 10176114"/>
              <a:gd name="connsiteY4" fmla="*/ 6861325 h 6861325"/>
              <a:gd name="connsiteX5" fmla="*/ 0 w 10176114"/>
              <a:gd name="connsiteY5" fmla="*/ 0 h 6861325"/>
              <a:gd name="connsiteX0" fmla="*/ 0 w 10176112"/>
              <a:gd name="connsiteY0" fmla="*/ 0 h 6861325"/>
              <a:gd name="connsiteX1" fmla="*/ 7590397 w 10176112"/>
              <a:gd name="connsiteY1" fmla="*/ 2671 h 6861325"/>
              <a:gd name="connsiteX2" fmla="*/ 10168744 w 10176112"/>
              <a:gd name="connsiteY2" fmla="*/ 2007171 h 6861325"/>
              <a:gd name="connsiteX3" fmla="*/ 10176113 w 10176112"/>
              <a:gd name="connsiteY3" fmla="*/ 6857533 h 6861325"/>
              <a:gd name="connsiteX4" fmla="*/ 0 w 10176112"/>
              <a:gd name="connsiteY4" fmla="*/ 6861325 h 6861325"/>
              <a:gd name="connsiteX5" fmla="*/ 0 w 10176112"/>
              <a:gd name="connsiteY5" fmla="*/ 0 h 6861325"/>
              <a:gd name="connsiteX0" fmla="*/ 0 w 10176114"/>
              <a:gd name="connsiteY0" fmla="*/ 0 h 6861325"/>
              <a:gd name="connsiteX1" fmla="*/ 7590397 w 10176114"/>
              <a:gd name="connsiteY1" fmla="*/ 2671 h 6861325"/>
              <a:gd name="connsiteX2" fmla="*/ 10168744 w 10176114"/>
              <a:gd name="connsiteY2" fmla="*/ 2007171 h 6861325"/>
              <a:gd name="connsiteX3" fmla="*/ 10176113 w 10176114"/>
              <a:gd name="connsiteY3" fmla="*/ 6857533 h 6861325"/>
              <a:gd name="connsiteX4" fmla="*/ 0 w 10176114"/>
              <a:gd name="connsiteY4" fmla="*/ 6861325 h 6861325"/>
              <a:gd name="connsiteX5" fmla="*/ 0 w 10176114"/>
              <a:gd name="connsiteY5" fmla="*/ 0 h 6861325"/>
              <a:gd name="connsiteX0" fmla="*/ 0 w 10176112"/>
              <a:gd name="connsiteY0" fmla="*/ 4715 h 6866040"/>
              <a:gd name="connsiteX1" fmla="*/ 7594712 w 10176112"/>
              <a:gd name="connsiteY1" fmla="*/ 0 h 6866040"/>
              <a:gd name="connsiteX2" fmla="*/ 10168744 w 10176112"/>
              <a:gd name="connsiteY2" fmla="*/ 2011886 h 6866040"/>
              <a:gd name="connsiteX3" fmla="*/ 10176113 w 10176112"/>
              <a:gd name="connsiteY3" fmla="*/ 6862248 h 6866040"/>
              <a:gd name="connsiteX4" fmla="*/ 0 w 10176112"/>
              <a:gd name="connsiteY4" fmla="*/ 6866040 h 6866040"/>
              <a:gd name="connsiteX5" fmla="*/ 0 w 10176112"/>
              <a:gd name="connsiteY5" fmla="*/ 4715 h 686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6112" h="6866040">
                <a:moveTo>
                  <a:pt x="0" y="4715"/>
                </a:moveTo>
                <a:lnTo>
                  <a:pt x="7594712" y="0"/>
                </a:lnTo>
                <a:lnTo>
                  <a:pt x="10168744" y="2011886"/>
                </a:lnTo>
                <a:cubicBezTo>
                  <a:pt x="10175862" y="3636242"/>
                  <a:pt x="10173598" y="6683790"/>
                  <a:pt x="10176113" y="6862248"/>
                </a:cubicBezTo>
                <a:lnTo>
                  <a:pt x="0" y="6866040"/>
                </a:lnTo>
                <a:lnTo>
                  <a:pt x="0" y="4715"/>
                </a:lnTo>
                <a:close/>
              </a:path>
            </a:pathLst>
          </a:custGeom>
          <a:ln>
            <a:solidFill>
              <a:schemeClr val="accent2"/>
            </a:solidFill>
          </a:ln>
        </p:spPr>
        <p:txBody>
          <a:bodyPr wrap="square" tIns="360000" rIns="864000" bIns="90000">
            <a:noAutofit/>
          </a:bodyPr>
          <a:lstStyle>
            <a:lvl1pPr algn="l">
              <a:defRPr sz="1400">
                <a:latin typeface="M05 Text Office" panose="020B0504040000000004" pitchFamily="34" charset="0"/>
              </a:defRPr>
            </a:lvl1pPr>
            <a:lvl2pPr algn="l">
              <a:defRPr/>
            </a:lvl2pPr>
            <a:lvl3pPr algn="l">
              <a:defRPr/>
            </a:lvl3pPr>
            <a:lvl4pPr algn="l">
              <a:defRPr/>
            </a:lvl4pPr>
            <a:lvl5pPr algn="l">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consetetur</a:t>
            </a:r>
            <a:r>
              <a:rPr lang="de-DE"/>
              <a:t> </a:t>
            </a:r>
            <a:r>
              <a:rPr lang="de-DE" err="1"/>
              <a:t>sadipscing</a:t>
            </a:r>
            <a:r>
              <a:rPr lang="de-DE"/>
              <a:t> </a:t>
            </a:r>
            <a:r>
              <a:rPr lang="de-DE" err="1"/>
              <a:t>elitr</a:t>
            </a:r>
            <a:r>
              <a:rPr lang="de-DE"/>
              <a:t>, sed</a:t>
            </a:r>
          </a:p>
          <a:p>
            <a:pPr lvl="0"/>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sed </a:t>
            </a:r>
            <a:r>
              <a:rPr lang="de-DE" err="1"/>
              <a:t>diam</a:t>
            </a:r>
            <a:r>
              <a:rPr lang="de-DE"/>
              <a:t> </a:t>
            </a:r>
            <a:r>
              <a:rPr lang="de-DE" err="1"/>
              <a:t>voluptua</a:t>
            </a:r>
            <a:r>
              <a:rPr lang="de-DE"/>
              <a:t>.</a:t>
            </a:r>
          </a:p>
          <a:p>
            <a:pPr lvl="0"/>
            <a:r>
              <a:rPr lang="de-DE"/>
              <a:t>At </a:t>
            </a:r>
            <a:r>
              <a:rPr lang="de-DE" err="1"/>
              <a:t>vero</a:t>
            </a:r>
            <a:r>
              <a:rPr lang="de-DE"/>
              <a:t> </a:t>
            </a:r>
            <a:r>
              <a:rPr lang="de-DE" err="1"/>
              <a:t>eos</a:t>
            </a:r>
            <a:r>
              <a:rPr lang="de-DE"/>
              <a:t> et </a:t>
            </a:r>
            <a:r>
              <a:rPr lang="de-DE" err="1"/>
              <a:t>accusam</a:t>
            </a:r>
            <a:r>
              <a:rPr lang="de-DE"/>
              <a:t> et </a:t>
            </a:r>
            <a:r>
              <a:rPr lang="de-DE" err="1"/>
              <a:t>justo</a:t>
            </a:r>
            <a:r>
              <a:rPr lang="de-DE"/>
              <a:t> </a:t>
            </a:r>
            <a:r>
              <a:rPr lang="de-DE" err="1"/>
              <a:t>duo</a:t>
            </a:r>
            <a:r>
              <a:rPr lang="de-DE"/>
              <a:t> </a:t>
            </a:r>
            <a:r>
              <a:rPr lang="de-DE" err="1"/>
              <a:t>doloresd</a:t>
            </a:r>
            <a:endParaRPr lang="de-DE"/>
          </a:p>
          <a:p>
            <a:pPr lvl="0"/>
            <a:endParaRPr lang="de-DE"/>
          </a:p>
        </p:txBody>
      </p:sp>
      <p:cxnSp>
        <p:nvCxnSpPr>
          <p:cNvPr id="14" name="Gerade Verbindung mit Pfeil 13">
            <a:extLst>
              <a:ext uri="{FF2B5EF4-FFF2-40B4-BE49-F238E27FC236}">
                <a16:creationId xmlns:a16="http://schemas.microsoft.com/office/drawing/2014/main" id="{E4EEDB6D-14DB-4C0E-A0D7-82F4E141F185}"/>
              </a:ext>
            </a:extLst>
          </p:cNvPr>
          <p:cNvCxnSpPr>
            <a:cxnSpLocks noChangeAspect="1"/>
          </p:cNvCxnSpPr>
          <p:nvPr userDrawn="1"/>
        </p:nvCxnSpPr>
        <p:spPr>
          <a:xfrm>
            <a:off x="5273481" y="4019550"/>
            <a:ext cx="819150" cy="0"/>
          </a:xfrm>
          <a:prstGeom prst="straightConnector1">
            <a:avLst/>
          </a:prstGeom>
          <a:ln w="2540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E0173D42-BA67-44C5-80BB-F72383A05899}"/>
              </a:ext>
            </a:extLst>
          </p:cNvPr>
          <p:cNvCxnSpPr>
            <a:cxnSpLocks noChangeAspect="1"/>
          </p:cNvCxnSpPr>
          <p:nvPr userDrawn="1"/>
        </p:nvCxnSpPr>
        <p:spPr>
          <a:xfrm flipH="1">
            <a:off x="5273481" y="4171950"/>
            <a:ext cx="819150" cy="0"/>
          </a:xfrm>
          <a:prstGeom prst="straightConnector1">
            <a:avLst/>
          </a:prstGeom>
          <a:ln w="25400">
            <a:solidFill>
              <a:schemeClr val="accent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18" name="Textplatzhalter 17">
            <a:extLst>
              <a:ext uri="{FF2B5EF4-FFF2-40B4-BE49-F238E27FC236}">
                <a16:creationId xmlns:a16="http://schemas.microsoft.com/office/drawing/2014/main" id="{41DA8208-1126-4335-AE31-DF7B228B0EDF}"/>
              </a:ext>
            </a:extLst>
          </p:cNvPr>
          <p:cNvSpPr>
            <a:spLocks noGrp="1" noChangeAspect="1"/>
          </p:cNvSpPr>
          <p:nvPr>
            <p:ph type="body" sz="quarter" idx="16" hasCustomPrompt="1"/>
          </p:nvPr>
        </p:nvSpPr>
        <p:spPr>
          <a:xfrm>
            <a:off x="4869601" y="1973386"/>
            <a:ext cx="738704" cy="247651"/>
          </a:xfrm>
          <a:prstGeom prst="rect">
            <a:avLst/>
          </a:prstGeom>
        </p:spPr>
        <p:txBody>
          <a:bodyPr lIns="36000" rIns="36000"/>
          <a:lstStyle>
            <a:lvl1pPr marL="0" indent="0" algn="r">
              <a:buNone/>
              <a:defRPr sz="1400" b="1">
                <a:latin typeface="M05 Text Office" panose="020B0504040000000004" pitchFamily="34" charset="0"/>
              </a:defRPr>
            </a:lvl1pPr>
          </a:lstStyle>
          <a:p>
            <a:pPr lvl="0"/>
            <a:r>
              <a:rPr lang="de-DE"/>
              <a:t>Pros</a:t>
            </a:r>
          </a:p>
        </p:txBody>
      </p:sp>
      <p:sp>
        <p:nvSpPr>
          <p:cNvPr id="21" name="Textplatzhalter 17">
            <a:extLst>
              <a:ext uri="{FF2B5EF4-FFF2-40B4-BE49-F238E27FC236}">
                <a16:creationId xmlns:a16="http://schemas.microsoft.com/office/drawing/2014/main" id="{57B558A4-502E-4FAC-93F9-1D651262F59C}"/>
              </a:ext>
            </a:extLst>
          </p:cNvPr>
          <p:cNvSpPr>
            <a:spLocks noGrp="1" noChangeAspect="1"/>
          </p:cNvSpPr>
          <p:nvPr>
            <p:ph type="body" sz="quarter" idx="17" hasCustomPrompt="1"/>
          </p:nvPr>
        </p:nvSpPr>
        <p:spPr>
          <a:xfrm>
            <a:off x="5785053" y="1973385"/>
            <a:ext cx="587300" cy="252000"/>
          </a:xfrm>
          <a:prstGeom prst="rect">
            <a:avLst/>
          </a:prstGeom>
        </p:spPr>
        <p:txBody>
          <a:bodyPr lIns="36000" rIns="36000"/>
          <a:lstStyle>
            <a:lvl1pPr marL="0" indent="0">
              <a:buNone/>
              <a:defRPr sz="1400" b="1">
                <a:latin typeface="M05 Text Office" panose="020B0504040000000004" pitchFamily="34" charset="0"/>
              </a:defRPr>
            </a:lvl1pPr>
          </a:lstStyle>
          <a:p>
            <a:pPr lvl="0"/>
            <a:r>
              <a:rPr lang="de-DE" err="1"/>
              <a:t>Cons</a:t>
            </a:r>
            <a:endParaRPr lang="de-DE"/>
          </a:p>
        </p:txBody>
      </p:sp>
      <p:sp>
        <p:nvSpPr>
          <p:cNvPr id="2" name="Titel 1">
            <a:extLst>
              <a:ext uri="{FF2B5EF4-FFF2-40B4-BE49-F238E27FC236}">
                <a16:creationId xmlns:a16="http://schemas.microsoft.com/office/drawing/2014/main" id="{41C38815-090D-42BC-B9FA-A4E0E76F1603}"/>
              </a:ext>
            </a:extLst>
          </p:cNvPr>
          <p:cNvSpPr>
            <a:spLocks noGrp="1"/>
          </p:cNvSpPr>
          <p:nvPr>
            <p:ph type="title"/>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17" name="Textplatzhalter 3">
            <a:extLst>
              <a:ext uri="{FF2B5EF4-FFF2-40B4-BE49-F238E27FC236}">
                <a16:creationId xmlns:a16="http://schemas.microsoft.com/office/drawing/2014/main" id="{A59C4964-82B8-4D2D-B231-E7B3CD58BD1C}"/>
              </a:ext>
            </a:extLst>
          </p:cNvPr>
          <p:cNvSpPr>
            <a:spLocks noGrp="1"/>
          </p:cNvSpPr>
          <p:nvPr>
            <p:ph type="body" sz="quarter" idx="20"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Tree>
    <p:extLst>
      <p:ext uri="{BB962C8B-B14F-4D97-AF65-F5344CB8AC3E}">
        <p14:creationId xmlns:p14="http://schemas.microsoft.com/office/powerpoint/2010/main" val="3585415624"/>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und Fazit">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7C015474-0E64-4F21-AE44-E9FC07042380}"/>
              </a:ext>
            </a:extLst>
          </p:cNvPr>
          <p:cNvSpPr>
            <a:spLocks noGrp="1"/>
          </p:cNvSpPr>
          <p:nvPr>
            <p:ph type="body" sz="quarter" idx="13" hasCustomPrompt="1"/>
          </p:nvPr>
        </p:nvSpPr>
        <p:spPr>
          <a:xfrm>
            <a:off x="330201" y="1881189"/>
            <a:ext cx="10734674" cy="3738215"/>
          </a:xfrm>
          <a:prstGeom prst="rect">
            <a:avLst/>
          </a:prstGeom>
        </p:spPr>
        <p:txBody>
          <a:bodyPr/>
          <a:lstStyle>
            <a:lvl1pPr>
              <a:defRPr sz="1800">
                <a:latin typeface="M05 Text Office" panose="020B0504040000000004" pitchFamily="34" charset="0"/>
              </a:defRPr>
            </a:lvl1pPr>
            <a:lvl2pPr>
              <a:defRPr sz="1600">
                <a:latin typeface="M05 Text Office" panose="020B0504040000000004" pitchFamily="34" charset="0"/>
              </a:defRPr>
            </a:lvl2pPr>
            <a:lvl3pPr>
              <a:defRPr sz="1400">
                <a:latin typeface="M05 Text Office" panose="020B0504040000000004" pitchFamily="34" charset="0"/>
              </a:defRPr>
            </a:lvl3pPr>
            <a:lvl4pPr>
              <a:defRPr sz="1200">
                <a:latin typeface="M05 Text Office" panose="020B0504040000000004" pitchFamily="34" charset="0"/>
              </a:defRPr>
            </a:lvl4pPr>
            <a:lvl5pPr>
              <a:defRPr sz="1200">
                <a:latin typeface="M05 Text Office" panose="020B0504040000000004" pitchFamily="34" charset="0"/>
              </a:defRPr>
            </a:lvl5pPr>
          </a:lstStyle>
          <a:p>
            <a:pPr lvl="0"/>
            <a:r>
              <a:rPr lang="de-DE"/>
              <a:t>Mastertextformat bearbeiten M05 Text PT 18</a:t>
            </a:r>
          </a:p>
          <a:p>
            <a:pPr lvl="1"/>
            <a:r>
              <a:rPr lang="de-DE"/>
              <a:t>Zweite Ebene</a:t>
            </a:r>
          </a:p>
          <a:p>
            <a:pPr lvl="2"/>
            <a:r>
              <a:rPr lang="de-DE"/>
              <a:t>Dritte Ebene</a:t>
            </a:r>
          </a:p>
          <a:p>
            <a:pPr lvl="3"/>
            <a:r>
              <a:rPr lang="de-DE"/>
              <a:t>Vierte Ebene</a:t>
            </a:r>
          </a:p>
          <a:p>
            <a:pPr lvl="4"/>
            <a:r>
              <a:rPr lang="de-DE"/>
              <a:t>Fünfte Ebene</a:t>
            </a:r>
          </a:p>
        </p:txBody>
      </p:sp>
      <p:sp>
        <p:nvSpPr>
          <p:cNvPr id="2" name="Titel 1">
            <a:extLst>
              <a:ext uri="{FF2B5EF4-FFF2-40B4-BE49-F238E27FC236}">
                <a16:creationId xmlns:a16="http://schemas.microsoft.com/office/drawing/2014/main" id="{90DE505C-55C5-48CB-B218-35FCAFE20612}"/>
              </a:ext>
            </a:extLst>
          </p:cNvPr>
          <p:cNvSpPr>
            <a:spLocks noGrp="1"/>
          </p:cNvSpPr>
          <p:nvPr>
            <p:ph type="title" hasCustomPrompt="1"/>
          </p:nvPr>
        </p:nvSpPr>
        <p:spPr>
          <a:xfrm>
            <a:off x="330201" y="550151"/>
            <a:ext cx="10728000" cy="702000"/>
          </a:xfrm>
        </p:spPr>
        <p:txBody>
          <a:bodyPr/>
          <a:lstStyle>
            <a:lvl1pPr>
              <a:defRPr cap="all" baseline="0">
                <a:latin typeface="M05 Text Office Bold" panose="020B0804040000000004" pitchFamily="34" charset="0"/>
              </a:defRPr>
            </a:lvl1pPr>
          </a:lstStyle>
          <a:p>
            <a:r>
              <a:rPr lang="de-DE"/>
              <a:t>MASTERTITELFORMAT BEARBEITEN </a:t>
            </a:r>
          </a:p>
        </p:txBody>
      </p:sp>
      <p:sp>
        <p:nvSpPr>
          <p:cNvPr id="8" name="Foliennummernplatzhalter 52">
            <a:extLst>
              <a:ext uri="{FF2B5EF4-FFF2-40B4-BE49-F238E27FC236}">
                <a16:creationId xmlns:a16="http://schemas.microsoft.com/office/drawing/2014/main" id="{B06CB913-E055-46EA-A87C-3D364F23DD5F}"/>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0" name="Textplatzhalter 3">
            <a:extLst>
              <a:ext uri="{FF2B5EF4-FFF2-40B4-BE49-F238E27FC236}">
                <a16:creationId xmlns:a16="http://schemas.microsoft.com/office/drawing/2014/main" id="{5A9B508C-1111-41C5-B21B-24F7A588F801}"/>
              </a:ext>
            </a:extLst>
          </p:cNvPr>
          <p:cNvSpPr>
            <a:spLocks noGrp="1"/>
          </p:cNvSpPr>
          <p:nvPr>
            <p:ph type="body" sz="quarter" idx="14"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3" name="Pfeil: Chevron 2">
            <a:extLst>
              <a:ext uri="{FF2B5EF4-FFF2-40B4-BE49-F238E27FC236}">
                <a16:creationId xmlns:a16="http://schemas.microsoft.com/office/drawing/2014/main" id="{88768256-9DEA-4849-AF0D-82DC1634F429}"/>
              </a:ext>
            </a:extLst>
          </p:cNvPr>
          <p:cNvSpPr/>
          <p:nvPr userDrawn="1"/>
        </p:nvSpPr>
        <p:spPr>
          <a:xfrm>
            <a:off x="330201" y="5795335"/>
            <a:ext cx="374073" cy="512513"/>
          </a:xfrm>
          <a:prstGeom prst="chevron">
            <a:avLst>
              <a:gd name="adj" fmla="val 58889"/>
            </a:avLst>
          </a:prstGeom>
          <a:solidFill>
            <a:srgbClr val="414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9" name="Pfeil: Chevron 8">
            <a:extLst>
              <a:ext uri="{FF2B5EF4-FFF2-40B4-BE49-F238E27FC236}">
                <a16:creationId xmlns:a16="http://schemas.microsoft.com/office/drawing/2014/main" id="{F4499C16-152F-415C-94BF-BB54FFE16FD8}"/>
              </a:ext>
            </a:extLst>
          </p:cNvPr>
          <p:cNvSpPr/>
          <p:nvPr userDrawn="1"/>
        </p:nvSpPr>
        <p:spPr>
          <a:xfrm>
            <a:off x="635001" y="5795336"/>
            <a:ext cx="10429874" cy="512513"/>
          </a:xfrm>
          <a:prstGeom prst="chevron">
            <a:avLst>
              <a:gd name="adj" fmla="val 50000"/>
            </a:avLst>
          </a:prstGeom>
          <a:solidFill>
            <a:srgbClr val="414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6" name="Textplatzhalter 5">
            <a:extLst>
              <a:ext uri="{FF2B5EF4-FFF2-40B4-BE49-F238E27FC236}">
                <a16:creationId xmlns:a16="http://schemas.microsoft.com/office/drawing/2014/main" id="{DD018239-A078-4C4F-8B44-200456DA58DF}"/>
              </a:ext>
            </a:extLst>
          </p:cNvPr>
          <p:cNvSpPr>
            <a:spLocks noGrp="1"/>
          </p:cNvSpPr>
          <p:nvPr>
            <p:ph type="body" sz="quarter" idx="15" hasCustomPrompt="1"/>
          </p:nvPr>
        </p:nvSpPr>
        <p:spPr>
          <a:xfrm>
            <a:off x="1014413" y="5795963"/>
            <a:ext cx="9783762" cy="511175"/>
          </a:xfrm>
          <a:prstGeom prst="rect">
            <a:avLst/>
          </a:prstGeom>
        </p:spPr>
        <p:txBody>
          <a:bodyPr anchor="ctr"/>
          <a:lstStyle>
            <a:lvl1pPr marL="0" indent="0">
              <a:buNone/>
              <a:defRPr cap="all" baseline="0">
                <a:solidFill>
                  <a:schemeClr val="bg1"/>
                </a:solidFill>
              </a:defRPr>
            </a:lvl1pPr>
          </a:lstStyle>
          <a:p>
            <a:pPr marL="0" marR="0" lvl="0" indent="0" algn="l" defTabSz="914400" rtl="0" eaLnBrk="1" fontAlgn="auto" latinLnBrk="0" hangingPunct="1">
              <a:lnSpc>
                <a:spcPct val="90000"/>
              </a:lnSpc>
              <a:spcBef>
                <a:spcPts val="1000"/>
              </a:spcBef>
              <a:spcAft>
                <a:spcPts val="0"/>
              </a:spcAft>
              <a:buClr>
                <a:schemeClr val="bg2"/>
              </a:buClr>
              <a:buSzTx/>
              <a:buFont typeface="M05 Text BETA" panose="020B0004040000000004" pitchFamily="34" charset="0"/>
              <a:buNone/>
              <a:tabLst/>
              <a:defRPr/>
            </a:pPr>
            <a:r>
              <a:rPr lang="de-DE"/>
              <a:t>Das ist eine </a:t>
            </a:r>
            <a:r>
              <a:rPr lang="de-DE" err="1"/>
              <a:t>Fazitbox</a:t>
            </a:r>
            <a:r>
              <a:rPr lang="de-DE"/>
              <a:t>. Das ist eine </a:t>
            </a:r>
            <a:r>
              <a:rPr lang="de-DE" err="1"/>
              <a:t>Fazitbox</a:t>
            </a:r>
            <a:r>
              <a:rPr lang="de-DE"/>
              <a:t>. Das ist eine </a:t>
            </a:r>
            <a:r>
              <a:rPr lang="de-DE" err="1"/>
              <a:t>Fazitbox</a:t>
            </a:r>
            <a:r>
              <a:rPr lang="de-DE"/>
              <a:t>.</a:t>
            </a:r>
          </a:p>
        </p:txBody>
      </p:sp>
    </p:spTree>
    <p:extLst>
      <p:ext uri="{BB962C8B-B14F-4D97-AF65-F5344CB8AC3E}">
        <p14:creationId xmlns:p14="http://schemas.microsoft.com/office/powerpoint/2010/main" val="20539792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Bild und Fazit">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470917F-44CE-4D97-98E7-00F6C22BF846}"/>
              </a:ext>
            </a:extLst>
          </p:cNvPr>
          <p:cNvSpPr>
            <a:spLocks noGrp="1"/>
          </p:cNvSpPr>
          <p:nvPr>
            <p:ph type="sldNum" sz="quarter" idx="10"/>
          </p:nvPr>
        </p:nvSpPr>
        <p:spPr/>
        <p:txBody>
          <a:bodyPr/>
          <a:lstStyle>
            <a:lvl1pPr>
              <a:defRPr>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3" name="Bildplatzhalter 12">
            <a:extLst>
              <a:ext uri="{FF2B5EF4-FFF2-40B4-BE49-F238E27FC236}">
                <a16:creationId xmlns:a16="http://schemas.microsoft.com/office/drawing/2014/main" id="{6922D3FA-8EFF-4DC2-B570-CF09AE60435A}"/>
              </a:ext>
            </a:extLst>
          </p:cNvPr>
          <p:cNvSpPr>
            <a:spLocks noGrp="1"/>
          </p:cNvSpPr>
          <p:nvPr>
            <p:ph type="pic" sz="quarter" idx="13"/>
          </p:nvPr>
        </p:nvSpPr>
        <p:spPr>
          <a:xfrm>
            <a:off x="7045484" y="1881188"/>
            <a:ext cx="4010025" cy="3746529"/>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15" name="Textplatzhalter 14">
            <a:extLst>
              <a:ext uri="{FF2B5EF4-FFF2-40B4-BE49-F238E27FC236}">
                <a16:creationId xmlns:a16="http://schemas.microsoft.com/office/drawing/2014/main" id="{B6D77A1A-2F41-4D0A-B304-31CF9B8FEAFC}"/>
              </a:ext>
            </a:extLst>
          </p:cNvPr>
          <p:cNvSpPr>
            <a:spLocks noGrp="1"/>
          </p:cNvSpPr>
          <p:nvPr>
            <p:ph type="body" sz="quarter" idx="14" hasCustomPrompt="1"/>
          </p:nvPr>
        </p:nvSpPr>
        <p:spPr>
          <a:xfrm>
            <a:off x="330201" y="1881189"/>
            <a:ext cx="6540499" cy="3746528"/>
          </a:xfrm>
          <a:prstGeom prst="rect">
            <a:avLst/>
          </a:prstGeom>
        </p:spPr>
        <p:txBody>
          <a:bodyPr/>
          <a:lstStyle>
            <a:lvl1pPr>
              <a:defRPr>
                <a:latin typeface="M05 Text Office" panose="020B0504040000000004" pitchFamily="34" charset="0"/>
              </a:defRPr>
            </a:lvl1pPr>
            <a:lvl2pPr>
              <a:defRPr>
                <a:latin typeface="M05 Text Office" panose="020B0504040000000004" pitchFamily="34" charset="0"/>
              </a:defRPr>
            </a:lvl2pPr>
            <a:lvl3pPr>
              <a:defRPr>
                <a:latin typeface="M05 Text Office" panose="020B0504040000000004" pitchFamily="34" charset="0"/>
              </a:defRPr>
            </a:lvl3pPr>
            <a:lvl4pPr>
              <a:defRPr>
                <a:latin typeface="M05 Text Office" panose="020B0504040000000004" pitchFamily="34" charset="0"/>
              </a:defRPr>
            </a:lvl4pPr>
            <a:lvl5pPr>
              <a:defRPr>
                <a:latin typeface="M05 Text Office" panose="020B0504040000000004" pitchFamily="34" charset="0"/>
              </a:defRPr>
            </a:lvl5pPr>
          </a:lstStyle>
          <a:p>
            <a:pPr lvl="0"/>
            <a:r>
              <a:rPr lang="de-DE"/>
              <a:t>Mastertextformat bearbeiten M05 Text Regular PT 18</a:t>
            </a:r>
          </a:p>
          <a:p>
            <a:pPr lvl="1"/>
            <a:r>
              <a:rPr lang="de-DE"/>
              <a:t>Zweite Ebene</a:t>
            </a:r>
          </a:p>
          <a:p>
            <a:pPr lvl="2"/>
            <a:r>
              <a:rPr lang="de-DE"/>
              <a:t>Dritte Ebene</a:t>
            </a:r>
          </a:p>
          <a:p>
            <a:pPr lvl="3"/>
            <a:r>
              <a:rPr lang="de-DE"/>
              <a:t>Vierte Ebene</a:t>
            </a:r>
          </a:p>
          <a:p>
            <a:pPr lvl="4"/>
            <a:r>
              <a:rPr lang="de-DE"/>
              <a:t>Fünfte Ebene</a:t>
            </a:r>
          </a:p>
        </p:txBody>
      </p:sp>
      <p:sp>
        <p:nvSpPr>
          <p:cNvPr id="6" name="Titel 5">
            <a:extLst>
              <a:ext uri="{FF2B5EF4-FFF2-40B4-BE49-F238E27FC236}">
                <a16:creationId xmlns:a16="http://schemas.microsoft.com/office/drawing/2014/main" id="{E792D233-76B7-4EE5-A7D3-B66CF21BBC32}"/>
              </a:ext>
            </a:extLst>
          </p:cNvPr>
          <p:cNvSpPr>
            <a:spLocks noGrp="1"/>
          </p:cNvSpPr>
          <p:nvPr>
            <p:ph type="title"/>
          </p:nvPr>
        </p:nvSpPr>
        <p:spPr/>
        <p:txBody>
          <a:bodyPr/>
          <a:lstStyle>
            <a:lvl1pPr>
              <a:defRPr>
                <a:latin typeface="M05 Text Office Bold" panose="020B0804040000000004" pitchFamily="34" charset="0"/>
              </a:defRPr>
            </a:lvl1pPr>
          </a:lstStyle>
          <a:p>
            <a:r>
              <a:rPr lang="de-DE"/>
              <a:t>Mastertitelformat bearbeiten</a:t>
            </a:r>
          </a:p>
        </p:txBody>
      </p:sp>
      <p:sp>
        <p:nvSpPr>
          <p:cNvPr id="8" name="Textplatzhalter 3">
            <a:extLst>
              <a:ext uri="{FF2B5EF4-FFF2-40B4-BE49-F238E27FC236}">
                <a16:creationId xmlns:a16="http://schemas.microsoft.com/office/drawing/2014/main" id="{9D383C4E-6AF0-487B-AA48-BB1435D56FB7}"/>
              </a:ext>
            </a:extLst>
          </p:cNvPr>
          <p:cNvSpPr>
            <a:spLocks noGrp="1"/>
          </p:cNvSpPr>
          <p:nvPr>
            <p:ph type="body" sz="quarter" idx="15"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7" name="Pfeil: Chevron 6">
            <a:extLst>
              <a:ext uri="{FF2B5EF4-FFF2-40B4-BE49-F238E27FC236}">
                <a16:creationId xmlns:a16="http://schemas.microsoft.com/office/drawing/2014/main" id="{36D012FC-0889-45B5-8240-C03BB6D43D7B}"/>
              </a:ext>
            </a:extLst>
          </p:cNvPr>
          <p:cNvSpPr/>
          <p:nvPr userDrawn="1"/>
        </p:nvSpPr>
        <p:spPr>
          <a:xfrm>
            <a:off x="330201" y="5795335"/>
            <a:ext cx="374073" cy="512513"/>
          </a:xfrm>
          <a:prstGeom prst="chevron">
            <a:avLst>
              <a:gd name="adj" fmla="val 58889"/>
            </a:avLst>
          </a:prstGeom>
          <a:solidFill>
            <a:srgbClr val="414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9" name="Pfeil: Chevron 8">
            <a:extLst>
              <a:ext uri="{FF2B5EF4-FFF2-40B4-BE49-F238E27FC236}">
                <a16:creationId xmlns:a16="http://schemas.microsoft.com/office/drawing/2014/main" id="{56CC717A-572B-40B0-A749-89F481236B1E}"/>
              </a:ext>
            </a:extLst>
          </p:cNvPr>
          <p:cNvSpPr/>
          <p:nvPr userDrawn="1"/>
        </p:nvSpPr>
        <p:spPr>
          <a:xfrm>
            <a:off x="635001" y="5795336"/>
            <a:ext cx="10429874" cy="512513"/>
          </a:xfrm>
          <a:prstGeom prst="chevron">
            <a:avLst>
              <a:gd name="adj" fmla="val 50000"/>
            </a:avLst>
          </a:prstGeom>
          <a:solidFill>
            <a:srgbClr val="414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0" name="Textplatzhalter 5">
            <a:extLst>
              <a:ext uri="{FF2B5EF4-FFF2-40B4-BE49-F238E27FC236}">
                <a16:creationId xmlns:a16="http://schemas.microsoft.com/office/drawing/2014/main" id="{46D7FD97-86AA-4D3A-909D-2956EDFA4E8D}"/>
              </a:ext>
            </a:extLst>
          </p:cNvPr>
          <p:cNvSpPr>
            <a:spLocks noGrp="1"/>
          </p:cNvSpPr>
          <p:nvPr>
            <p:ph type="body" sz="quarter" idx="16" hasCustomPrompt="1"/>
          </p:nvPr>
        </p:nvSpPr>
        <p:spPr>
          <a:xfrm>
            <a:off x="1014413" y="5795963"/>
            <a:ext cx="9783762" cy="511175"/>
          </a:xfrm>
          <a:prstGeom prst="rect">
            <a:avLst/>
          </a:prstGeom>
        </p:spPr>
        <p:txBody>
          <a:bodyPr anchor="ctr"/>
          <a:lstStyle>
            <a:lvl1pPr marL="0" indent="0">
              <a:buNone/>
              <a:defRPr cap="all" baseline="0">
                <a:solidFill>
                  <a:schemeClr val="bg1"/>
                </a:solidFill>
              </a:defRPr>
            </a:lvl1pPr>
          </a:lstStyle>
          <a:p>
            <a:pPr marL="0" marR="0" lvl="0" indent="0" algn="l" defTabSz="914400" rtl="0" eaLnBrk="1" fontAlgn="auto" latinLnBrk="0" hangingPunct="1">
              <a:lnSpc>
                <a:spcPct val="90000"/>
              </a:lnSpc>
              <a:spcBef>
                <a:spcPts val="1000"/>
              </a:spcBef>
              <a:spcAft>
                <a:spcPts val="0"/>
              </a:spcAft>
              <a:buClr>
                <a:schemeClr val="bg2"/>
              </a:buClr>
              <a:buSzTx/>
              <a:buFont typeface="M05 Text BETA" panose="020B0004040000000004" pitchFamily="34" charset="0"/>
              <a:buNone/>
              <a:tabLst/>
              <a:defRPr/>
            </a:pPr>
            <a:r>
              <a:rPr lang="de-DE"/>
              <a:t>Das ist eine </a:t>
            </a:r>
            <a:r>
              <a:rPr lang="de-DE" err="1"/>
              <a:t>Fazitbox</a:t>
            </a:r>
            <a:r>
              <a:rPr lang="de-DE"/>
              <a:t>. Das ist eine </a:t>
            </a:r>
            <a:r>
              <a:rPr lang="de-DE" err="1"/>
              <a:t>Fazitbox</a:t>
            </a:r>
            <a:r>
              <a:rPr lang="de-DE"/>
              <a:t>. Das ist eine </a:t>
            </a:r>
            <a:r>
              <a:rPr lang="de-DE" err="1"/>
              <a:t>Fazitbox</a:t>
            </a:r>
            <a:r>
              <a:rPr lang="de-DE"/>
              <a:t>.</a:t>
            </a:r>
          </a:p>
        </p:txBody>
      </p:sp>
    </p:spTree>
    <p:extLst>
      <p:ext uri="{BB962C8B-B14F-4D97-AF65-F5344CB8AC3E}">
        <p14:creationId xmlns:p14="http://schemas.microsoft.com/office/powerpoint/2010/main" val="27286138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azit, 3 Textfe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3" name="Rechteck 2">
            <a:extLst>
              <a:ext uri="{FF2B5EF4-FFF2-40B4-BE49-F238E27FC236}">
                <a16:creationId xmlns:a16="http://schemas.microsoft.com/office/drawing/2014/main" id="{C0156572-F38A-41CE-946B-24BE7F5357F6}"/>
              </a:ext>
            </a:extLst>
          </p:cNvPr>
          <p:cNvSpPr/>
          <p:nvPr userDrawn="1"/>
        </p:nvSpPr>
        <p:spPr>
          <a:xfrm>
            <a:off x="330360" y="1750689"/>
            <a:ext cx="1389184" cy="1195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bg1"/>
              </a:solidFill>
              <a:latin typeface="M05 Headline Office Bold" panose="020B0804040000000001" pitchFamily="34" charset="0"/>
            </a:endParaRPr>
          </a:p>
        </p:txBody>
      </p:sp>
      <p:sp>
        <p:nvSpPr>
          <p:cNvPr id="11" name="Textplatzhalter 10">
            <a:extLst>
              <a:ext uri="{FF2B5EF4-FFF2-40B4-BE49-F238E27FC236}">
                <a16:creationId xmlns:a16="http://schemas.microsoft.com/office/drawing/2014/main" id="{D73D3113-E078-4544-8363-C100A63D2987}"/>
              </a:ext>
            </a:extLst>
          </p:cNvPr>
          <p:cNvSpPr>
            <a:spLocks noGrp="1"/>
          </p:cNvSpPr>
          <p:nvPr>
            <p:ph type="body" sz="quarter" idx="14"/>
          </p:nvPr>
        </p:nvSpPr>
        <p:spPr>
          <a:xfrm>
            <a:off x="1836897" y="1750079"/>
            <a:ext cx="9218612" cy="1196975"/>
          </a:xfrm>
          <a:prstGeom prst="rect">
            <a:avLst/>
          </a:prstGeom>
          <a:solidFill>
            <a:schemeClr val="accent2"/>
          </a:solidFill>
        </p:spPr>
        <p:txBody>
          <a:bodyPr/>
          <a:lstStyle/>
          <a:p>
            <a:pPr lvl="0"/>
            <a:r>
              <a:rPr lang="de-DE"/>
              <a:t>Mastertextformat bearbeiten</a:t>
            </a:r>
          </a:p>
          <a:p>
            <a:pPr lvl="1"/>
            <a:r>
              <a:rPr lang="de-DE"/>
              <a:t>Zweite Ebene</a:t>
            </a:r>
          </a:p>
          <a:p>
            <a:pPr lvl="2"/>
            <a:r>
              <a:rPr lang="de-DE"/>
              <a:t>Dritte Ebene</a:t>
            </a:r>
          </a:p>
          <a:p>
            <a:pPr lvl="3"/>
            <a:r>
              <a:rPr lang="de-DE"/>
              <a:t>Vierte Ebene</a:t>
            </a:r>
          </a:p>
        </p:txBody>
      </p:sp>
      <p:sp>
        <p:nvSpPr>
          <p:cNvPr id="20" name="Textplatzhalter 19">
            <a:extLst>
              <a:ext uri="{FF2B5EF4-FFF2-40B4-BE49-F238E27FC236}">
                <a16:creationId xmlns:a16="http://schemas.microsoft.com/office/drawing/2014/main" id="{D6CD1E8B-CF31-4C68-B6AD-F8CC88868D87}"/>
              </a:ext>
            </a:extLst>
          </p:cNvPr>
          <p:cNvSpPr>
            <a:spLocks noGrp="1"/>
          </p:cNvSpPr>
          <p:nvPr>
            <p:ph type="body" sz="quarter" idx="17" hasCustomPrompt="1"/>
          </p:nvPr>
        </p:nvSpPr>
        <p:spPr>
          <a:xfrm>
            <a:off x="330200" y="1749425"/>
            <a:ext cx="1389063" cy="1196975"/>
          </a:xfrm>
          <a:prstGeom prst="rect">
            <a:avLst/>
          </a:prstGeom>
          <a:solidFill>
            <a:schemeClr val="accent1"/>
          </a:solidFill>
        </p:spPr>
        <p:txBody>
          <a:bodyPr anchor="ctr"/>
          <a:lstStyle>
            <a:lvl1pPr marL="0" indent="0" algn="ctr">
              <a:buNone/>
              <a:defRPr sz="5400">
                <a:solidFill>
                  <a:schemeClr val="bg1"/>
                </a:solidFill>
                <a:latin typeface="M05 Headline Office Bold" panose="020B0804040000000001" pitchFamily="34" charset="0"/>
              </a:defRPr>
            </a:lvl1pPr>
          </a:lstStyle>
          <a:p>
            <a:pPr lvl="0"/>
            <a:r>
              <a:rPr lang="de-DE"/>
              <a:t>1</a:t>
            </a:r>
          </a:p>
        </p:txBody>
      </p:sp>
      <p:sp>
        <p:nvSpPr>
          <p:cNvPr id="23" name="Rechteck 22">
            <a:extLst>
              <a:ext uri="{FF2B5EF4-FFF2-40B4-BE49-F238E27FC236}">
                <a16:creationId xmlns:a16="http://schemas.microsoft.com/office/drawing/2014/main" id="{DBFCF63E-8C98-416B-BE91-F4C31B98606E}"/>
              </a:ext>
            </a:extLst>
          </p:cNvPr>
          <p:cNvSpPr/>
          <p:nvPr userDrawn="1"/>
        </p:nvSpPr>
        <p:spPr>
          <a:xfrm>
            <a:off x="330360" y="3054128"/>
            <a:ext cx="1389184" cy="1195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bg1"/>
              </a:solidFill>
              <a:latin typeface="M05 Headline Office Bold" panose="020B0804040000000001" pitchFamily="34" charset="0"/>
            </a:endParaRPr>
          </a:p>
        </p:txBody>
      </p:sp>
      <p:sp>
        <p:nvSpPr>
          <p:cNvPr id="24" name="Textplatzhalter 10">
            <a:extLst>
              <a:ext uri="{FF2B5EF4-FFF2-40B4-BE49-F238E27FC236}">
                <a16:creationId xmlns:a16="http://schemas.microsoft.com/office/drawing/2014/main" id="{54BB46CB-79DD-4411-B508-029E769D4E9C}"/>
              </a:ext>
            </a:extLst>
          </p:cNvPr>
          <p:cNvSpPr>
            <a:spLocks noGrp="1"/>
          </p:cNvSpPr>
          <p:nvPr>
            <p:ph type="body" sz="quarter" idx="18"/>
          </p:nvPr>
        </p:nvSpPr>
        <p:spPr>
          <a:xfrm>
            <a:off x="1836897" y="3053518"/>
            <a:ext cx="9218612" cy="1196975"/>
          </a:xfrm>
          <a:prstGeom prst="rect">
            <a:avLst/>
          </a:prstGeom>
          <a:solidFill>
            <a:schemeClr val="accent2"/>
          </a:solidFill>
        </p:spPr>
        <p:txBody>
          <a:bodyPr/>
          <a:lstStyle/>
          <a:p>
            <a:pPr lvl="0"/>
            <a:r>
              <a:rPr lang="de-DE"/>
              <a:t>Mastertextformat bearbeiten</a:t>
            </a:r>
          </a:p>
          <a:p>
            <a:pPr lvl="1"/>
            <a:r>
              <a:rPr lang="de-DE"/>
              <a:t>Zweite Ebene</a:t>
            </a:r>
          </a:p>
          <a:p>
            <a:pPr lvl="2"/>
            <a:r>
              <a:rPr lang="de-DE"/>
              <a:t>Dritte Ebene</a:t>
            </a:r>
          </a:p>
          <a:p>
            <a:pPr lvl="3"/>
            <a:r>
              <a:rPr lang="de-DE"/>
              <a:t>Vierte Ebene</a:t>
            </a:r>
          </a:p>
        </p:txBody>
      </p:sp>
      <p:sp>
        <p:nvSpPr>
          <p:cNvPr id="25" name="Textplatzhalter 19">
            <a:extLst>
              <a:ext uri="{FF2B5EF4-FFF2-40B4-BE49-F238E27FC236}">
                <a16:creationId xmlns:a16="http://schemas.microsoft.com/office/drawing/2014/main" id="{E105263B-1348-4E2C-9D0B-E352490E1724}"/>
              </a:ext>
            </a:extLst>
          </p:cNvPr>
          <p:cNvSpPr>
            <a:spLocks noGrp="1"/>
          </p:cNvSpPr>
          <p:nvPr>
            <p:ph type="body" sz="quarter" idx="19" hasCustomPrompt="1"/>
          </p:nvPr>
        </p:nvSpPr>
        <p:spPr>
          <a:xfrm>
            <a:off x="330200" y="3052864"/>
            <a:ext cx="1389063" cy="1196975"/>
          </a:xfrm>
          <a:prstGeom prst="rect">
            <a:avLst/>
          </a:prstGeom>
          <a:solidFill>
            <a:schemeClr val="accent1"/>
          </a:solidFill>
        </p:spPr>
        <p:txBody>
          <a:bodyPr anchor="ctr"/>
          <a:lstStyle>
            <a:lvl1pPr marL="0" indent="0" algn="ctr">
              <a:buNone/>
              <a:defRPr sz="5400">
                <a:solidFill>
                  <a:schemeClr val="bg1"/>
                </a:solidFill>
                <a:latin typeface="M05 Headline Office Bold" panose="020B0804040000000001" pitchFamily="34" charset="0"/>
              </a:defRPr>
            </a:lvl1pPr>
          </a:lstStyle>
          <a:p>
            <a:pPr lvl="0"/>
            <a:r>
              <a:rPr lang="de-DE"/>
              <a:t>2</a:t>
            </a:r>
          </a:p>
        </p:txBody>
      </p:sp>
      <p:sp>
        <p:nvSpPr>
          <p:cNvPr id="26" name="Rechteck 25">
            <a:extLst>
              <a:ext uri="{FF2B5EF4-FFF2-40B4-BE49-F238E27FC236}">
                <a16:creationId xmlns:a16="http://schemas.microsoft.com/office/drawing/2014/main" id="{057718AF-676C-4440-99E3-37C3A74DF74E}"/>
              </a:ext>
            </a:extLst>
          </p:cNvPr>
          <p:cNvSpPr/>
          <p:nvPr userDrawn="1"/>
        </p:nvSpPr>
        <p:spPr>
          <a:xfrm>
            <a:off x="330360" y="4357524"/>
            <a:ext cx="1389184" cy="11957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bg1"/>
              </a:solidFill>
              <a:latin typeface="M05 Headline Office Bold" panose="020B0804040000000001" pitchFamily="34" charset="0"/>
            </a:endParaRPr>
          </a:p>
        </p:txBody>
      </p:sp>
      <p:sp>
        <p:nvSpPr>
          <p:cNvPr id="27" name="Textplatzhalter 10">
            <a:extLst>
              <a:ext uri="{FF2B5EF4-FFF2-40B4-BE49-F238E27FC236}">
                <a16:creationId xmlns:a16="http://schemas.microsoft.com/office/drawing/2014/main" id="{5E2BAFCC-CCB6-4666-9E30-0A250D97E003}"/>
              </a:ext>
            </a:extLst>
          </p:cNvPr>
          <p:cNvSpPr>
            <a:spLocks noGrp="1"/>
          </p:cNvSpPr>
          <p:nvPr>
            <p:ph type="body" sz="quarter" idx="20"/>
          </p:nvPr>
        </p:nvSpPr>
        <p:spPr>
          <a:xfrm>
            <a:off x="1836897" y="4356914"/>
            <a:ext cx="9218612" cy="1196975"/>
          </a:xfrm>
          <a:prstGeom prst="rect">
            <a:avLst/>
          </a:prstGeom>
          <a:solidFill>
            <a:schemeClr val="accent2"/>
          </a:solidFill>
        </p:spPr>
        <p:txBody>
          <a:bodyPr/>
          <a:lstStyle/>
          <a:p>
            <a:pPr lvl="0"/>
            <a:r>
              <a:rPr lang="de-DE"/>
              <a:t>Mastertextformat bearbeiten</a:t>
            </a:r>
          </a:p>
          <a:p>
            <a:pPr lvl="1"/>
            <a:r>
              <a:rPr lang="de-DE"/>
              <a:t>Zweite Ebene</a:t>
            </a:r>
          </a:p>
          <a:p>
            <a:pPr lvl="2"/>
            <a:r>
              <a:rPr lang="de-DE"/>
              <a:t>Dritte Ebene</a:t>
            </a:r>
          </a:p>
          <a:p>
            <a:pPr lvl="3"/>
            <a:r>
              <a:rPr lang="de-DE"/>
              <a:t>Vierte Ebene</a:t>
            </a:r>
          </a:p>
        </p:txBody>
      </p:sp>
      <p:sp>
        <p:nvSpPr>
          <p:cNvPr id="28" name="Textplatzhalter 19">
            <a:extLst>
              <a:ext uri="{FF2B5EF4-FFF2-40B4-BE49-F238E27FC236}">
                <a16:creationId xmlns:a16="http://schemas.microsoft.com/office/drawing/2014/main" id="{303E00C9-19EA-4B9C-AFCF-72A7794EECD7}"/>
              </a:ext>
            </a:extLst>
          </p:cNvPr>
          <p:cNvSpPr>
            <a:spLocks noGrp="1"/>
          </p:cNvSpPr>
          <p:nvPr>
            <p:ph type="body" sz="quarter" idx="21" hasCustomPrompt="1"/>
          </p:nvPr>
        </p:nvSpPr>
        <p:spPr>
          <a:xfrm>
            <a:off x="330200" y="4356260"/>
            <a:ext cx="1389063" cy="1196975"/>
          </a:xfrm>
          <a:prstGeom prst="rect">
            <a:avLst/>
          </a:prstGeom>
          <a:solidFill>
            <a:schemeClr val="accent1"/>
          </a:solidFill>
        </p:spPr>
        <p:txBody>
          <a:bodyPr anchor="ctr"/>
          <a:lstStyle>
            <a:lvl1pPr marL="0" indent="0" algn="ctr">
              <a:buNone/>
              <a:defRPr sz="5400">
                <a:solidFill>
                  <a:schemeClr val="bg1"/>
                </a:solidFill>
                <a:latin typeface="M05 Headline Office Bold" panose="020B0804040000000001" pitchFamily="34" charset="0"/>
              </a:defRPr>
            </a:lvl1pPr>
          </a:lstStyle>
          <a:p>
            <a:pPr lvl="0"/>
            <a:r>
              <a:rPr lang="de-DE"/>
              <a:t>3</a:t>
            </a:r>
          </a:p>
        </p:txBody>
      </p:sp>
    </p:spTree>
    <p:extLst>
      <p:ext uri="{BB962C8B-B14F-4D97-AF65-F5344CB8AC3E}">
        <p14:creationId xmlns:p14="http://schemas.microsoft.com/office/powerpoint/2010/main" val="13281481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ild rechts mit Headline; mittiges Raster">
    <p:spTree>
      <p:nvGrpSpPr>
        <p:cNvPr id="1" name=""/>
        <p:cNvGrpSpPr/>
        <p:nvPr/>
      </p:nvGrpSpPr>
      <p:grpSpPr>
        <a:xfrm>
          <a:off x="0" y="0"/>
          <a:ext cx="0" cy="0"/>
          <a:chOff x="0" y="0"/>
          <a:chExt cx="0" cy="0"/>
        </a:xfrm>
      </p:grpSpPr>
      <p:grpSp>
        <p:nvGrpSpPr>
          <p:cNvPr id="8" name="Gruppieren 7">
            <a:extLst>
              <a:ext uri="{FF2B5EF4-FFF2-40B4-BE49-F238E27FC236}">
                <a16:creationId xmlns:a16="http://schemas.microsoft.com/office/drawing/2014/main" id="{0108B528-568E-4571-B955-15BCEEC3F401}"/>
              </a:ext>
            </a:extLst>
          </p:cNvPr>
          <p:cNvGrpSpPr>
            <a:grpSpLocks noChangeAspect="1"/>
          </p:cNvGrpSpPr>
          <p:nvPr userDrawn="1"/>
        </p:nvGrpSpPr>
        <p:grpSpPr>
          <a:xfrm>
            <a:off x="4128049" y="0"/>
            <a:ext cx="3935901" cy="1980000"/>
            <a:chOff x="-114411" y="-1"/>
            <a:chExt cx="1100501" cy="553622"/>
          </a:xfrm>
        </p:grpSpPr>
        <p:sp>
          <p:nvSpPr>
            <p:cNvPr id="6" name="Rechtwinkliges Dreieck 5">
              <a:extLst>
                <a:ext uri="{FF2B5EF4-FFF2-40B4-BE49-F238E27FC236}">
                  <a16:creationId xmlns:a16="http://schemas.microsoft.com/office/drawing/2014/main" id="{A3DC1893-A361-4127-A5FC-E174FD7B5812}"/>
                </a:ext>
              </a:extLst>
            </p:cNvPr>
            <p:cNvSpPr>
              <a:spLocks noChangeAspect="1"/>
            </p:cNvSpPr>
            <p:nvPr userDrawn="1"/>
          </p:nvSpPr>
          <p:spPr>
            <a:xfrm rot="10800000">
              <a:off x="-114411" y="-1"/>
              <a:ext cx="550350" cy="55362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814" tIns="38407" rIns="76814" bIns="38407" numCol="1" spcCol="0" rtlCol="0" fromWordArt="0" anchor="ctr" anchorCtr="0" forceAA="0" compatLnSpc="1">
              <a:prstTxWarp prst="textNoShape">
                <a:avLst/>
              </a:prstTxWarp>
              <a:noAutofit/>
            </a:bodyPr>
            <a:lstStyle/>
            <a:p>
              <a:pPr algn="ctr"/>
              <a:endParaRPr lang="de-DE" sz="1512">
                <a:latin typeface="M05 Text Office" panose="020B0504040000000004" pitchFamily="34" charset="0"/>
              </a:endParaRPr>
            </a:p>
          </p:txBody>
        </p:sp>
        <p:sp>
          <p:nvSpPr>
            <p:cNvPr id="7" name="Rechtwinkliges Dreieck 6">
              <a:extLst>
                <a:ext uri="{FF2B5EF4-FFF2-40B4-BE49-F238E27FC236}">
                  <a16:creationId xmlns:a16="http://schemas.microsoft.com/office/drawing/2014/main" id="{8E734285-A9A2-49D3-9500-1568669190FE}"/>
                </a:ext>
              </a:extLst>
            </p:cNvPr>
            <p:cNvSpPr>
              <a:spLocks noChangeAspect="1"/>
            </p:cNvSpPr>
            <p:nvPr userDrawn="1"/>
          </p:nvSpPr>
          <p:spPr>
            <a:xfrm rot="10800000" flipH="1">
              <a:off x="435939" y="-1"/>
              <a:ext cx="550151" cy="553423"/>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814" tIns="38407" rIns="76814" bIns="38407" numCol="1" spcCol="0" rtlCol="0" fromWordArt="0" anchor="ctr" anchorCtr="0" forceAA="0" compatLnSpc="1">
              <a:prstTxWarp prst="textNoShape">
                <a:avLst/>
              </a:prstTxWarp>
              <a:noAutofit/>
            </a:bodyPr>
            <a:lstStyle/>
            <a:p>
              <a:pPr algn="ctr"/>
              <a:endParaRPr lang="de-DE" sz="1512">
                <a:latin typeface="M05 Text Office" panose="020B0504040000000004" pitchFamily="34" charset="0"/>
              </a:endParaRPr>
            </a:p>
          </p:txBody>
        </p:sp>
      </p:grpSp>
      <p:sp>
        <p:nvSpPr>
          <p:cNvPr id="11" name="Bildplatzhalter 10">
            <a:extLst>
              <a:ext uri="{FF2B5EF4-FFF2-40B4-BE49-F238E27FC236}">
                <a16:creationId xmlns:a16="http://schemas.microsoft.com/office/drawing/2014/main" id="{078099FD-DEC4-409A-B0BA-561C8AF23AA7}"/>
              </a:ext>
            </a:extLst>
          </p:cNvPr>
          <p:cNvSpPr>
            <a:spLocks noGrp="1"/>
          </p:cNvSpPr>
          <p:nvPr>
            <p:ph type="pic" sz="quarter" idx="12"/>
          </p:nvPr>
        </p:nvSpPr>
        <p:spPr>
          <a:xfrm>
            <a:off x="6096000" y="-687"/>
            <a:ext cx="6096000" cy="6858687"/>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17 w 10000"/>
              <a:gd name="connsiteY0" fmla="*/ 2868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17 w 10000"/>
              <a:gd name="connsiteY5" fmla="*/ 2868 h 10000"/>
              <a:gd name="connsiteX0" fmla="*/ 17 w 10000"/>
              <a:gd name="connsiteY0" fmla="*/ 2868 h 10000"/>
              <a:gd name="connsiteX1" fmla="*/ 3238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17 w 10000"/>
              <a:gd name="connsiteY5" fmla="*/ 2868 h 10000"/>
              <a:gd name="connsiteX0" fmla="*/ 5 w 10000"/>
              <a:gd name="connsiteY0" fmla="*/ 2857 h 10000"/>
              <a:gd name="connsiteX1" fmla="*/ 3238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5 w 10000"/>
              <a:gd name="connsiteY5" fmla="*/ 2857 h 10000"/>
              <a:gd name="connsiteX0" fmla="*/ 1 w 10002"/>
              <a:gd name="connsiteY0" fmla="*/ 2879 h 10000"/>
              <a:gd name="connsiteX1" fmla="*/ 3240 w 10002"/>
              <a:gd name="connsiteY1" fmla="*/ 0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879 h 10000"/>
              <a:gd name="connsiteX0" fmla="*/ 1 w 10002"/>
              <a:gd name="connsiteY0" fmla="*/ 2879 h 10000"/>
              <a:gd name="connsiteX1" fmla="*/ 3228 w 10002"/>
              <a:gd name="connsiteY1" fmla="*/ 0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879 h 10000"/>
              <a:gd name="connsiteX0" fmla="*/ 1 w 10002"/>
              <a:gd name="connsiteY0" fmla="*/ 2911 h 10000"/>
              <a:gd name="connsiteX1" fmla="*/ 3228 w 10002"/>
              <a:gd name="connsiteY1" fmla="*/ 0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911 h 10000"/>
              <a:gd name="connsiteX0" fmla="*/ 1 w 10002"/>
              <a:gd name="connsiteY0" fmla="*/ 2911 h 10000"/>
              <a:gd name="connsiteX1" fmla="*/ 3240 w 10002"/>
              <a:gd name="connsiteY1" fmla="*/ 0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911 h 10000"/>
              <a:gd name="connsiteX0" fmla="*/ 1 w 10002"/>
              <a:gd name="connsiteY0" fmla="*/ 2911 h 10000"/>
              <a:gd name="connsiteX1" fmla="*/ 3276 w 10002"/>
              <a:gd name="connsiteY1" fmla="*/ 0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911 h 10000"/>
              <a:gd name="connsiteX0" fmla="*/ 1 w 10002"/>
              <a:gd name="connsiteY0" fmla="*/ 2900 h 10000"/>
              <a:gd name="connsiteX1" fmla="*/ 3276 w 10002"/>
              <a:gd name="connsiteY1" fmla="*/ 0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900 h 10000"/>
              <a:gd name="connsiteX0" fmla="*/ 1 w 10002"/>
              <a:gd name="connsiteY0" fmla="*/ 2911 h 10011"/>
              <a:gd name="connsiteX1" fmla="*/ 3264 w 10002"/>
              <a:gd name="connsiteY1" fmla="*/ 0 h 10011"/>
              <a:gd name="connsiteX2" fmla="*/ 10002 w 10002"/>
              <a:gd name="connsiteY2" fmla="*/ 11 h 10011"/>
              <a:gd name="connsiteX3" fmla="*/ 10002 w 10002"/>
              <a:gd name="connsiteY3" fmla="*/ 10011 h 10011"/>
              <a:gd name="connsiteX4" fmla="*/ 2 w 10002"/>
              <a:gd name="connsiteY4" fmla="*/ 10011 h 10011"/>
              <a:gd name="connsiteX5" fmla="*/ 1 w 10002"/>
              <a:gd name="connsiteY5" fmla="*/ 2911 h 10011"/>
              <a:gd name="connsiteX0" fmla="*/ 1 w 10002"/>
              <a:gd name="connsiteY0" fmla="*/ 2900 h 10011"/>
              <a:gd name="connsiteX1" fmla="*/ 3264 w 10002"/>
              <a:gd name="connsiteY1" fmla="*/ 0 h 10011"/>
              <a:gd name="connsiteX2" fmla="*/ 10002 w 10002"/>
              <a:gd name="connsiteY2" fmla="*/ 11 h 10011"/>
              <a:gd name="connsiteX3" fmla="*/ 10002 w 10002"/>
              <a:gd name="connsiteY3" fmla="*/ 10011 h 10011"/>
              <a:gd name="connsiteX4" fmla="*/ 2 w 10002"/>
              <a:gd name="connsiteY4" fmla="*/ 10011 h 10011"/>
              <a:gd name="connsiteX5" fmla="*/ 1 w 10002"/>
              <a:gd name="connsiteY5" fmla="*/ 2900 h 10011"/>
              <a:gd name="connsiteX0" fmla="*/ 1 w 10002"/>
              <a:gd name="connsiteY0" fmla="*/ 2895 h 10006"/>
              <a:gd name="connsiteX1" fmla="*/ 3246 w 10002"/>
              <a:gd name="connsiteY1" fmla="*/ 0 h 10006"/>
              <a:gd name="connsiteX2" fmla="*/ 10002 w 10002"/>
              <a:gd name="connsiteY2" fmla="*/ 6 h 10006"/>
              <a:gd name="connsiteX3" fmla="*/ 10002 w 10002"/>
              <a:gd name="connsiteY3" fmla="*/ 10006 h 10006"/>
              <a:gd name="connsiteX4" fmla="*/ 2 w 10002"/>
              <a:gd name="connsiteY4" fmla="*/ 10006 h 10006"/>
              <a:gd name="connsiteX5" fmla="*/ 1 w 10002"/>
              <a:gd name="connsiteY5" fmla="*/ 2895 h 10006"/>
              <a:gd name="connsiteX0" fmla="*/ 1 w 10002"/>
              <a:gd name="connsiteY0" fmla="*/ 2890 h 10001"/>
              <a:gd name="connsiteX1" fmla="*/ 3246 w 10002"/>
              <a:gd name="connsiteY1" fmla="*/ 0 h 10001"/>
              <a:gd name="connsiteX2" fmla="*/ 10002 w 10002"/>
              <a:gd name="connsiteY2" fmla="*/ 1 h 10001"/>
              <a:gd name="connsiteX3" fmla="*/ 10002 w 10002"/>
              <a:gd name="connsiteY3" fmla="*/ 10001 h 10001"/>
              <a:gd name="connsiteX4" fmla="*/ 2 w 10002"/>
              <a:gd name="connsiteY4" fmla="*/ 10001 h 10001"/>
              <a:gd name="connsiteX5" fmla="*/ 1 w 10002"/>
              <a:gd name="connsiteY5" fmla="*/ 2890 h 10001"/>
              <a:gd name="connsiteX0" fmla="*/ 1 w 10002"/>
              <a:gd name="connsiteY0" fmla="*/ 2890 h 10001"/>
              <a:gd name="connsiteX1" fmla="*/ 3234 w 10002"/>
              <a:gd name="connsiteY1" fmla="*/ 0 h 10001"/>
              <a:gd name="connsiteX2" fmla="*/ 10002 w 10002"/>
              <a:gd name="connsiteY2" fmla="*/ 1 h 10001"/>
              <a:gd name="connsiteX3" fmla="*/ 10002 w 10002"/>
              <a:gd name="connsiteY3" fmla="*/ 10001 h 10001"/>
              <a:gd name="connsiteX4" fmla="*/ 2 w 10002"/>
              <a:gd name="connsiteY4" fmla="*/ 10001 h 10001"/>
              <a:gd name="connsiteX5" fmla="*/ 1 w 10002"/>
              <a:gd name="connsiteY5" fmla="*/ 2890 h 10001"/>
              <a:gd name="connsiteX0" fmla="*/ 1 w 10002"/>
              <a:gd name="connsiteY0" fmla="*/ 2879 h 10001"/>
              <a:gd name="connsiteX1" fmla="*/ 3234 w 10002"/>
              <a:gd name="connsiteY1" fmla="*/ 0 h 10001"/>
              <a:gd name="connsiteX2" fmla="*/ 10002 w 10002"/>
              <a:gd name="connsiteY2" fmla="*/ 1 h 10001"/>
              <a:gd name="connsiteX3" fmla="*/ 10002 w 10002"/>
              <a:gd name="connsiteY3" fmla="*/ 10001 h 10001"/>
              <a:gd name="connsiteX4" fmla="*/ 2 w 10002"/>
              <a:gd name="connsiteY4" fmla="*/ 10001 h 10001"/>
              <a:gd name="connsiteX5" fmla="*/ 1 w 10002"/>
              <a:gd name="connsiteY5" fmla="*/ 2879 h 10001"/>
              <a:gd name="connsiteX0" fmla="*/ 1 w 10008"/>
              <a:gd name="connsiteY0" fmla="*/ 2879 h 10001"/>
              <a:gd name="connsiteX1" fmla="*/ 3240 w 10008"/>
              <a:gd name="connsiteY1" fmla="*/ 0 h 10001"/>
              <a:gd name="connsiteX2" fmla="*/ 10008 w 10008"/>
              <a:gd name="connsiteY2" fmla="*/ 1 h 10001"/>
              <a:gd name="connsiteX3" fmla="*/ 10008 w 10008"/>
              <a:gd name="connsiteY3" fmla="*/ 10001 h 10001"/>
              <a:gd name="connsiteX4" fmla="*/ 8 w 10008"/>
              <a:gd name="connsiteY4" fmla="*/ 10001 h 10001"/>
              <a:gd name="connsiteX5" fmla="*/ 1 w 10008"/>
              <a:gd name="connsiteY5" fmla="*/ 2879 h 10001"/>
              <a:gd name="connsiteX0" fmla="*/ 2 w 10003"/>
              <a:gd name="connsiteY0" fmla="*/ 2874 h 10001"/>
              <a:gd name="connsiteX1" fmla="*/ 3235 w 10003"/>
              <a:gd name="connsiteY1" fmla="*/ 0 h 10001"/>
              <a:gd name="connsiteX2" fmla="*/ 10003 w 10003"/>
              <a:gd name="connsiteY2" fmla="*/ 1 h 10001"/>
              <a:gd name="connsiteX3" fmla="*/ 10003 w 10003"/>
              <a:gd name="connsiteY3" fmla="*/ 10001 h 10001"/>
              <a:gd name="connsiteX4" fmla="*/ 3 w 10003"/>
              <a:gd name="connsiteY4" fmla="*/ 10001 h 10001"/>
              <a:gd name="connsiteX5" fmla="*/ 2 w 10003"/>
              <a:gd name="connsiteY5" fmla="*/ 2874 h 10001"/>
              <a:gd name="connsiteX0" fmla="*/ 2 w 10003"/>
              <a:gd name="connsiteY0" fmla="*/ 2874 h 10001"/>
              <a:gd name="connsiteX1" fmla="*/ 3235 w 10003"/>
              <a:gd name="connsiteY1" fmla="*/ 0 h 10001"/>
              <a:gd name="connsiteX2" fmla="*/ 10003 w 10003"/>
              <a:gd name="connsiteY2" fmla="*/ 1 h 10001"/>
              <a:gd name="connsiteX3" fmla="*/ 10003 w 10003"/>
              <a:gd name="connsiteY3" fmla="*/ 10001 h 10001"/>
              <a:gd name="connsiteX4" fmla="*/ 3 w 10003"/>
              <a:gd name="connsiteY4" fmla="*/ 10001 h 10001"/>
              <a:gd name="connsiteX5" fmla="*/ 2 w 10003"/>
              <a:gd name="connsiteY5" fmla="*/ 2874 h 10001"/>
              <a:gd name="connsiteX0" fmla="*/ 1 w 10007"/>
              <a:gd name="connsiteY0" fmla="*/ 2882 h 10001"/>
              <a:gd name="connsiteX1" fmla="*/ 3239 w 10007"/>
              <a:gd name="connsiteY1" fmla="*/ 0 h 10001"/>
              <a:gd name="connsiteX2" fmla="*/ 10007 w 10007"/>
              <a:gd name="connsiteY2" fmla="*/ 1 h 10001"/>
              <a:gd name="connsiteX3" fmla="*/ 10007 w 10007"/>
              <a:gd name="connsiteY3" fmla="*/ 10001 h 10001"/>
              <a:gd name="connsiteX4" fmla="*/ 7 w 10007"/>
              <a:gd name="connsiteY4" fmla="*/ 10001 h 10001"/>
              <a:gd name="connsiteX5" fmla="*/ 1 w 10007"/>
              <a:gd name="connsiteY5" fmla="*/ 2882 h 10001"/>
              <a:gd name="connsiteX0" fmla="*/ 1 w 10007"/>
              <a:gd name="connsiteY0" fmla="*/ 2882 h 10001"/>
              <a:gd name="connsiteX1" fmla="*/ 3239 w 10007"/>
              <a:gd name="connsiteY1" fmla="*/ 0 h 10001"/>
              <a:gd name="connsiteX2" fmla="*/ 10007 w 10007"/>
              <a:gd name="connsiteY2" fmla="*/ 1 h 10001"/>
              <a:gd name="connsiteX3" fmla="*/ 10007 w 10007"/>
              <a:gd name="connsiteY3" fmla="*/ 10001 h 10001"/>
              <a:gd name="connsiteX4" fmla="*/ 7 w 10007"/>
              <a:gd name="connsiteY4" fmla="*/ 10001 h 10001"/>
              <a:gd name="connsiteX5" fmla="*/ 1 w 10007"/>
              <a:gd name="connsiteY5" fmla="*/ 2882 h 10001"/>
              <a:gd name="connsiteX0" fmla="*/ 1 w 10007"/>
              <a:gd name="connsiteY0" fmla="*/ 2882 h 10001"/>
              <a:gd name="connsiteX1" fmla="*/ 3239 w 10007"/>
              <a:gd name="connsiteY1" fmla="*/ 0 h 10001"/>
              <a:gd name="connsiteX2" fmla="*/ 10007 w 10007"/>
              <a:gd name="connsiteY2" fmla="*/ 1 h 10001"/>
              <a:gd name="connsiteX3" fmla="*/ 10007 w 10007"/>
              <a:gd name="connsiteY3" fmla="*/ 10001 h 10001"/>
              <a:gd name="connsiteX4" fmla="*/ 7 w 10007"/>
              <a:gd name="connsiteY4" fmla="*/ 10001 h 10001"/>
              <a:gd name="connsiteX5" fmla="*/ 1 w 10007"/>
              <a:gd name="connsiteY5" fmla="*/ 2882 h 10001"/>
              <a:gd name="connsiteX0" fmla="*/ 1 w 10007"/>
              <a:gd name="connsiteY0" fmla="*/ 2882 h 10001"/>
              <a:gd name="connsiteX1" fmla="*/ 3239 w 10007"/>
              <a:gd name="connsiteY1" fmla="*/ 0 h 10001"/>
              <a:gd name="connsiteX2" fmla="*/ 10007 w 10007"/>
              <a:gd name="connsiteY2" fmla="*/ 1 h 10001"/>
              <a:gd name="connsiteX3" fmla="*/ 10007 w 10007"/>
              <a:gd name="connsiteY3" fmla="*/ 10001 h 10001"/>
              <a:gd name="connsiteX4" fmla="*/ 7 w 10007"/>
              <a:gd name="connsiteY4" fmla="*/ 10001 h 10001"/>
              <a:gd name="connsiteX5" fmla="*/ 1 w 10007"/>
              <a:gd name="connsiteY5" fmla="*/ 2882 h 10001"/>
              <a:gd name="connsiteX0" fmla="*/ 2 w 10003"/>
              <a:gd name="connsiteY0" fmla="*/ 2882 h 10001"/>
              <a:gd name="connsiteX1" fmla="*/ 3235 w 10003"/>
              <a:gd name="connsiteY1" fmla="*/ 0 h 10001"/>
              <a:gd name="connsiteX2" fmla="*/ 10003 w 10003"/>
              <a:gd name="connsiteY2" fmla="*/ 1 h 10001"/>
              <a:gd name="connsiteX3" fmla="*/ 10003 w 10003"/>
              <a:gd name="connsiteY3" fmla="*/ 10001 h 10001"/>
              <a:gd name="connsiteX4" fmla="*/ 3 w 10003"/>
              <a:gd name="connsiteY4" fmla="*/ 10001 h 10001"/>
              <a:gd name="connsiteX5" fmla="*/ 2 w 10003"/>
              <a:gd name="connsiteY5" fmla="*/ 2882 h 10001"/>
              <a:gd name="connsiteX0" fmla="*/ 8 w 10000"/>
              <a:gd name="connsiteY0" fmla="*/ 2882 h 10001"/>
              <a:gd name="connsiteX1" fmla="*/ 3232 w 10000"/>
              <a:gd name="connsiteY1" fmla="*/ 0 h 10001"/>
              <a:gd name="connsiteX2" fmla="*/ 10000 w 10000"/>
              <a:gd name="connsiteY2" fmla="*/ 1 h 10001"/>
              <a:gd name="connsiteX3" fmla="*/ 10000 w 10000"/>
              <a:gd name="connsiteY3" fmla="*/ 10001 h 10001"/>
              <a:gd name="connsiteX4" fmla="*/ 0 w 10000"/>
              <a:gd name="connsiteY4" fmla="*/ 10001 h 10001"/>
              <a:gd name="connsiteX5" fmla="*/ 8 w 10000"/>
              <a:gd name="connsiteY5" fmla="*/ 2882 h 10001"/>
              <a:gd name="connsiteX0" fmla="*/ 3 w 10000"/>
              <a:gd name="connsiteY0" fmla="*/ 2886 h 10001"/>
              <a:gd name="connsiteX1" fmla="*/ 3232 w 10000"/>
              <a:gd name="connsiteY1" fmla="*/ 0 h 10001"/>
              <a:gd name="connsiteX2" fmla="*/ 10000 w 10000"/>
              <a:gd name="connsiteY2" fmla="*/ 1 h 10001"/>
              <a:gd name="connsiteX3" fmla="*/ 10000 w 10000"/>
              <a:gd name="connsiteY3" fmla="*/ 10001 h 10001"/>
              <a:gd name="connsiteX4" fmla="*/ 0 w 10000"/>
              <a:gd name="connsiteY4" fmla="*/ 10001 h 10001"/>
              <a:gd name="connsiteX5" fmla="*/ 3 w 10000"/>
              <a:gd name="connsiteY5" fmla="*/ 2886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1">
                <a:moveTo>
                  <a:pt x="3" y="2886"/>
                </a:moveTo>
                <a:lnTo>
                  <a:pt x="3232" y="0"/>
                </a:lnTo>
                <a:lnTo>
                  <a:pt x="10000" y="1"/>
                </a:lnTo>
                <a:lnTo>
                  <a:pt x="10000" y="10001"/>
                </a:lnTo>
                <a:lnTo>
                  <a:pt x="0" y="10001"/>
                </a:lnTo>
                <a:cubicBezTo>
                  <a:pt x="6" y="7624"/>
                  <a:pt x="-3" y="5263"/>
                  <a:pt x="3" y="2886"/>
                </a:cubicBezTo>
                <a:close/>
              </a:path>
            </a:pathLst>
          </a:custGeom>
          <a:solidFill>
            <a:schemeClr val="accent2">
              <a:alpha val="74000"/>
            </a:schemeClr>
          </a:solidFill>
        </p:spPr>
        <p:txBody>
          <a:bodyPr/>
          <a:lstStyle>
            <a:lvl1pPr>
              <a:defRPr>
                <a:latin typeface="M05 Text Office" panose="020B0504040000000004" pitchFamily="34" charset="0"/>
              </a:defRPr>
            </a:lvl1pPr>
          </a:lstStyle>
          <a:p>
            <a:r>
              <a:rPr lang="de-DE"/>
              <a:t>Bild durch Klicken auf Symbol hinzufügen</a:t>
            </a:r>
          </a:p>
        </p:txBody>
      </p:sp>
      <p:sp>
        <p:nvSpPr>
          <p:cNvPr id="12" name="Rechteck: eine Ecke abgeschnitten 11">
            <a:extLst>
              <a:ext uri="{FF2B5EF4-FFF2-40B4-BE49-F238E27FC236}">
                <a16:creationId xmlns:a16="http://schemas.microsoft.com/office/drawing/2014/main" id="{4B06C45A-76C0-49E6-ABCF-DDEC4C896173}"/>
              </a:ext>
            </a:extLst>
          </p:cNvPr>
          <p:cNvSpPr/>
          <p:nvPr userDrawn="1"/>
        </p:nvSpPr>
        <p:spPr>
          <a:xfrm>
            <a:off x="0" y="0"/>
            <a:ext cx="6094780" cy="6858000"/>
          </a:xfrm>
          <a:prstGeom prst="snip1Rect">
            <a:avLst>
              <a:gd name="adj" fmla="val 3250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05 Text Office" panose="020B0504040000000004" pitchFamily="34" charset="0"/>
            </a:endParaRPr>
          </a:p>
        </p:txBody>
      </p:sp>
      <p:sp>
        <p:nvSpPr>
          <p:cNvPr id="14" name="Textplatzhalter 13">
            <a:extLst>
              <a:ext uri="{FF2B5EF4-FFF2-40B4-BE49-F238E27FC236}">
                <a16:creationId xmlns:a16="http://schemas.microsoft.com/office/drawing/2014/main" id="{EECB25AE-9574-4EFA-8AFF-BFDD997C040B}"/>
              </a:ext>
            </a:extLst>
          </p:cNvPr>
          <p:cNvSpPr>
            <a:spLocks noGrp="1"/>
          </p:cNvSpPr>
          <p:nvPr>
            <p:ph type="body" sz="quarter" idx="13" hasCustomPrompt="1"/>
          </p:nvPr>
        </p:nvSpPr>
        <p:spPr>
          <a:xfrm>
            <a:off x="513740" y="2578098"/>
            <a:ext cx="5067300" cy="2438400"/>
          </a:xfrm>
          <a:prstGeom prst="rect">
            <a:avLst/>
          </a:prstGeom>
        </p:spPr>
        <p:txBody>
          <a:bodyPr/>
          <a:lstStyle>
            <a:lvl1pPr marL="0" indent="0">
              <a:buNone/>
              <a:defRPr sz="3200" cap="all" baseline="0">
                <a:solidFill>
                  <a:schemeClr val="bg1"/>
                </a:solidFill>
                <a:latin typeface="M05 Text Office Bold" panose="020B0804040000000004" pitchFamily="34" charset="0"/>
              </a:defRPr>
            </a:lvl1pPr>
            <a:lvl2pPr>
              <a:defRPr sz="2000">
                <a:solidFill>
                  <a:schemeClr val="bg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de-DE"/>
              <a:t>Mastertextformat bearbeiten M05 Text </a:t>
            </a:r>
            <a:r>
              <a:rPr lang="de-DE" err="1"/>
              <a:t>bold</a:t>
            </a:r>
            <a:r>
              <a:rPr lang="de-DE"/>
              <a:t> </a:t>
            </a:r>
            <a:r>
              <a:rPr lang="de-DE" err="1"/>
              <a:t>pt</a:t>
            </a:r>
            <a:r>
              <a:rPr lang="de-DE"/>
              <a:t> 32</a:t>
            </a:r>
          </a:p>
        </p:txBody>
      </p:sp>
    </p:spTree>
    <p:extLst>
      <p:ext uri="{BB962C8B-B14F-4D97-AF65-F5344CB8AC3E}">
        <p14:creationId xmlns:p14="http://schemas.microsoft.com/office/powerpoint/2010/main" val="41698441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azit, 4 Textfe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3" name="Rechteck 2">
            <a:extLst>
              <a:ext uri="{FF2B5EF4-FFF2-40B4-BE49-F238E27FC236}">
                <a16:creationId xmlns:a16="http://schemas.microsoft.com/office/drawing/2014/main" id="{C0156572-F38A-41CE-946B-24BE7F5357F6}"/>
              </a:ext>
            </a:extLst>
          </p:cNvPr>
          <p:cNvSpPr/>
          <p:nvPr userDrawn="1"/>
        </p:nvSpPr>
        <p:spPr>
          <a:xfrm>
            <a:off x="330360" y="1750689"/>
            <a:ext cx="1389184" cy="10311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bg1"/>
              </a:solidFill>
              <a:latin typeface="M05 Headline Office Bold" panose="020B0804040000000001" pitchFamily="34" charset="0"/>
            </a:endParaRPr>
          </a:p>
        </p:txBody>
      </p:sp>
      <p:sp>
        <p:nvSpPr>
          <p:cNvPr id="11" name="Textplatzhalter 10">
            <a:extLst>
              <a:ext uri="{FF2B5EF4-FFF2-40B4-BE49-F238E27FC236}">
                <a16:creationId xmlns:a16="http://schemas.microsoft.com/office/drawing/2014/main" id="{D73D3113-E078-4544-8363-C100A63D2987}"/>
              </a:ext>
            </a:extLst>
          </p:cNvPr>
          <p:cNvSpPr>
            <a:spLocks noGrp="1"/>
          </p:cNvSpPr>
          <p:nvPr>
            <p:ph type="body" sz="quarter" idx="14"/>
          </p:nvPr>
        </p:nvSpPr>
        <p:spPr>
          <a:xfrm>
            <a:off x="1836897" y="1750080"/>
            <a:ext cx="9218612" cy="1032198"/>
          </a:xfrm>
          <a:prstGeom prst="rect">
            <a:avLst/>
          </a:prstGeom>
          <a:solidFill>
            <a:schemeClr val="accent2"/>
          </a:solidFill>
        </p:spPr>
        <p:txBody>
          <a:bodyPr/>
          <a:lstStyle/>
          <a:p>
            <a:pPr lvl="0"/>
            <a:r>
              <a:rPr lang="de-DE"/>
              <a:t>Mastertextformat bearbeiten</a:t>
            </a:r>
          </a:p>
          <a:p>
            <a:pPr lvl="1"/>
            <a:r>
              <a:rPr lang="de-DE"/>
              <a:t>Zweite Ebene</a:t>
            </a:r>
          </a:p>
          <a:p>
            <a:pPr lvl="2"/>
            <a:r>
              <a:rPr lang="de-DE"/>
              <a:t>Dritte Ebene</a:t>
            </a:r>
          </a:p>
          <a:p>
            <a:pPr lvl="3"/>
            <a:r>
              <a:rPr lang="de-DE"/>
              <a:t>Vierte Ebene</a:t>
            </a:r>
          </a:p>
        </p:txBody>
      </p:sp>
      <p:sp>
        <p:nvSpPr>
          <p:cNvPr id="20" name="Textplatzhalter 19">
            <a:extLst>
              <a:ext uri="{FF2B5EF4-FFF2-40B4-BE49-F238E27FC236}">
                <a16:creationId xmlns:a16="http://schemas.microsoft.com/office/drawing/2014/main" id="{D6CD1E8B-CF31-4C68-B6AD-F8CC88868D87}"/>
              </a:ext>
            </a:extLst>
          </p:cNvPr>
          <p:cNvSpPr>
            <a:spLocks noGrp="1"/>
          </p:cNvSpPr>
          <p:nvPr>
            <p:ph type="body" sz="quarter" idx="17" hasCustomPrompt="1"/>
          </p:nvPr>
        </p:nvSpPr>
        <p:spPr>
          <a:xfrm>
            <a:off x="330200" y="1749426"/>
            <a:ext cx="1389063" cy="1032198"/>
          </a:xfrm>
          <a:prstGeom prst="rect">
            <a:avLst/>
          </a:prstGeom>
          <a:solidFill>
            <a:schemeClr val="accent1"/>
          </a:solidFill>
        </p:spPr>
        <p:txBody>
          <a:bodyPr anchor="ctr"/>
          <a:lstStyle>
            <a:lvl1pPr marL="0" indent="0" algn="ctr">
              <a:buNone/>
              <a:defRPr sz="5400">
                <a:solidFill>
                  <a:schemeClr val="bg1"/>
                </a:solidFill>
                <a:latin typeface="M05 Headline Office Bold" panose="020B0804040000000001" pitchFamily="34" charset="0"/>
              </a:defRPr>
            </a:lvl1pPr>
          </a:lstStyle>
          <a:p>
            <a:pPr lvl="0"/>
            <a:r>
              <a:rPr lang="de-DE"/>
              <a:t>1</a:t>
            </a:r>
          </a:p>
        </p:txBody>
      </p:sp>
      <p:sp>
        <p:nvSpPr>
          <p:cNvPr id="14" name="Rechteck 13">
            <a:extLst>
              <a:ext uri="{FF2B5EF4-FFF2-40B4-BE49-F238E27FC236}">
                <a16:creationId xmlns:a16="http://schemas.microsoft.com/office/drawing/2014/main" id="{B2008ACC-3969-423B-8177-B1F6C449D387}"/>
              </a:ext>
            </a:extLst>
          </p:cNvPr>
          <p:cNvSpPr/>
          <p:nvPr userDrawn="1"/>
        </p:nvSpPr>
        <p:spPr>
          <a:xfrm>
            <a:off x="330360" y="2913510"/>
            <a:ext cx="1389184" cy="10311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bg1"/>
              </a:solidFill>
              <a:latin typeface="M05 Headline Office Bold" panose="020B0804040000000001" pitchFamily="34" charset="0"/>
            </a:endParaRPr>
          </a:p>
        </p:txBody>
      </p:sp>
      <p:sp>
        <p:nvSpPr>
          <p:cNvPr id="15" name="Textplatzhalter 10">
            <a:extLst>
              <a:ext uri="{FF2B5EF4-FFF2-40B4-BE49-F238E27FC236}">
                <a16:creationId xmlns:a16="http://schemas.microsoft.com/office/drawing/2014/main" id="{CFE4A59B-7C6F-47F0-B3DB-3CFE68681F87}"/>
              </a:ext>
            </a:extLst>
          </p:cNvPr>
          <p:cNvSpPr>
            <a:spLocks noGrp="1"/>
          </p:cNvSpPr>
          <p:nvPr>
            <p:ph type="body" sz="quarter" idx="18"/>
          </p:nvPr>
        </p:nvSpPr>
        <p:spPr>
          <a:xfrm>
            <a:off x="1836897" y="2912901"/>
            <a:ext cx="9218612" cy="1032198"/>
          </a:xfrm>
          <a:prstGeom prst="rect">
            <a:avLst/>
          </a:prstGeom>
          <a:solidFill>
            <a:schemeClr val="accent2"/>
          </a:solidFill>
        </p:spPr>
        <p:txBody>
          <a:bodyPr/>
          <a:lstStyle/>
          <a:p>
            <a:pPr lvl="0"/>
            <a:r>
              <a:rPr lang="de-DE"/>
              <a:t>Mastertextformat bearbeiten</a:t>
            </a:r>
          </a:p>
          <a:p>
            <a:pPr lvl="1"/>
            <a:r>
              <a:rPr lang="de-DE"/>
              <a:t>Zweite Ebene</a:t>
            </a:r>
          </a:p>
          <a:p>
            <a:pPr lvl="2"/>
            <a:r>
              <a:rPr lang="de-DE"/>
              <a:t>Dritte Ebene</a:t>
            </a:r>
          </a:p>
          <a:p>
            <a:pPr lvl="3"/>
            <a:r>
              <a:rPr lang="de-DE"/>
              <a:t>Vierte Ebene</a:t>
            </a:r>
          </a:p>
        </p:txBody>
      </p:sp>
      <p:sp>
        <p:nvSpPr>
          <p:cNvPr id="16" name="Textplatzhalter 19">
            <a:extLst>
              <a:ext uri="{FF2B5EF4-FFF2-40B4-BE49-F238E27FC236}">
                <a16:creationId xmlns:a16="http://schemas.microsoft.com/office/drawing/2014/main" id="{06E655AE-CEBB-4252-B162-101CA5D75886}"/>
              </a:ext>
            </a:extLst>
          </p:cNvPr>
          <p:cNvSpPr>
            <a:spLocks noGrp="1"/>
          </p:cNvSpPr>
          <p:nvPr>
            <p:ph type="body" sz="quarter" idx="19" hasCustomPrompt="1"/>
          </p:nvPr>
        </p:nvSpPr>
        <p:spPr>
          <a:xfrm>
            <a:off x="330200" y="2912247"/>
            <a:ext cx="1389063" cy="1032198"/>
          </a:xfrm>
          <a:prstGeom prst="rect">
            <a:avLst/>
          </a:prstGeom>
          <a:solidFill>
            <a:schemeClr val="accent1"/>
          </a:solidFill>
        </p:spPr>
        <p:txBody>
          <a:bodyPr anchor="ctr"/>
          <a:lstStyle>
            <a:lvl1pPr marL="0" indent="0" algn="ctr">
              <a:buNone/>
              <a:defRPr sz="5400">
                <a:solidFill>
                  <a:schemeClr val="bg1"/>
                </a:solidFill>
                <a:latin typeface="M05 Headline Office Bold" panose="020B0804040000000001" pitchFamily="34" charset="0"/>
              </a:defRPr>
            </a:lvl1pPr>
          </a:lstStyle>
          <a:p>
            <a:pPr lvl="0"/>
            <a:r>
              <a:rPr lang="de-DE"/>
              <a:t>2</a:t>
            </a:r>
          </a:p>
        </p:txBody>
      </p:sp>
      <p:sp>
        <p:nvSpPr>
          <p:cNvPr id="17" name="Rechteck 16">
            <a:extLst>
              <a:ext uri="{FF2B5EF4-FFF2-40B4-BE49-F238E27FC236}">
                <a16:creationId xmlns:a16="http://schemas.microsoft.com/office/drawing/2014/main" id="{B80F268E-9E17-4CCB-B559-630626D11575}"/>
              </a:ext>
            </a:extLst>
          </p:cNvPr>
          <p:cNvSpPr/>
          <p:nvPr userDrawn="1"/>
        </p:nvSpPr>
        <p:spPr>
          <a:xfrm>
            <a:off x="330360" y="4064208"/>
            <a:ext cx="1389184" cy="10311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bg1"/>
              </a:solidFill>
              <a:latin typeface="M05 Headline Office Bold" panose="020B0804040000000001" pitchFamily="34" charset="0"/>
            </a:endParaRPr>
          </a:p>
        </p:txBody>
      </p:sp>
      <p:sp>
        <p:nvSpPr>
          <p:cNvPr id="18" name="Textplatzhalter 10">
            <a:extLst>
              <a:ext uri="{FF2B5EF4-FFF2-40B4-BE49-F238E27FC236}">
                <a16:creationId xmlns:a16="http://schemas.microsoft.com/office/drawing/2014/main" id="{58F0FD5E-CE6C-41D9-A749-7CCDE434FF73}"/>
              </a:ext>
            </a:extLst>
          </p:cNvPr>
          <p:cNvSpPr>
            <a:spLocks noGrp="1"/>
          </p:cNvSpPr>
          <p:nvPr>
            <p:ph type="body" sz="quarter" idx="20"/>
          </p:nvPr>
        </p:nvSpPr>
        <p:spPr>
          <a:xfrm>
            <a:off x="1836897" y="4063599"/>
            <a:ext cx="9218612" cy="1032198"/>
          </a:xfrm>
          <a:prstGeom prst="rect">
            <a:avLst/>
          </a:prstGeom>
          <a:solidFill>
            <a:schemeClr val="accent2"/>
          </a:solidFill>
        </p:spPr>
        <p:txBody>
          <a:bodyPr/>
          <a:lstStyle/>
          <a:p>
            <a:pPr lvl="0"/>
            <a:r>
              <a:rPr lang="de-DE"/>
              <a:t>Mastertextformat bearbeiten</a:t>
            </a:r>
          </a:p>
          <a:p>
            <a:pPr lvl="1"/>
            <a:r>
              <a:rPr lang="de-DE"/>
              <a:t>Zweite Ebene</a:t>
            </a:r>
          </a:p>
          <a:p>
            <a:pPr lvl="2"/>
            <a:r>
              <a:rPr lang="de-DE"/>
              <a:t>Dritte Ebene</a:t>
            </a:r>
          </a:p>
          <a:p>
            <a:pPr lvl="3"/>
            <a:r>
              <a:rPr lang="de-DE"/>
              <a:t>Vierte Ebene</a:t>
            </a:r>
          </a:p>
        </p:txBody>
      </p:sp>
      <p:sp>
        <p:nvSpPr>
          <p:cNvPr id="19" name="Textplatzhalter 19">
            <a:extLst>
              <a:ext uri="{FF2B5EF4-FFF2-40B4-BE49-F238E27FC236}">
                <a16:creationId xmlns:a16="http://schemas.microsoft.com/office/drawing/2014/main" id="{72276B93-E613-426A-AB4F-FEE96C79F4E3}"/>
              </a:ext>
            </a:extLst>
          </p:cNvPr>
          <p:cNvSpPr>
            <a:spLocks noGrp="1"/>
          </p:cNvSpPr>
          <p:nvPr>
            <p:ph type="body" sz="quarter" idx="21" hasCustomPrompt="1"/>
          </p:nvPr>
        </p:nvSpPr>
        <p:spPr>
          <a:xfrm>
            <a:off x="330200" y="4062945"/>
            <a:ext cx="1389063" cy="1032198"/>
          </a:xfrm>
          <a:prstGeom prst="rect">
            <a:avLst/>
          </a:prstGeom>
          <a:solidFill>
            <a:schemeClr val="accent1"/>
          </a:solidFill>
        </p:spPr>
        <p:txBody>
          <a:bodyPr anchor="ctr"/>
          <a:lstStyle>
            <a:lvl1pPr marL="0" indent="0" algn="ctr">
              <a:buNone/>
              <a:defRPr sz="5400">
                <a:solidFill>
                  <a:schemeClr val="bg1"/>
                </a:solidFill>
                <a:latin typeface="M05 Headline Office Bold" panose="020B0804040000000001" pitchFamily="34" charset="0"/>
              </a:defRPr>
            </a:lvl1pPr>
          </a:lstStyle>
          <a:p>
            <a:pPr lvl="0"/>
            <a:r>
              <a:rPr lang="de-DE"/>
              <a:t>3</a:t>
            </a:r>
          </a:p>
        </p:txBody>
      </p:sp>
      <p:sp>
        <p:nvSpPr>
          <p:cNvPr id="21" name="Rechteck 20">
            <a:extLst>
              <a:ext uri="{FF2B5EF4-FFF2-40B4-BE49-F238E27FC236}">
                <a16:creationId xmlns:a16="http://schemas.microsoft.com/office/drawing/2014/main" id="{FF95FD0A-9C31-493E-9B5A-CA3F1B16C29F}"/>
              </a:ext>
            </a:extLst>
          </p:cNvPr>
          <p:cNvSpPr/>
          <p:nvPr userDrawn="1"/>
        </p:nvSpPr>
        <p:spPr>
          <a:xfrm>
            <a:off x="330360" y="5227029"/>
            <a:ext cx="1389184" cy="10311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bg1"/>
              </a:solidFill>
              <a:latin typeface="M05 Headline Office Bold" panose="020B0804040000000001" pitchFamily="34" charset="0"/>
            </a:endParaRPr>
          </a:p>
        </p:txBody>
      </p:sp>
      <p:sp>
        <p:nvSpPr>
          <p:cNvPr id="22" name="Textplatzhalter 10">
            <a:extLst>
              <a:ext uri="{FF2B5EF4-FFF2-40B4-BE49-F238E27FC236}">
                <a16:creationId xmlns:a16="http://schemas.microsoft.com/office/drawing/2014/main" id="{9AEE098C-C39C-4AE1-AAAA-DAB9072DB860}"/>
              </a:ext>
            </a:extLst>
          </p:cNvPr>
          <p:cNvSpPr>
            <a:spLocks noGrp="1"/>
          </p:cNvSpPr>
          <p:nvPr>
            <p:ph type="body" sz="quarter" idx="22"/>
          </p:nvPr>
        </p:nvSpPr>
        <p:spPr>
          <a:xfrm>
            <a:off x="1836897" y="5226420"/>
            <a:ext cx="9218612" cy="1032198"/>
          </a:xfrm>
          <a:prstGeom prst="rect">
            <a:avLst/>
          </a:prstGeom>
          <a:solidFill>
            <a:schemeClr val="accent2"/>
          </a:solidFill>
        </p:spPr>
        <p:txBody>
          <a:bodyPr/>
          <a:lstStyle/>
          <a:p>
            <a:pPr lvl="0"/>
            <a:r>
              <a:rPr lang="de-DE"/>
              <a:t>Mastertextformat bearbeiten</a:t>
            </a:r>
          </a:p>
          <a:p>
            <a:pPr lvl="1"/>
            <a:r>
              <a:rPr lang="de-DE"/>
              <a:t>Zweite Ebene</a:t>
            </a:r>
          </a:p>
          <a:p>
            <a:pPr lvl="2"/>
            <a:r>
              <a:rPr lang="de-DE"/>
              <a:t>Dritte Ebene</a:t>
            </a:r>
          </a:p>
          <a:p>
            <a:pPr lvl="3"/>
            <a:r>
              <a:rPr lang="de-DE"/>
              <a:t>Vierte Ebene</a:t>
            </a:r>
          </a:p>
        </p:txBody>
      </p:sp>
      <p:sp>
        <p:nvSpPr>
          <p:cNvPr id="29" name="Textplatzhalter 19">
            <a:extLst>
              <a:ext uri="{FF2B5EF4-FFF2-40B4-BE49-F238E27FC236}">
                <a16:creationId xmlns:a16="http://schemas.microsoft.com/office/drawing/2014/main" id="{1C98D8FC-3B4D-4E93-A5A7-BE1039796BC5}"/>
              </a:ext>
            </a:extLst>
          </p:cNvPr>
          <p:cNvSpPr>
            <a:spLocks noGrp="1"/>
          </p:cNvSpPr>
          <p:nvPr>
            <p:ph type="body" sz="quarter" idx="23" hasCustomPrompt="1"/>
          </p:nvPr>
        </p:nvSpPr>
        <p:spPr>
          <a:xfrm>
            <a:off x="330200" y="5225766"/>
            <a:ext cx="1389063" cy="1032198"/>
          </a:xfrm>
          <a:prstGeom prst="rect">
            <a:avLst/>
          </a:prstGeom>
          <a:solidFill>
            <a:schemeClr val="accent1"/>
          </a:solidFill>
        </p:spPr>
        <p:txBody>
          <a:bodyPr anchor="ctr"/>
          <a:lstStyle>
            <a:lvl1pPr marL="0" indent="0" algn="ctr">
              <a:buNone/>
              <a:defRPr sz="5400">
                <a:solidFill>
                  <a:schemeClr val="bg1"/>
                </a:solidFill>
                <a:latin typeface="M05 Headline Office Bold" panose="020B0804040000000001" pitchFamily="34" charset="0"/>
              </a:defRPr>
            </a:lvl1pPr>
          </a:lstStyle>
          <a:p>
            <a:pPr lvl="0"/>
            <a:r>
              <a:rPr lang="de-DE"/>
              <a:t>4</a:t>
            </a:r>
          </a:p>
        </p:txBody>
      </p:sp>
    </p:spTree>
    <p:extLst>
      <p:ext uri="{BB962C8B-B14F-4D97-AF65-F5344CB8AC3E}">
        <p14:creationId xmlns:p14="http://schemas.microsoft.com/office/powerpoint/2010/main" val="35578618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rojektsteckbrief, 4 Fe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5" name="Rechteck 8">
            <a:extLst>
              <a:ext uri="{FF2B5EF4-FFF2-40B4-BE49-F238E27FC236}">
                <a16:creationId xmlns:a16="http://schemas.microsoft.com/office/drawing/2014/main" id="{D35A3C2A-23D2-40DE-A0F1-63B913EB9C27}"/>
              </a:ext>
            </a:extLst>
          </p:cNvPr>
          <p:cNvSpPr/>
          <p:nvPr userDrawn="1">
            <p:custDataLst>
              <p:tags r:id="rId1"/>
            </p:custDataLst>
          </p:nvPr>
        </p:nvSpPr>
        <p:spPr bwMode="gray">
          <a:xfrm>
            <a:off x="344488" y="4117877"/>
            <a:ext cx="5360440" cy="2124000"/>
          </a:xfrm>
          <a:prstGeom prst="rect">
            <a:avLst/>
          </a:prstGeom>
          <a:solidFill>
            <a:schemeClr val="bg1">
              <a:alpha val="46000"/>
            </a:schemeClr>
          </a:solidFill>
          <a:ln w="9525" cap="rnd">
            <a:solidFill>
              <a:schemeClr val="accent5"/>
            </a:solidFill>
            <a:prstDash val="sysDot"/>
            <a:miter lim="800000"/>
            <a:headEnd/>
            <a:tailEnd/>
          </a:ln>
          <a:effectLst/>
        </p:spPr>
        <p:txBody>
          <a:bodyPr vert="horz" lIns="72000" tIns="216000" rIns="72000" bIns="72000" anchor="t">
            <a:noAutofit/>
          </a:bodyPr>
          <a:lstStyle/>
          <a:p>
            <a:pPr marL="228600" indent="-228600">
              <a:lnSpc>
                <a:spcPct val="90000"/>
              </a:lnSpc>
              <a:spcAft>
                <a:spcPts val="300"/>
              </a:spcAft>
              <a:buClr>
                <a:schemeClr val="bg2"/>
              </a:buClr>
              <a:buSzPct val="100000"/>
              <a:buFont typeface="M05 Text BETA" panose="020B0004040000000004" pitchFamily="34" charset="0"/>
              <a:buChar char="&gt;"/>
            </a:pPr>
            <a:endParaRPr lang="de-DE" sz="1050"/>
          </a:p>
        </p:txBody>
      </p:sp>
      <p:sp>
        <p:nvSpPr>
          <p:cNvPr id="6" name="Rechteck 8">
            <a:extLst>
              <a:ext uri="{FF2B5EF4-FFF2-40B4-BE49-F238E27FC236}">
                <a16:creationId xmlns:a16="http://schemas.microsoft.com/office/drawing/2014/main" id="{8C4CC86C-376A-49D5-AD83-BC008A3B8D0B}"/>
              </a:ext>
            </a:extLst>
          </p:cNvPr>
          <p:cNvSpPr/>
          <p:nvPr userDrawn="1">
            <p:custDataLst>
              <p:tags r:id="rId2"/>
            </p:custDataLst>
          </p:nvPr>
        </p:nvSpPr>
        <p:spPr bwMode="gray">
          <a:xfrm>
            <a:off x="337762" y="1569598"/>
            <a:ext cx="5360440" cy="2124000"/>
          </a:xfrm>
          <a:prstGeom prst="rect">
            <a:avLst/>
          </a:prstGeom>
          <a:solidFill>
            <a:schemeClr val="bg1">
              <a:alpha val="46000"/>
            </a:schemeClr>
          </a:solidFill>
          <a:ln w="9525" cap="rnd">
            <a:solidFill>
              <a:schemeClr val="accent5"/>
            </a:solidFill>
            <a:prstDash val="sysDot"/>
            <a:miter lim="800000"/>
            <a:headEnd/>
            <a:tailEnd/>
          </a:ln>
          <a:effectLst/>
        </p:spPr>
        <p:txBody>
          <a:bodyPr vert="horz" lIns="72000" tIns="216000" rIns="72000" bIns="72000" anchor="t">
            <a:noAutofit/>
          </a:bodyPr>
          <a:lstStyle/>
          <a:p>
            <a:pPr marL="228600" marR="0" lvl="0" indent="-228600" fontAlgn="auto">
              <a:lnSpc>
                <a:spcPct val="90000"/>
              </a:lnSpc>
              <a:spcAft>
                <a:spcPts val="300"/>
              </a:spcAft>
              <a:buClr>
                <a:schemeClr val="bg2"/>
              </a:buClr>
              <a:buSzPct val="100000"/>
              <a:buFont typeface="M05 Text BETA" panose="020B0004040000000004" pitchFamily="34" charset="0"/>
              <a:buChar char="&gt;"/>
              <a:tabLst/>
              <a:defRPr/>
            </a:pPr>
            <a:endParaRPr lang="de-DE" sz="1050"/>
          </a:p>
        </p:txBody>
      </p:sp>
      <p:cxnSp>
        <p:nvCxnSpPr>
          <p:cNvPr id="8" name="Gerader Verbinder 7">
            <a:extLst>
              <a:ext uri="{FF2B5EF4-FFF2-40B4-BE49-F238E27FC236}">
                <a16:creationId xmlns:a16="http://schemas.microsoft.com/office/drawing/2014/main" id="{7610EA75-3B27-4881-9C7B-F2963508B9C6}"/>
              </a:ext>
            </a:extLst>
          </p:cNvPr>
          <p:cNvCxnSpPr>
            <a:cxnSpLocks/>
          </p:cNvCxnSpPr>
          <p:nvPr userDrawn="1"/>
        </p:nvCxnSpPr>
        <p:spPr>
          <a:xfrm>
            <a:off x="344482" y="4117877"/>
            <a:ext cx="535372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Rechteck 8">
            <a:extLst>
              <a:ext uri="{FF2B5EF4-FFF2-40B4-BE49-F238E27FC236}">
                <a16:creationId xmlns:a16="http://schemas.microsoft.com/office/drawing/2014/main" id="{DB0A3742-4B21-461D-8A84-91433A5EFAE8}"/>
              </a:ext>
            </a:extLst>
          </p:cNvPr>
          <p:cNvSpPr/>
          <p:nvPr userDrawn="1">
            <p:custDataLst>
              <p:tags r:id="rId3"/>
            </p:custDataLst>
          </p:nvPr>
        </p:nvSpPr>
        <p:spPr bwMode="gray">
          <a:xfrm>
            <a:off x="5948655" y="4117877"/>
            <a:ext cx="5383673" cy="2123999"/>
          </a:xfrm>
          <a:prstGeom prst="rect">
            <a:avLst/>
          </a:prstGeom>
          <a:solidFill>
            <a:schemeClr val="bg1">
              <a:alpha val="46000"/>
            </a:schemeClr>
          </a:solidFill>
          <a:ln w="9525" cap="rnd">
            <a:solidFill>
              <a:schemeClr val="accent5"/>
            </a:solidFill>
            <a:prstDash val="sysDot"/>
            <a:miter lim="800000"/>
            <a:headEnd/>
            <a:tailEnd/>
          </a:ln>
          <a:effectLst/>
        </p:spPr>
        <p:txBody>
          <a:bodyPr vert="horz" lIns="72000" tIns="216000" rIns="72000" bIns="72000" anchor="t">
            <a:noAutofit/>
          </a:bodyPr>
          <a:lstStyle/>
          <a:p>
            <a:pPr marL="228600" indent="-228600">
              <a:lnSpc>
                <a:spcPct val="90000"/>
              </a:lnSpc>
              <a:spcAft>
                <a:spcPts val="300"/>
              </a:spcAft>
              <a:buClr>
                <a:schemeClr val="bg2"/>
              </a:buClr>
              <a:buSzPct val="100000"/>
              <a:buFont typeface="M05 Text BETA" panose="020B0004040000000004" pitchFamily="34" charset="0"/>
              <a:buChar char="&gt;"/>
            </a:pPr>
            <a:endParaRPr lang="de-DE" sz="1050"/>
          </a:p>
        </p:txBody>
      </p:sp>
      <p:cxnSp>
        <p:nvCxnSpPr>
          <p:cNvPr id="16" name="Gerader Verbinder 15">
            <a:extLst>
              <a:ext uri="{FF2B5EF4-FFF2-40B4-BE49-F238E27FC236}">
                <a16:creationId xmlns:a16="http://schemas.microsoft.com/office/drawing/2014/main" id="{5E4DF6D8-9CC5-44C4-ADD7-772ECD9E47E4}"/>
              </a:ext>
            </a:extLst>
          </p:cNvPr>
          <p:cNvCxnSpPr>
            <a:cxnSpLocks/>
          </p:cNvCxnSpPr>
          <p:nvPr userDrawn="1"/>
        </p:nvCxnSpPr>
        <p:spPr>
          <a:xfrm>
            <a:off x="5967838" y="1569598"/>
            <a:ext cx="532691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Rechteck 8">
            <a:extLst>
              <a:ext uri="{FF2B5EF4-FFF2-40B4-BE49-F238E27FC236}">
                <a16:creationId xmlns:a16="http://schemas.microsoft.com/office/drawing/2014/main" id="{F2DFFD09-2BDD-4143-9BEF-E9573289F1A0}"/>
              </a:ext>
            </a:extLst>
          </p:cNvPr>
          <p:cNvSpPr/>
          <p:nvPr userDrawn="1">
            <p:custDataLst>
              <p:tags r:id="rId4"/>
            </p:custDataLst>
          </p:nvPr>
        </p:nvSpPr>
        <p:spPr bwMode="gray">
          <a:xfrm>
            <a:off x="5967838" y="1569598"/>
            <a:ext cx="5360440" cy="2124000"/>
          </a:xfrm>
          <a:prstGeom prst="rect">
            <a:avLst/>
          </a:prstGeom>
          <a:solidFill>
            <a:schemeClr val="bg1">
              <a:alpha val="46000"/>
            </a:schemeClr>
          </a:solidFill>
          <a:ln w="9525" cap="rnd">
            <a:solidFill>
              <a:schemeClr val="accent5"/>
            </a:solidFill>
            <a:prstDash val="sysDot"/>
            <a:miter lim="800000"/>
            <a:headEnd/>
            <a:tailEnd/>
          </a:ln>
          <a:effectLst/>
        </p:spPr>
        <p:txBody>
          <a:bodyPr vert="horz" lIns="72000" tIns="216000" rIns="72000" bIns="72000" anchor="t">
            <a:noAutofit/>
          </a:bodyPr>
          <a:lstStyle/>
          <a:p>
            <a:pPr marL="228600" indent="-228600">
              <a:lnSpc>
                <a:spcPct val="90000"/>
              </a:lnSpc>
              <a:spcAft>
                <a:spcPts val="300"/>
              </a:spcAft>
              <a:buClr>
                <a:schemeClr val="bg2"/>
              </a:buClr>
              <a:buSzPct val="100000"/>
              <a:buFont typeface="M05 Text BETA" panose="020B0004040000000004" pitchFamily="34" charset="0"/>
              <a:buChar char="&gt;"/>
            </a:pPr>
            <a:endParaRPr lang="de-DE" sz="1050"/>
          </a:p>
        </p:txBody>
      </p:sp>
      <p:cxnSp>
        <p:nvCxnSpPr>
          <p:cNvPr id="19" name="Gerader Verbinder 18">
            <a:extLst>
              <a:ext uri="{FF2B5EF4-FFF2-40B4-BE49-F238E27FC236}">
                <a16:creationId xmlns:a16="http://schemas.microsoft.com/office/drawing/2014/main" id="{2F5157EC-3F2C-4B71-81F0-0A28817038DA}"/>
              </a:ext>
            </a:extLst>
          </p:cNvPr>
          <p:cNvCxnSpPr>
            <a:cxnSpLocks/>
          </p:cNvCxnSpPr>
          <p:nvPr userDrawn="1"/>
        </p:nvCxnSpPr>
        <p:spPr>
          <a:xfrm>
            <a:off x="5946028" y="4117877"/>
            <a:ext cx="5384843"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11DE6EBB-E96B-46DF-88F6-34EE778CB0BA}"/>
              </a:ext>
            </a:extLst>
          </p:cNvPr>
          <p:cNvCxnSpPr>
            <a:cxnSpLocks/>
          </p:cNvCxnSpPr>
          <p:nvPr userDrawn="1"/>
        </p:nvCxnSpPr>
        <p:spPr>
          <a:xfrm>
            <a:off x="337762" y="1567202"/>
            <a:ext cx="536400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0" name="Textplatzhalter 29">
            <a:extLst>
              <a:ext uri="{FF2B5EF4-FFF2-40B4-BE49-F238E27FC236}">
                <a16:creationId xmlns:a16="http://schemas.microsoft.com/office/drawing/2014/main" id="{31899B52-D8ED-4161-A497-CD093C7496B5}"/>
              </a:ext>
            </a:extLst>
          </p:cNvPr>
          <p:cNvSpPr>
            <a:spLocks noGrp="1"/>
          </p:cNvSpPr>
          <p:nvPr>
            <p:ph type="body" sz="quarter" idx="14"/>
          </p:nvPr>
        </p:nvSpPr>
        <p:spPr>
          <a:xfrm>
            <a:off x="337767" y="1776876"/>
            <a:ext cx="5372100" cy="1914833"/>
          </a:xfrm>
          <a:prstGeom prst="rect">
            <a:avLst/>
          </a:prstGeom>
        </p:spPr>
        <p:txBody>
          <a:bodyPr/>
          <a:lstStyle>
            <a:lvl1pPr>
              <a:defRPr sz="1400">
                <a:latin typeface="M05 Text Office" panose="020B0504040000000004" pitchFamily="34" charset="0"/>
              </a:defRPr>
            </a:lvl1pPr>
            <a:lvl2pPr>
              <a:defRPr sz="1200">
                <a:latin typeface="M05 Text Office" panose="020B0504040000000004" pitchFamily="34" charset="0"/>
              </a:defRPr>
            </a:lvl2pPr>
            <a:lvl3pPr>
              <a:defRPr sz="1100">
                <a:latin typeface="M05 Text Office" panose="020B0504040000000004" pitchFamily="34" charset="0"/>
              </a:defRPr>
            </a:lvl3pPr>
            <a:lvl4pPr>
              <a:defRPr sz="1050">
                <a:latin typeface="M05 Text Office" panose="020B0504040000000004" pitchFamily="34" charset="0"/>
              </a:defRPr>
            </a:lvl4pPr>
            <a:lvl5pPr>
              <a:defRPr sz="1050">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1" name="Textplatzhalter 29">
            <a:extLst>
              <a:ext uri="{FF2B5EF4-FFF2-40B4-BE49-F238E27FC236}">
                <a16:creationId xmlns:a16="http://schemas.microsoft.com/office/drawing/2014/main" id="{CF01BA8C-4816-44EB-8391-63DD588B8D47}"/>
              </a:ext>
            </a:extLst>
          </p:cNvPr>
          <p:cNvSpPr>
            <a:spLocks noGrp="1"/>
          </p:cNvSpPr>
          <p:nvPr>
            <p:ph type="body" sz="quarter" idx="15"/>
          </p:nvPr>
        </p:nvSpPr>
        <p:spPr>
          <a:xfrm>
            <a:off x="5975937" y="1786043"/>
            <a:ext cx="5352341" cy="1914833"/>
          </a:xfrm>
          <a:prstGeom prst="rect">
            <a:avLst/>
          </a:prstGeom>
        </p:spPr>
        <p:txBody>
          <a:bodyPr/>
          <a:lstStyle>
            <a:lvl1pPr>
              <a:defRPr sz="1400">
                <a:latin typeface="M05 Text Office" panose="020B0504040000000004" pitchFamily="34" charset="0"/>
              </a:defRPr>
            </a:lvl1pPr>
            <a:lvl2pPr>
              <a:defRPr sz="1200">
                <a:latin typeface="M05 Text Office" panose="020B0504040000000004" pitchFamily="34" charset="0"/>
              </a:defRPr>
            </a:lvl2pPr>
            <a:lvl3pPr>
              <a:defRPr sz="1100">
                <a:latin typeface="M05 Text Office" panose="020B0504040000000004" pitchFamily="34" charset="0"/>
              </a:defRPr>
            </a:lvl3pPr>
            <a:lvl4pPr>
              <a:defRPr sz="1050">
                <a:latin typeface="M05 Text Office" panose="020B0504040000000004" pitchFamily="34" charset="0"/>
              </a:defRPr>
            </a:lvl4pPr>
            <a:lvl5pPr>
              <a:defRPr sz="1050">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2" name="Textplatzhalter 29">
            <a:extLst>
              <a:ext uri="{FF2B5EF4-FFF2-40B4-BE49-F238E27FC236}">
                <a16:creationId xmlns:a16="http://schemas.microsoft.com/office/drawing/2014/main" id="{AEECD6E8-8EB6-42E9-BFE0-1B5BAE91E066}"/>
              </a:ext>
            </a:extLst>
          </p:cNvPr>
          <p:cNvSpPr>
            <a:spLocks noGrp="1"/>
          </p:cNvSpPr>
          <p:nvPr>
            <p:ph type="body" sz="quarter" idx="16"/>
          </p:nvPr>
        </p:nvSpPr>
        <p:spPr>
          <a:xfrm>
            <a:off x="344482" y="4301639"/>
            <a:ext cx="5357818" cy="1940235"/>
          </a:xfrm>
          <a:prstGeom prst="rect">
            <a:avLst/>
          </a:prstGeom>
        </p:spPr>
        <p:txBody>
          <a:bodyPr/>
          <a:lstStyle>
            <a:lvl1pPr>
              <a:defRPr sz="1400">
                <a:latin typeface="M05 Text Office" panose="020B0504040000000004" pitchFamily="34" charset="0"/>
              </a:defRPr>
            </a:lvl1pPr>
            <a:lvl2pPr>
              <a:defRPr sz="1200">
                <a:latin typeface="M05 Text Office" panose="020B0504040000000004" pitchFamily="34" charset="0"/>
              </a:defRPr>
            </a:lvl2pPr>
            <a:lvl3pPr>
              <a:defRPr sz="1100">
                <a:latin typeface="M05 Text Office" panose="020B0504040000000004" pitchFamily="34" charset="0"/>
              </a:defRPr>
            </a:lvl3pPr>
            <a:lvl4pPr>
              <a:defRPr sz="1050">
                <a:latin typeface="M05 Text Office" panose="020B0504040000000004" pitchFamily="34" charset="0"/>
              </a:defRPr>
            </a:lvl4pPr>
            <a:lvl5pPr>
              <a:defRPr sz="1050">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3" name="Textplatzhalter 29">
            <a:extLst>
              <a:ext uri="{FF2B5EF4-FFF2-40B4-BE49-F238E27FC236}">
                <a16:creationId xmlns:a16="http://schemas.microsoft.com/office/drawing/2014/main" id="{97A2E54F-30C8-4A44-B97E-F3F056C79657}"/>
              </a:ext>
            </a:extLst>
          </p:cNvPr>
          <p:cNvSpPr>
            <a:spLocks noGrp="1"/>
          </p:cNvSpPr>
          <p:nvPr>
            <p:ph type="body" sz="quarter" idx="17"/>
          </p:nvPr>
        </p:nvSpPr>
        <p:spPr>
          <a:xfrm>
            <a:off x="5946028" y="4314339"/>
            <a:ext cx="5382250" cy="1934814"/>
          </a:xfrm>
          <a:prstGeom prst="rect">
            <a:avLst/>
          </a:prstGeom>
        </p:spPr>
        <p:txBody>
          <a:bodyPr/>
          <a:lstStyle>
            <a:lvl1pPr>
              <a:defRPr sz="1400">
                <a:latin typeface="M05 Text Office" panose="020B0504040000000004" pitchFamily="34" charset="0"/>
              </a:defRPr>
            </a:lvl1pPr>
            <a:lvl2pPr>
              <a:defRPr sz="1200">
                <a:latin typeface="M05 Text Office" panose="020B0504040000000004" pitchFamily="34" charset="0"/>
              </a:defRPr>
            </a:lvl2pPr>
            <a:lvl3pPr>
              <a:defRPr sz="1100">
                <a:latin typeface="M05 Text Office" panose="020B0504040000000004" pitchFamily="34" charset="0"/>
              </a:defRPr>
            </a:lvl3pPr>
            <a:lvl4pPr>
              <a:defRPr sz="1050">
                <a:latin typeface="M05 Text Office" panose="020B0504040000000004" pitchFamily="34" charset="0"/>
              </a:defRPr>
            </a:lvl4pPr>
            <a:lvl5pPr>
              <a:defRPr sz="1050">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4" name="Bildplatzhalter 33">
            <a:extLst>
              <a:ext uri="{FF2B5EF4-FFF2-40B4-BE49-F238E27FC236}">
                <a16:creationId xmlns:a16="http://schemas.microsoft.com/office/drawing/2014/main" id="{CFADD388-496E-476C-ACDD-78329DF42386}"/>
              </a:ext>
            </a:extLst>
          </p:cNvPr>
          <p:cNvSpPr>
            <a:spLocks noGrp="1"/>
          </p:cNvSpPr>
          <p:nvPr>
            <p:ph type="pic" sz="quarter" idx="18" hasCustomPrompt="1"/>
          </p:nvPr>
        </p:nvSpPr>
        <p:spPr>
          <a:xfrm>
            <a:off x="379118" y="1351151"/>
            <a:ext cx="411721" cy="406636"/>
          </a:xfrm>
          <a:prstGeom prst="ellipse">
            <a:avLst/>
          </a:prstGeom>
          <a:solidFill>
            <a:schemeClr val="accent2"/>
          </a:solidFill>
        </p:spPr>
        <p:txBody>
          <a:bodyPr/>
          <a:lstStyle>
            <a:lvl1pPr marL="0" indent="0">
              <a:buNone/>
              <a:defRPr/>
            </a:lvl1pPr>
          </a:lstStyle>
          <a:p>
            <a:r>
              <a:rPr lang="de-DE"/>
              <a:t> </a:t>
            </a:r>
          </a:p>
        </p:txBody>
      </p:sp>
      <p:sp>
        <p:nvSpPr>
          <p:cNvPr id="36" name="Textplatzhalter 35">
            <a:extLst>
              <a:ext uri="{FF2B5EF4-FFF2-40B4-BE49-F238E27FC236}">
                <a16:creationId xmlns:a16="http://schemas.microsoft.com/office/drawing/2014/main" id="{ADB8432D-487A-4983-B6A4-31A82B98B197}"/>
              </a:ext>
            </a:extLst>
          </p:cNvPr>
          <p:cNvSpPr>
            <a:spLocks noGrp="1"/>
          </p:cNvSpPr>
          <p:nvPr>
            <p:ph type="body" sz="quarter" idx="19" hasCustomPrompt="1"/>
          </p:nvPr>
        </p:nvSpPr>
        <p:spPr>
          <a:xfrm>
            <a:off x="871290" y="1358970"/>
            <a:ext cx="1279968" cy="227366"/>
          </a:xfrm>
          <a:prstGeom prst="rect">
            <a:avLst/>
          </a:prstGeom>
        </p:spPr>
        <p:txBody>
          <a:bodyPr/>
          <a:lstStyle>
            <a:lvl1pPr marL="0" indent="0">
              <a:buNone/>
              <a:defRPr sz="1200">
                <a:latin typeface="M05 Text Office Bold" panose="020B0804040000000004" pitchFamily="34" charset="0"/>
              </a:defRPr>
            </a:lvl1pPr>
          </a:lstStyle>
          <a:p>
            <a:pPr lvl="0"/>
            <a:r>
              <a:rPr lang="de-DE"/>
              <a:t>Überschrift</a:t>
            </a:r>
          </a:p>
        </p:txBody>
      </p:sp>
      <p:sp>
        <p:nvSpPr>
          <p:cNvPr id="39" name="Bildplatzhalter 33">
            <a:extLst>
              <a:ext uri="{FF2B5EF4-FFF2-40B4-BE49-F238E27FC236}">
                <a16:creationId xmlns:a16="http://schemas.microsoft.com/office/drawing/2014/main" id="{B91E653B-87D9-429D-9035-9279AFF4D461}"/>
              </a:ext>
            </a:extLst>
          </p:cNvPr>
          <p:cNvSpPr>
            <a:spLocks noGrp="1"/>
          </p:cNvSpPr>
          <p:nvPr>
            <p:ph type="pic" sz="quarter" idx="20" hasCustomPrompt="1"/>
          </p:nvPr>
        </p:nvSpPr>
        <p:spPr>
          <a:xfrm>
            <a:off x="6037417" y="1351151"/>
            <a:ext cx="411721" cy="406636"/>
          </a:xfrm>
          <a:prstGeom prst="ellipse">
            <a:avLst/>
          </a:prstGeom>
          <a:solidFill>
            <a:schemeClr val="accent2"/>
          </a:solidFill>
        </p:spPr>
        <p:txBody>
          <a:bodyPr/>
          <a:lstStyle>
            <a:lvl1pPr marL="0" indent="0">
              <a:buNone/>
              <a:defRPr/>
            </a:lvl1pPr>
          </a:lstStyle>
          <a:p>
            <a:r>
              <a:rPr lang="de-DE"/>
              <a:t> </a:t>
            </a:r>
          </a:p>
        </p:txBody>
      </p:sp>
      <p:sp>
        <p:nvSpPr>
          <p:cNvPr id="40" name="Textplatzhalter 35">
            <a:extLst>
              <a:ext uri="{FF2B5EF4-FFF2-40B4-BE49-F238E27FC236}">
                <a16:creationId xmlns:a16="http://schemas.microsoft.com/office/drawing/2014/main" id="{7E6F7D11-6367-42C2-B9EC-E133EBA8DB8C}"/>
              </a:ext>
            </a:extLst>
          </p:cNvPr>
          <p:cNvSpPr>
            <a:spLocks noGrp="1"/>
          </p:cNvSpPr>
          <p:nvPr>
            <p:ph type="body" sz="quarter" idx="21" hasCustomPrompt="1"/>
          </p:nvPr>
        </p:nvSpPr>
        <p:spPr>
          <a:xfrm>
            <a:off x="6529589" y="1358970"/>
            <a:ext cx="1279968" cy="227366"/>
          </a:xfrm>
          <a:prstGeom prst="rect">
            <a:avLst/>
          </a:prstGeom>
        </p:spPr>
        <p:txBody>
          <a:bodyPr/>
          <a:lstStyle>
            <a:lvl1pPr marL="0" indent="0">
              <a:buNone/>
              <a:defRPr sz="1200">
                <a:latin typeface="M05 Text Office Bold" panose="020B0804040000000004" pitchFamily="34" charset="0"/>
              </a:defRPr>
            </a:lvl1pPr>
          </a:lstStyle>
          <a:p>
            <a:pPr lvl="0"/>
            <a:r>
              <a:rPr lang="de-DE"/>
              <a:t>Überschrift</a:t>
            </a:r>
          </a:p>
        </p:txBody>
      </p:sp>
      <p:sp>
        <p:nvSpPr>
          <p:cNvPr id="41" name="Bildplatzhalter 33">
            <a:extLst>
              <a:ext uri="{FF2B5EF4-FFF2-40B4-BE49-F238E27FC236}">
                <a16:creationId xmlns:a16="http://schemas.microsoft.com/office/drawing/2014/main" id="{1C34C7EE-63FE-4491-92E6-1C8A55E3FC0A}"/>
              </a:ext>
            </a:extLst>
          </p:cNvPr>
          <p:cNvSpPr>
            <a:spLocks noGrp="1"/>
          </p:cNvSpPr>
          <p:nvPr>
            <p:ph type="pic" sz="quarter" idx="22" hasCustomPrompt="1"/>
          </p:nvPr>
        </p:nvSpPr>
        <p:spPr>
          <a:xfrm>
            <a:off x="399136" y="3875470"/>
            <a:ext cx="411721" cy="406636"/>
          </a:xfrm>
          <a:prstGeom prst="ellipse">
            <a:avLst/>
          </a:prstGeom>
          <a:solidFill>
            <a:schemeClr val="accent2"/>
          </a:solidFill>
        </p:spPr>
        <p:txBody>
          <a:bodyPr/>
          <a:lstStyle>
            <a:lvl1pPr marL="0" indent="0">
              <a:buNone/>
              <a:defRPr/>
            </a:lvl1pPr>
          </a:lstStyle>
          <a:p>
            <a:r>
              <a:rPr lang="de-DE"/>
              <a:t> </a:t>
            </a:r>
          </a:p>
        </p:txBody>
      </p:sp>
      <p:sp>
        <p:nvSpPr>
          <p:cNvPr id="42" name="Textplatzhalter 35">
            <a:extLst>
              <a:ext uri="{FF2B5EF4-FFF2-40B4-BE49-F238E27FC236}">
                <a16:creationId xmlns:a16="http://schemas.microsoft.com/office/drawing/2014/main" id="{ECDB71FE-A1A2-47D2-9428-53A7FBB4BBF3}"/>
              </a:ext>
            </a:extLst>
          </p:cNvPr>
          <p:cNvSpPr>
            <a:spLocks noGrp="1"/>
          </p:cNvSpPr>
          <p:nvPr>
            <p:ph type="body" sz="quarter" idx="23" hasCustomPrompt="1"/>
          </p:nvPr>
        </p:nvSpPr>
        <p:spPr>
          <a:xfrm>
            <a:off x="891308" y="3883289"/>
            <a:ext cx="1279968" cy="227366"/>
          </a:xfrm>
          <a:prstGeom prst="rect">
            <a:avLst/>
          </a:prstGeom>
        </p:spPr>
        <p:txBody>
          <a:bodyPr/>
          <a:lstStyle>
            <a:lvl1pPr marL="0" indent="0">
              <a:buNone/>
              <a:defRPr sz="1200">
                <a:latin typeface="M05 Text Office Bold" panose="020B0804040000000004" pitchFamily="34" charset="0"/>
              </a:defRPr>
            </a:lvl1pPr>
          </a:lstStyle>
          <a:p>
            <a:pPr lvl="0"/>
            <a:r>
              <a:rPr lang="de-DE"/>
              <a:t>Überschrift</a:t>
            </a:r>
          </a:p>
        </p:txBody>
      </p:sp>
      <p:sp>
        <p:nvSpPr>
          <p:cNvPr id="43" name="Bildplatzhalter 33">
            <a:extLst>
              <a:ext uri="{FF2B5EF4-FFF2-40B4-BE49-F238E27FC236}">
                <a16:creationId xmlns:a16="http://schemas.microsoft.com/office/drawing/2014/main" id="{79ECAB6E-68CF-4DB1-8509-4CF7148ED38E}"/>
              </a:ext>
            </a:extLst>
          </p:cNvPr>
          <p:cNvSpPr>
            <a:spLocks noGrp="1"/>
          </p:cNvSpPr>
          <p:nvPr>
            <p:ph type="pic" sz="quarter" idx="24" hasCustomPrompt="1"/>
          </p:nvPr>
        </p:nvSpPr>
        <p:spPr>
          <a:xfrm>
            <a:off x="6037417" y="3875470"/>
            <a:ext cx="411721" cy="406636"/>
          </a:xfrm>
          <a:prstGeom prst="ellipse">
            <a:avLst/>
          </a:prstGeom>
          <a:solidFill>
            <a:schemeClr val="accent2"/>
          </a:solidFill>
        </p:spPr>
        <p:txBody>
          <a:bodyPr/>
          <a:lstStyle>
            <a:lvl1pPr marL="0" indent="0">
              <a:buNone/>
              <a:defRPr/>
            </a:lvl1pPr>
          </a:lstStyle>
          <a:p>
            <a:r>
              <a:rPr lang="de-DE"/>
              <a:t> </a:t>
            </a:r>
          </a:p>
        </p:txBody>
      </p:sp>
      <p:sp>
        <p:nvSpPr>
          <p:cNvPr id="44" name="Textplatzhalter 35">
            <a:extLst>
              <a:ext uri="{FF2B5EF4-FFF2-40B4-BE49-F238E27FC236}">
                <a16:creationId xmlns:a16="http://schemas.microsoft.com/office/drawing/2014/main" id="{8180BA17-6949-4023-AA92-5A020795DBB1}"/>
              </a:ext>
            </a:extLst>
          </p:cNvPr>
          <p:cNvSpPr>
            <a:spLocks noGrp="1"/>
          </p:cNvSpPr>
          <p:nvPr>
            <p:ph type="body" sz="quarter" idx="25" hasCustomPrompt="1"/>
          </p:nvPr>
        </p:nvSpPr>
        <p:spPr>
          <a:xfrm>
            <a:off x="6529589" y="3883289"/>
            <a:ext cx="1279968" cy="227366"/>
          </a:xfrm>
          <a:prstGeom prst="rect">
            <a:avLst/>
          </a:prstGeom>
        </p:spPr>
        <p:txBody>
          <a:bodyPr/>
          <a:lstStyle>
            <a:lvl1pPr marL="0" indent="0">
              <a:buNone/>
              <a:defRPr sz="1200">
                <a:latin typeface="M05 Text Office Bold" panose="020B0804040000000004" pitchFamily="34" charset="0"/>
              </a:defRPr>
            </a:lvl1pPr>
          </a:lstStyle>
          <a:p>
            <a:pPr lvl="0"/>
            <a:r>
              <a:rPr lang="de-DE"/>
              <a:t>Überschrift</a:t>
            </a:r>
          </a:p>
        </p:txBody>
      </p:sp>
    </p:spTree>
    <p:extLst>
      <p:ext uri="{BB962C8B-B14F-4D97-AF65-F5344CB8AC3E}">
        <p14:creationId xmlns:p14="http://schemas.microsoft.com/office/powerpoint/2010/main" val="666588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ojektsteckbrief, 2 Felder mit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5" name="Rechteck 8">
            <a:extLst>
              <a:ext uri="{FF2B5EF4-FFF2-40B4-BE49-F238E27FC236}">
                <a16:creationId xmlns:a16="http://schemas.microsoft.com/office/drawing/2014/main" id="{D35A3C2A-23D2-40DE-A0F1-63B913EB9C27}"/>
              </a:ext>
            </a:extLst>
          </p:cNvPr>
          <p:cNvSpPr/>
          <p:nvPr userDrawn="1">
            <p:custDataLst>
              <p:tags r:id="rId1"/>
            </p:custDataLst>
          </p:nvPr>
        </p:nvSpPr>
        <p:spPr bwMode="gray">
          <a:xfrm>
            <a:off x="344488" y="4117877"/>
            <a:ext cx="5360440" cy="2124000"/>
          </a:xfrm>
          <a:prstGeom prst="rect">
            <a:avLst/>
          </a:prstGeom>
          <a:solidFill>
            <a:schemeClr val="bg1">
              <a:alpha val="46000"/>
            </a:schemeClr>
          </a:solidFill>
          <a:ln w="9525" cap="rnd">
            <a:solidFill>
              <a:schemeClr val="accent5"/>
            </a:solidFill>
            <a:prstDash val="sysDot"/>
            <a:miter lim="800000"/>
            <a:headEnd/>
            <a:tailEnd/>
          </a:ln>
          <a:effectLst/>
        </p:spPr>
        <p:txBody>
          <a:bodyPr vert="horz" lIns="72000" tIns="216000" rIns="72000" bIns="72000" anchor="t">
            <a:noAutofit/>
          </a:bodyPr>
          <a:lstStyle/>
          <a:p>
            <a:pPr marL="228600" indent="-228600">
              <a:lnSpc>
                <a:spcPct val="90000"/>
              </a:lnSpc>
              <a:spcAft>
                <a:spcPts val="300"/>
              </a:spcAft>
              <a:buClr>
                <a:schemeClr val="bg2"/>
              </a:buClr>
              <a:buSzPct val="100000"/>
              <a:buFont typeface="M05 Text BETA" panose="020B0004040000000004" pitchFamily="34" charset="0"/>
              <a:buChar char="&gt;"/>
            </a:pPr>
            <a:endParaRPr lang="de-DE" sz="1050"/>
          </a:p>
        </p:txBody>
      </p:sp>
      <p:sp>
        <p:nvSpPr>
          <p:cNvPr id="6" name="Rechteck 8">
            <a:extLst>
              <a:ext uri="{FF2B5EF4-FFF2-40B4-BE49-F238E27FC236}">
                <a16:creationId xmlns:a16="http://schemas.microsoft.com/office/drawing/2014/main" id="{8C4CC86C-376A-49D5-AD83-BC008A3B8D0B}"/>
              </a:ext>
            </a:extLst>
          </p:cNvPr>
          <p:cNvSpPr/>
          <p:nvPr userDrawn="1">
            <p:custDataLst>
              <p:tags r:id="rId2"/>
            </p:custDataLst>
          </p:nvPr>
        </p:nvSpPr>
        <p:spPr bwMode="gray">
          <a:xfrm>
            <a:off x="337762" y="1569598"/>
            <a:ext cx="5360440" cy="2124000"/>
          </a:xfrm>
          <a:prstGeom prst="rect">
            <a:avLst/>
          </a:prstGeom>
          <a:solidFill>
            <a:schemeClr val="bg1">
              <a:alpha val="46000"/>
            </a:schemeClr>
          </a:solidFill>
          <a:ln w="9525" cap="rnd">
            <a:solidFill>
              <a:schemeClr val="accent5"/>
            </a:solidFill>
            <a:prstDash val="sysDot"/>
            <a:miter lim="800000"/>
            <a:headEnd/>
            <a:tailEnd/>
          </a:ln>
          <a:effectLst/>
        </p:spPr>
        <p:txBody>
          <a:bodyPr vert="horz" lIns="72000" tIns="216000" rIns="72000" bIns="72000" anchor="t">
            <a:noAutofit/>
          </a:bodyPr>
          <a:lstStyle/>
          <a:p>
            <a:pPr marL="228600" marR="0" lvl="0" indent="-228600" fontAlgn="auto">
              <a:lnSpc>
                <a:spcPct val="90000"/>
              </a:lnSpc>
              <a:spcAft>
                <a:spcPts val="300"/>
              </a:spcAft>
              <a:buClr>
                <a:schemeClr val="bg2"/>
              </a:buClr>
              <a:buSzPct val="100000"/>
              <a:buFont typeface="M05 Text BETA" panose="020B0004040000000004" pitchFamily="34" charset="0"/>
              <a:buChar char="&gt;"/>
              <a:tabLst/>
              <a:defRPr/>
            </a:pPr>
            <a:endParaRPr lang="de-DE" sz="1050"/>
          </a:p>
        </p:txBody>
      </p:sp>
      <p:cxnSp>
        <p:nvCxnSpPr>
          <p:cNvPr id="8" name="Gerader Verbinder 7">
            <a:extLst>
              <a:ext uri="{FF2B5EF4-FFF2-40B4-BE49-F238E27FC236}">
                <a16:creationId xmlns:a16="http://schemas.microsoft.com/office/drawing/2014/main" id="{7610EA75-3B27-4881-9C7B-F2963508B9C6}"/>
              </a:ext>
            </a:extLst>
          </p:cNvPr>
          <p:cNvCxnSpPr>
            <a:cxnSpLocks/>
          </p:cNvCxnSpPr>
          <p:nvPr userDrawn="1"/>
        </p:nvCxnSpPr>
        <p:spPr>
          <a:xfrm>
            <a:off x="344482" y="4117877"/>
            <a:ext cx="537557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11DE6EBB-E96B-46DF-88F6-34EE778CB0BA}"/>
              </a:ext>
            </a:extLst>
          </p:cNvPr>
          <p:cNvCxnSpPr>
            <a:cxnSpLocks/>
          </p:cNvCxnSpPr>
          <p:nvPr userDrawn="1"/>
        </p:nvCxnSpPr>
        <p:spPr>
          <a:xfrm>
            <a:off x="337762" y="1567202"/>
            <a:ext cx="536400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0" name="Textplatzhalter 29">
            <a:extLst>
              <a:ext uri="{FF2B5EF4-FFF2-40B4-BE49-F238E27FC236}">
                <a16:creationId xmlns:a16="http://schemas.microsoft.com/office/drawing/2014/main" id="{31899B52-D8ED-4161-A497-CD093C7496B5}"/>
              </a:ext>
            </a:extLst>
          </p:cNvPr>
          <p:cNvSpPr>
            <a:spLocks noGrp="1"/>
          </p:cNvSpPr>
          <p:nvPr>
            <p:ph type="body" sz="quarter" idx="14"/>
          </p:nvPr>
        </p:nvSpPr>
        <p:spPr>
          <a:xfrm>
            <a:off x="337767" y="1776876"/>
            <a:ext cx="5372100" cy="1914833"/>
          </a:xfrm>
          <a:prstGeom prst="rect">
            <a:avLst/>
          </a:prstGeom>
        </p:spPr>
        <p:txBody>
          <a:bodyPr/>
          <a:lstStyle>
            <a:lvl1pPr>
              <a:defRPr sz="1400">
                <a:latin typeface="M05 Text Office" panose="020B0504040000000004" pitchFamily="34" charset="0"/>
              </a:defRPr>
            </a:lvl1pPr>
            <a:lvl2pPr>
              <a:defRPr sz="1200">
                <a:latin typeface="M05 Text Office" panose="020B0504040000000004" pitchFamily="34" charset="0"/>
              </a:defRPr>
            </a:lvl2pPr>
            <a:lvl3pPr>
              <a:defRPr sz="1100">
                <a:latin typeface="M05 Text Office" panose="020B0504040000000004" pitchFamily="34" charset="0"/>
              </a:defRPr>
            </a:lvl3pPr>
            <a:lvl4pPr>
              <a:defRPr sz="1050">
                <a:latin typeface="M05 Text Office" panose="020B0504040000000004" pitchFamily="34" charset="0"/>
              </a:defRPr>
            </a:lvl4pPr>
            <a:lvl5pPr>
              <a:defRPr sz="1050">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2" name="Textplatzhalter 29">
            <a:extLst>
              <a:ext uri="{FF2B5EF4-FFF2-40B4-BE49-F238E27FC236}">
                <a16:creationId xmlns:a16="http://schemas.microsoft.com/office/drawing/2014/main" id="{AEECD6E8-8EB6-42E9-BFE0-1B5BAE91E066}"/>
              </a:ext>
            </a:extLst>
          </p:cNvPr>
          <p:cNvSpPr>
            <a:spLocks noGrp="1"/>
          </p:cNvSpPr>
          <p:nvPr>
            <p:ph type="body" sz="quarter" idx="16"/>
          </p:nvPr>
        </p:nvSpPr>
        <p:spPr>
          <a:xfrm>
            <a:off x="344482" y="4301639"/>
            <a:ext cx="5357818" cy="1940235"/>
          </a:xfrm>
          <a:prstGeom prst="rect">
            <a:avLst/>
          </a:prstGeom>
        </p:spPr>
        <p:txBody>
          <a:bodyPr/>
          <a:lstStyle>
            <a:lvl1pPr>
              <a:defRPr sz="1400">
                <a:latin typeface="M05 Text Office" panose="020B0504040000000004" pitchFamily="34" charset="0"/>
              </a:defRPr>
            </a:lvl1pPr>
            <a:lvl2pPr>
              <a:defRPr sz="1200">
                <a:latin typeface="M05 Text Office" panose="020B0504040000000004" pitchFamily="34" charset="0"/>
              </a:defRPr>
            </a:lvl2pPr>
            <a:lvl3pPr>
              <a:defRPr sz="1100">
                <a:latin typeface="M05 Text Office" panose="020B0504040000000004" pitchFamily="34" charset="0"/>
              </a:defRPr>
            </a:lvl3pPr>
            <a:lvl4pPr>
              <a:defRPr sz="1050">
                <a:latin typeface="M05 Text Office" panose="020B0504040000000004" pitchFamily="34" charset="0"/>
              </a:defRPr>
            </a:lvl4pPr>
            <a:lvl5pPr>
              <a:defRPr sz="1050">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4" name="Bildplatzhalter 33">
            <a:extLst>
              <a:ext uri="{FF2B5EF4-FFF2-40B4-BE49-F238E27FC236}">
                <a16:creationId xmlns:a16="http://schemas.microsoft.com/office/drawing/2014/main" id="{CFADD388-496E-476C-ACDD-78329DF42386}"/>
              </a:ext>
            </a:extLst>
          </p:cNvPr>
          <p:cNvSpPr>
            <a:spLocks noGrp="1"/>
          </p:cNvSpPr>
          <p:nvPr>
            <p:ph type="pic" sz="quarter" idx="18" hasCustomPrompt="1"/>
          </p:nvPr>
        </p:nvSpPr>
        <p:spPr>
          <a:xfrm>
            <a:off x="379118" y="1351151"/>
            <a:ext cx="411721" cy="406636"/>
          </a:xfrm>
          <a:prstGeom prst="ellipse">
            <a:avLst/>
          </a:prstGeom>
          <a:solidFill>
            <a:schemeClr val="accent2"/>
          </a:solidFill>
        </p:spPr>
        <p:txBody>
          <a:bodyPr/>
          <a:lstStyle>
            <a:lvl1pPr marL="0" indent="0">
              <a:buNone/>
              <a:defRPr/>
            </a:lvl1pPr>
          </a:lstStyle>
          <a:p>
            <a:r>
              <a:rPr lang="de-DE"/>
              <a:t> </a:t>
            </a:r>
          </a:p>
        </p:txBody>
      </p:sp>
      <p:sp>
        <p:nvSpPr>
          <p:cNvPr id="36" name="Textplatzhalter 35">
            <a:extLst>
              <a:ext uri="{FF2B5EF4-FFF2-40B4-BE49-F238E27FC236}">
                <a16:creationId xmlns:a16="http://schemas.microsoft.com/office/drawing/2014/main" id="{ADB8432D-487A-4983-B6A4-31A82B98B197}"/>
              </a:ext>
            </a:extLst>
          </p:cNvPr>
          <p:cNvSpPr>
            <a:spLocks noGrp="1"/>
          </p:cNvSpPr>
          <p:nvPr>
            <p:ph type="body" sz="quarter" idx="19" hasCustomPrompt="1"/>
          </p:nvPr>
        </p:nvSpPr>
        <p:spPr>
          <a:xfrm>
            <a:off x="871290" y="1358970"/>
            <a:ext cx="1279968" cy="227366"/>
          </a:xfrm>
          <a:prstGeom prst="rect">
            <a:avLst/>
          </a:prstGeom>
        </p:spPr>
        <p:txBody>
          <a:bodyPr/>
          <a:lstStyle>
            <a:lvl1pPr marL="0" indent="0">
              <a:buNone/>
              <a:defRPr sz="1200">
                <a:latin typeface="M05 Text Office Bold" panose="020B0804040000000004" pitchFamily="34" charset="0"/>
              </a:defRPr>
            </a:lvl1pPr>
          </a:lstStyle>
          <a:p>
            <a:pPr lvl="0"/>
            <a:r>
              <a:rPr lang="de-DE"/>
              <a:t>Überschrift</a:t>
            </a:r>
          </a:p>
        </p:txBody>
      </p:sp>
      <p:sp>
        <p:nvSpPr>
          <p:cNvPr id="41" name="Bildplatzhalter 33">
            <a:extLst>
              <a:ext uri="{FF2B5EF4-FFF2-40B4-BE49-F238E27FC236}">
                <a16:creationId xmlns:a16="http://schemas.microsoft.com/office/drawing/2014/main" id="{1C34C7EE-63FE-4491-92E6-1C8A55E3FC0A}"/>
              </a:ext>
            </a:extLst>
          </p:cNvPr>
          <p:cNvSpPr>
            <a:spLocks noGrp="1"/>
          </p:cNvSpPr>
          <p:nvPr>
            <p:ph type="pic" sz="quarter" idx="22" hasCustomPrompt="1"/>
          </p:nvPr>
        </p:nvSpPr>
        <p:spPr>
          <a:xfrm>
            <a:off x="399136" y="3875470"/>
            <a:ext cx="411721" cy="406636"/>
          </a:xfrm>
          <a:prstGeom prst="ellipse">
            <a:avLst/>
          </a:prstGeom>
          <a:solidFill>
            <a:schemeClr val="accent2"/>
          </a:solidFill>
        </p:spPr>
        <p:txBody>
          <a:bodyPr/>
          <a:lstStyle>
            <a:lvl1pPr marL="0" indent="0">
              <a:buNone/>
              <a:defRPr/>
            </a:lvl1pPr>
          </a:lstStyle>
          <a:p>
            <a:r>
              <a:rPr lang="de-DE"/>
              <a:t> </a:t>
            </a:r>
          </a:p>
        </p:txBody>
      </p:sp>
      <p:sp>
        <p:nvSpPr>
          <p:cNvPr id="42" name="Textplatzhalter 35">
            <a:extLst>
              <a:ext uri="{FF2B5EF4-FFF2-40B4-BE49-F238E27FC236}">
                <a16:creationId xmlns:a16="http://schemas.microsoft.com/office/drawing/2014/main" id="{ECDB71FE-A1A2-47D2-9428-53A7FBB4BBF3}"/>
              </a:ext>
            </a:extLst>
          </p:cNvPr>
          <p:cNvSpPr>
            <a:spLocks noGrp="1"/>
          </p:cNvSpPr>
          <p:nvPr>
            <p:ph type="body" sz="quarter" idx="23" hasCustomPrompt="1"/>
          </p:nvPr>
        </p:nvSpPr>
        <p:spPr>
          <a:xfrm>
            <a:off x="891308" y="3883289"/>
            <a:ext cx="1279968" cy="227366"/>
          </a:xfrm>
          <a:prstGeom prst="rect">
            <a:avLst/>
          </a:prstGeom>
        </p:spPr>
        <p:txBody>
          <a:bodyPr/>
          <a:lstStyle>
            <a:lvl1pPr marL="0" indent="0">
              <a:buNone/>
              <a:defRPr sz="1200">
                <a:latin typeface="M05 Text Office Bold" panose="020B0804040000000004" pitchFamily="34" charset="0"/>
              </a:defRPr>
            </a:lvl1pPr>
          </a:lstStyle>
          <a:p>
            <a:pPr lvl="0"/>
            <a:r>
              <a:rPr lang="de-DE"/>
              <a:t>Überschrift</a:t>
            </a:r>
          </a:p>
        </p:txBody>
      </p:sp>
      <p:sp>
        <p:nvSpPr>
          <p:cNvPr id="7" name="Bildplatzhalter 6">
            <a:extLst>
              <a:ext uri="{FF2B5EF4-FFF2-40B4-BE49-F238E27FC236}">
                <a16:creationId xmlns:a16="http://schemas.microsoft.com/office/drawing/2014/main" id="{07688E8B-1A49-4483-8100-272D3A7EFE84}"/>
              </a:ext>
            </a:extLst>
          </p:cNvPr>
          <p:cNvSpPr>
            <a:spLocks noGrp="1"/>
          </p:cNvSpPr>
          <p:nvPr>
            <p:ph type="pic" sz="quarter" idx="24"/>
          </p:nvPr>
        </p:nvSpPr>
        <p:spPr>
          <a:xfrm>
            <a:off x="5856288" y="1566863"/>
            <a:ext cx="5199062" cy="4675187"/>
          </a:xfrm>
          <a:prstGeom prst="rect">
            <a:avLst/>
          </a:prstGeom>
          <a:solidFill>
            <a:schemeClr val="accent2"/>
          </a:solidFill>
        </p:spPr>
        <p:txBody>
          <a:bodyPr/>
          <a:lstStyle/>
          <a:p>
            <a:r>
              <a:rPr lang="de-DE"/>
              <a:t>Bild durch Klicken auf Symbol hinzufügen</a:t>
            </a:r>
          </a:p>
        </p:txBody>
      </p:sp>
    </p:spTree>
    <p:extLst>
      <p:ext uri="{BB962C8B-B14F-4D97-AF65-F5344CB8AC3E}">
        <p14:creationId xmlns:p14="http://schemas.microsoft.com/office/powerpoint/2010/main" val="40619693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ojektsteckbrief, 3 Felder mit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6" name="Rechteck 8">
            <a:extLst>
              <a:ext uri="{FF2B5EF4-FFF2-40B4-BE49-F238E27FC236}">
                <a16:creationId xmlns:a16="http://schemas.microsoft.com/office/drawing/2014/main" id="{8C4CC86C-376A-49D5-AD83-BC008A3B8D0B}"/>
              </a:ext>
            </a:extLst>
          </p:cNvPr>
          <p:cNvSpPr/>
          <p:nvPr userDrawn="1">
            <p:custDataLst>
              <p:tags r:id="rId1"/>
            </p:custDataLst>
          </p:nvPr>
        </p:nvSpPr>
        <p:spPr bwMode="gray">
          <a:xfrm>
            <a:off x="337762" y="1569598"/>
            <a:ext cx="5360440" cy="1377625"/>
          </a:xfrm>
          <a:prstGeom prst="rect">
            <a:avLst/>
          </a:prstGeom>
          <a:solidFill>
            <a:schemeClr val="bg1">
              <a:alpha val="46000"/>
            </a:schemeClr>
          </a:solidFill>
          <a:ln w="9525" cap="rnd">
            <a:solidFill>
              <a:schemeClr val="accent5"/>
            </a:solidFill>
            <a:prstDash val="sysDot"/>
            <a:miter lim="800000"/>
            <a:headEnd/>
            <a:tailEnd/>
          </a:ln>
          <a:effectLst/>
        </p:spPr>
        <p:txBody>
          <a:bodyPr vert="horz" lIns="72000" tIns="216000" rIns="72000" bIns="72000" anchor="t">
            <a:noAutofit/>
          </a:bodyPr>
          <a:lstStyle/>
          <a:p>
            <a:pPr marL="228600" marR="0" lvl="0" indent="-228600" fontAlgn="auto">
              <a:lnSpc>
                <a:spcPct val="90000"/>
              </a:lnSpc>
              <a:spcAft>
                <a:spcPts val="300"/>
              </a:spcAft>
              <a:buClr>
                <a:schemeClr val="bg2"/>
              </a:buClr>
              <a:buSzPct val="100000"/>
              <a:buFont typeface="M05 Text BETA" panose="020B0004040000000004" pitchFamily="34" charset="0"/>
              <a:buChar char="&gt;"/>
              <a:tabLst/>
              <a:defRPr/>
            </a:pPr>
            <a:endParaRPr lang="de-DE" sz="1050"/>
          </a:p>
        </p:txBody>
      </p:sp>
      <p:cxnSp>
        <p:nvCxnSpPr>
          <p:cNvPr id="22" name="Gerader Verbinder 21">
            <a:extLst>
              <a:ext uri="{FF2B5EF4-FFF2-40B4-BE49-F238E27FC236}">
                <a16:creationId xmlns:a16="http://schemas.microsoft.com/office/drawing/2014/main" id="{11DE6EBB-E96B-46DF-88F6-34EE778CB0BA}"/>
              </a:ext>
            </a:extLst>
          </p:cNvPr>
          <p:cNvCxnSpPr>
            <a:cxnSpLocks/>
          </p:cNvCxnSpPr>
          <p:nvPr userDrawn="1"/>
        </p:nvCxnSpPr>
        <p:spPr>
          <a:xfrm>
            <a:off x="337762" y="1567202"/>
            <a:ext cx="536400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0" name="Textplatzhalter 29">
            <a:extLst>
              <a:ext uri="{FF2B5EF4-FFF2-40B4-BE49-F238E27FC236}">
                <a16:creationId xmlns:a16="http://schemas.microsoft.com/office/drawing/2014/main" id="{31899B52-D8ED-4161-A497-CD093C7496B5}"/>
              </a:ext>
            </a:extLst>
          </p:cNvPr>
          <p:cNvSpPr>
            <a:spLocks noGrp="1"/>
          </p:cNvSpPr>
          <p:nvPr>
            <p:ph type="body" sz="quarter" idx="14"/>
          </p:nvPr>
        </p:nvSpPr>
        <p:spPr>
          <a:xfrm>
            <a:off x="337767" y="1776877"/>
            <a:ext cx="5372100" cy="1151258"/>
          </a:xfrm>
          <a:prstGeom prst="rect">
            <a:avLst/>
          </a:prstGeom>
        </p:spPr>
        <p:txBody>
          <a:bodyPr/>
          <a:lstStyle>
            <a:lvl1pPr>
              <a:defRPr sz="1400">
                <a:latin typeface="M05 Text Office" panose="020B0504040000000004" pitchFamily="34" charset="0"/>
              </a:defRPr>
            </a:lvl1pPr>
            <a:lvl2pPr>
              <a:defRPr sz="1200">
                <a:latin typeface="M05 Text Office" panose="020B0504040000000004" pitchFamily="34" charset="0"/>
              </a:defRPr>
            </a:lvl2pPr>
            <a:lvl3pPr>
              <a:defRPr sz="1100">
                <a:latin typeface="M05 Text Office" panose="020B0504040000000004" pitchFamily="34" charset="0"/>
              </a:defRPr>
            </a:lvl3pPr>
            <a:lvl4pPr>
              <a:defRPr sz="1050">
                <a:latin typeface="M05 Text Office" panose="020B0504040000000004" pitchFamily="34" charset="0"/>
              </a:defRPr>
            </a:lvl4pPr>
            <a:lvl5pPr>
              <a:defRPr sz="1050">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4" name="Bildplatzhalter 33">
            <a:extLst>
              <a:ext uri="{FF2B5EF4-FFF2-40B4-BE49-F238E27FC236}">
                <a16:creationId xmlns:a16="http://schemas.microsoft.com/office/drawing/2014/main" id="{CFADD388-496E-476C-ACDD-78329DF42386}"/>
              </a:ext>
            </a:extLst>
          </p:cNvPr>
          <p:cNvSpPr>
            <a:spLocks noGrp="1"/>
          </p:cNvSpPr>
          <p:nvPr>
            <p:ph type="pic" sz="quarter" idx="18" hasCustomPrompt="1"/>
          </p:nvPr>
        </p:nvSpPr>
        <p:spPr>
          <a:xfrm>
            <a:off x="379118" y="1351151"/>
            <a:ext cx="411721" cy="406636"/>
          </a:xfrm>
          <a:prstGeom prst="ellipse">
            <a:avLst/>
          </a:prstGeom>
          <a:solidFill>
            <a:schemeClr val="accent2"/>
          </a:solidFill>
        </p:spPr>
        <p:txBody>
          <a:bodyPr/>
          <a:lstStyle>
            <a:lvl1pPr marL="0" indent="0">
              <a:buNone/>
              <a:defRPr/>
            </a:lvl1pPr>
          </a:lstStyle>
          <a:p>
            <a:r>
              <a:rPr lang="de-DE"/>
              <a:t> </a:t>
            </a:r>
          </a:p>
        </p:txBody>
      </p:sp>
      <p:sp>
        <p:nvSpPr>
          <p:cNvPr id="36" name="Textplatzhalter 35">
            <a:extLst>
              <a:ext uri="{FF2B5EF4-FFF2-40B4-BE49-F238E27FC236}">
                <a16:creationId xmlns:a16="http://schemas.microsoft.com/office/drawing/2014/main" id="{ADB8432D-487A-4983-B6A4-31A82B98B197}"/>
              </a:ext>
            </a:extLst>
          </p:cNvPr>
          <p:cNvSpPr>
            <a:spLocks noGrp="1"/>
          </p:cNvSpPr>
          <p:nvPr>
            <p:ph type="body" sz="quarter" idx="19" hasCustomPrompt="1"/>
          </p:nvPr>
        </p:nvSpPr>
        <p:spPr>
          <a:xfrm>
            <a:off x="871290" y="1358970"/>
            <a:ext cx="1279968" cy="227366"/>
          </a:xfrm>
          <a:prstGeom prst="rect">
            <a:avLst/>
          </a:prstGeom>
        </p:spPr>
        <p:txBody>
          <a:bodyPr/>
          <a:lstStyle>
            <a:lvl1pPr marL="0" indent="0">
              <a:buNone/>
              <a:defRPr sz="1200">
                <a:latin typeface="M05 Text Office Bold" panose="020B0804040000000004" pitchFamily="34" charset="0"/>
              </a:defRPr>
            </a:lvl1pPr>
          </a:lstStyle>
          <a:p>
            <a:pPr lvl="0"/>
            <a:r>
              <a:rPr lang="de-DE"/>
              <a:t>Überschrift</a:t>
            </a:r>
          </a:p>
        </p:txBody>
      </p:sp>
      <p:sp>
        <p:nvSpPr>
          <p:cNvPr id="7" name="Bildplatzhalter 6">
            <a:extLst>
              <a:ext uri="{FF2B5EF4-FFF2-40B4-BE49-F238E27FC236}">
                <a16:creationId xmlns:a16="http://schemas.microsoft.com/office/drawing/2014/main" id="{07688E8B-1A49-4483-8100-272D3A7EFE84}"/>
              </a:ext>
            </a:extLst>
          </p:cNvPr>
          <p:cNvSpPr>
            <a:spLocks noGrp="1"/>
          </p:cNvSpPr>
          <p:nvPr>
            <p:ph type="pic" sz="quarter" idx="24"/>
          </p:nvPr>
        </p:nvSpPr>
        <p:spPr>
          <a:xfrm>
            <a:off x="5856288" y="1566863"/>
            <a:ext cx="5199062" cy="4675187"/>
          </a:xfrm>
          <a:prstGeom prst="rect">
            <a:avLst/>
          </a:prstGeom>
          <a:solidFill>
            <a:schemeClr val="accent2"/>
          </a:solidFill>
        </p:spPr>
        <p:txBody>
          <a:bodyPr/>
          <a:lstStyle/>
          <a:p>
            <a:r>
              <a:rPr lang="de-DE"/>
              <a:t>Bild durch Klicken auf Symbol hinzufügen</a:t>
            </a:r>
          </a:p>
        </p:txBody>
      </p:sp>
      <p:sp>
        <p:nvSpPr>
          <p:cNvPr id="16" name="Rechteck 8">
            <a:extLst>
              <a:ext uri="{FF2B5EF4-FFF2-40B4-BE49-F238E27FC236}">
                <a16:creationId xmlns:a16="http://schemas.microsoft.com/office/drawing/2014/main" id="{F1385BF7-FCEB-4266-B55A-890890817848}"/>
              </a:ext>
            </a:extLst>
          </p:cNvPr>
          <p:cNvSpPr/>
          <p:nvPr userDrawn="1">
            <p:custDataLst>
              <p:tags r:id="rId2"/>
            </p:custDataLst>
          </p:nvPr>
        </p:nvSpPr>
        <p:spPr bwMode="gray">
          <a:xfrm>
            <a:off x="337762" y="3211567"/>
            <a:ext cx="5360440" cy="1377625"/>
          </a:xfrm>
          <a:prstGeom prst="rect">
            <a:avLst/>
          </a:prstGeom>
          <a:solidFill>
            <a:schemeClr val="bg1">
              <a:alpha val="46000"/>
            </a:schemeClr>
          </a:solidFill>
          <a:ln w="9525" cap="rnd">
            <a:solidFill>
              <a:schemeClr val="accent5"/>
            </a:solidFill>
            <a:prstDash val="sysDot"/>
            <a:miter lim="800000"/>
            <a:headEnd/>
            <a:tailEnd/>
          </a:ln>
          <a:effectLst/>
        </p:spPr>
        <p:txBody>
          <a:bodyPr vert="horz" lIns="72000" tIns="216000" rIns="72000" bIns="72000" anchor="t">
            <a:noAutofit/>
          </a:bodyPr>
          <a:lstStyle/>
          <a:p>
            <a:pPr marL="228600" marR="0" lvl="0" indent="-228600" fontAlgn="auto">
              <a:lnSpc>
                <a:spcPct val="90000"/>
              </a:lnSpc>
              <a:spcAft>
                <a:spcPts val="300"/>
              </a:spcAft>
              <a:buClr>
                <a:schemeClr val="bg2"/>
              </a:buClr>
              <a:buSzPct val="100000"/>
              <a:buFont typeface="M05 Text BETA" panose="020B0004040000000004" pitchFamily="34" charset="0"/>
              <a:buChar char="&gt;"/>
              <a:tabLst/>
              <a:defRPr/>
            </a:pPr>
            <a:endParaRPr lang="de-DE" sz="1050"/>
          </a:p>
        </p:txBody>
      </p:sp>
      <p:cxnSp>
        <p:nvCxnSpPr>
          <p:cNvPr id="17" name="Gerader Verbinder 16">
            <a:extLst>
              <a:ext uri="{FF2B5EF4-FFF2-40B4-BE49-F238E27FC236}">
                <a16:creationId xmlns:a16="http://schemas.microsoft.com/office/drawing/2014/main" id="{5FED2334-8850-41A8-8797-996649B7AA1F}"/>
              </a:ext>
            </a:extLst>
          </p:cNvPr>
          <p:cNvCxnSpPr>
            <a:cxnSpLocks/>
          </p:cNvCxnSpPr>
          <p:nvPr userDrawn="1"/>
        </p:nvCxnSpPr>
        <p:spPr>
          <a:xfrm>
            <a:off x="337762" y="3209171"/>
            <a:ext cx="536400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platzhalter 29">
            <a:extLst>
              <a:ext uri="{FF2B5EF4-FFF2-40B4-BE49-F238E27FC236}">
                <a16:creationId xmlns:a16="http://schemas.microsoft.com/office/drawing/2014/main" id="{7E501BE5-DC16-4BEC-A161-6F3F8629D6B6}"/>
              </a:ext>
            </a:extLst>
          </p:cNvPr>
          <p:cNvSpPr>
            <a:spLocks noGrp="1"/>
          </p:cNvSpPr>
          <p:nvPr>
            <p:ph type="body" sz="quarter" idx="25"/>
          </p:nvPr>
        </p:nvSpPr>
        <p:spPr>
          <a:xfrm>
            <a:off x="337767" y="3418846"/>
            <a:ext cx="5372100" cy="1151258"/>
          </a:xfrm>
          <a:prstGeom prst="rect">
            <a:avLst/>
          </a:prstGeom>
        </p:spPr>
        <p:txBody>
          <a:bodyPr/>
          <a:lstStyle>
            <a:lvl1pPr>
              <a:defRPr sz="1400">
                <a:latin typeface="M05 Text Office" panose="020B0504040000000004" pitchFamily="34" charset="0"/>
              </a:defRPr>
            </a:lvl1pPr>
            <a:lvl2pPr>
              <a:defRPr sz="1200">
                <a:latin typeface="M05 Text Office" panose="020B0504040000000004" pitchFamily="34" charset="0"/>
              </a:defRPr>
            </a:lvl2pPr>
            <a:lvl3pPr>
              <a:defRPr sz="1100">
                <a:latin typeface="M05 Text Office" panose="020B0504040000000004" pitchFamily="34" charset="0"/>
              </a:defRPr>
            </a:lvl3pPr>
            <a:lvl4pPr>
              <a:defRPr sz="1050">
                <a:latin typeface="M05 Text Office" panose="020B0504040000000004" pitchFamily="34" charset="0"/>
              </a:defRPr>
            </a:lvl4pPr>
            <a:lvl5pPr>
              <a:defRPr sz="1050">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Bildplatzhalter 33">
            <a:extLst>
              <a:ext uri="{FF2B5EF4-FFF2-40B4-BE49-F238E27FC236}">
                <a16:creationId xmlns:a16="http://schemas.microsoft.com/office/drawing/2014/main" id="{CADB7B04-6B64-4478-92E0-B10F3128C3F7}"/>
              </a:ext>
            </a:extLst>
          </p:cNvPr>
          <p:cNvSpPr>
            <a:spLocks noGrp="1"/>
          </p:cNvSpPr>
          <p:nvPr>
            <p:ph type="pic" sz="quarter" idx="26" hasCustomPrompt="1"/>
          </p:nvPr>
        </p:nvSpPr>
        <p:spPr>
          <a:xfrm>
            <a:off x="379118" y="2993120"/>
            <a:ext cx="411721" cy="406636"/>
          </a:xfrm>
          <a:prstGeom prst="ellipse">
            <a:avLst/>
          </a:prstGeom>
          <a:solidFill>
            <a:schemeClr val="accent2"/>
          </a:solidFill>
        </p:spPr>
        <p:txBody>
          <a:bodyPr/>
          <a:lstStyle>
            <a:lvl1pPr marL="0" indent="0">
              <a:buNone/>
              <a:defRPr/>
            </a:lvl1pPr>
          </a:lstStyle>
          <a:p>
            <a:r>
              <a:rPr lang="de-DE"/>
              <a:t> </a:t>
            </a:r>
          </a:p>
        </p:txBody>
      </p:sp>
      <p:sp>
        <p:nvSpPr>
          <p:cNvPr id="20" name="Textplatzhalter 35">
            <a:extLst>
              <a:ext uri="{FF2B5EF4-FFF2-40B4-BE49-F238E27FC236}">
                <a16:creationId xmlns:a16="http://schemas.microsoft.com/office/drawing/2014/main" id="{B8B0DD57-6D3A-4335-9585-99AE5425791E}"/>
              </a:ext>
            </a:extLst>
          </p:cNvPr>
          <p:cNvSpPr>
            <a:spLocks noGrp="1"/>
          </p:cNvSpPr>
          <p:nvPr>
            <p:ph type="body" sz="quarter" idx="27" hasCustomPrompt="1"/>
          </p:nvPr>
        </p:nvSpPr>
        <p:spPr>
          <a:xfrm>
            <a:off x="871290" y="3000939"/>
            <a:ext cx="1279968" cy="227366"/>
          </a:xfrm>
          <a:prstGeom prst="rect">
            <a:avLst/>
          </a:prstGeom>
        </p:spPr>
        <p:txBody>
          <a:bodyPr/>
          <a:lstStyle>
            <a:lvl1pPr marL="0" indent="0">
              <a:buNone/>
              <a:defRPr sz="1200">
                <a:latin typeface="M05 Text Office Bold" panose="020B0804040000000004" pitchFamily="34" charset="0"/>
              </a:defRPr>
            </a:lvl1pPr>
          </a:lstStyle>
          <a:p>
            <a:pPr lvl="0"/>
            <a:r>
              <a:rPr lang="de-DE"/>
              <a:t>Überschrift</a:t>
            </a:r>
          </a:p>
        </p:txBody>
      </p:sp>
      <p:sp>
        <p:nvSpPr>
          <p:cNvPr id="21" name="Rechteck 8">
            <a:extLst>
              <a:ext uri="{FF2B5EF4-FFF2-40B4-BE49-F238E27FC236}">
                <a16:creationId xmlns:a16="http://schemas.microsoft.com/office/drawing/2014/main" id="{82824BCF-62F8-492B-A4C7-63E9F1A870E5}"/>
              </a:ext>
            </a:extLst>
          </p:cNvPr>
          <p:cNvSpPr/>
          <p:nvPr userDrawn="1">
            <p:custDataLst>
              <p:tags r:id="rId3"/>
            </p:custDataLst>
          </p:nvPr>
        </p:nvSpPr>
        <p:spPr bwMode="gray">
          <a:xfrm>
            <a:off x="326097" y="4896150"/>
            <a:ext cx="5360440" cy="1377625"/>
          </a:xfrm>
          <a:prstGeom prst="rect">
            <a:avLst/>
          </a:prstGeom>
          <a:solidFill>
            <a:schemeClr val="bg1">
              <a:alpha val="46000"/>
            </a:schemeClr>
          </a:solidFill>
          <a:ln w="9525" cap="rnd">
            <a:solidFill>
              <a:schemeClr val="accent5"/>
            </a:solidFill>
            <a:prstDash val="sysDot"/>
            <a:miter lim="800000"/>
            <a:headEnd/>
            <a:tailEnd/>
          </a:ln>
          <a:effectLst/>
        </p:spPr>
        <p:txBody>
          <a:bodyPr vert="horz" lIns="72000" tIns="216000" rIns="72000" bIns="72000" anchor="t">
            <a:noAutofit/>
          </a:bodyPr>
          <a:lstStyle/>
          <a:p>
            <a:pPr marL="228600" marR="0" lvl="0" indent="-228600" fontAlgn="auto">
              <a:lnSpc>
                <a:spcPct val="90000"/>
              </a:lnSpc>
              <a:spcAft>
                <a:spcPts val="300"/>
              </a:spcAft>
              <a:buClr>
                <a:schemeClr val="bg2"/>
              </a:buClr>
              <a:buSzPct val="100000"/>
              <a:buFont typeface="M05 Text BETA" panose="020B0004040000000004" pitchFamily="34" charset="0"/>
              <a:buChar char="&gt;"/>
              <a:tabLst/>
              <a:defRPr/>
            </a:pPr>
            <a:endParaRPr lang="de-DE" sz="1050"/>
          </a:p>
        </p:txBody>
      </p:sp>
      <p:cxnSp>
        <p:nvCxnSpPr>
          <p:cNvPr id="23" name="Gerader Verbinder 22">
            <a:extLst>
              <a:ext uri="{FF2B5EF4-FFF2-40B4-BE49-F238E27FC236}">
                <a16:creationId xmlns:a16="http://schemas.microsoft.com/office/drawing/2014/main" id="{66BCCB5C-6394-4991-A6E1-CBF5C94D458A}"/>
              </a:ext>
            </a:extLst>
          </p:cNvPr>
          <p:cNvCxnSpPr>
            <a:cxnSpLocks/>
          </p:cNvCxnSpPr>
          <p:nvPr userDrawn="1"/>
        </p:nvCxnSpPr>
        <p:spPr>
          <a:xfrm>
            <a:off x="326097" y="4893754"/>
            <a:ext cx="536400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4" name="Textplatzhalter 29">
            <a:extLst>
              <a:ext uri="{FF2B5EF4-FFF2-40B4-BE49-F238E27FC236}">
                <a16:creationId xmlns:a16="http://schemas.microsoft.com/office/drawing/2014/main" id="{BC7D03EA-9FF6-4EA0-B235-260439F03D3F}"/>
              </a:ext>
            </a:extLst>
          </p:cNvPr>
          <p:cNvSpPr>
            <a:spLocks noGrp="1"/>
          </p:cNvSpPr>
          <p:nvPr>
            <p:ph type="body" sz="quarter" idx="28"/>
          </p:nvPr>
        </p:nvSpPr>
        <p:spPr>
          <a:xfrm>
            <a:off x="326102" y="5103429"/>
            <a:ext cx="5372100" cy="1151258"/>
          </a:xfrm>
          <a:prstGeom prst="rect">
            <a:avLst/>
          </a:prstGeom>
        </p:spPr>
        <p:txBody>
          <a:bodyPr/>
          <a:lstStyle>
            <a:lvl1pPr>
              <a:defRPr sz="1400">
                <a:latin typeface="M05 Text Office" panose="020B0504040000000004" pitchFamily="34" charset="0"/>
              </a:defRPr>
            </a:lvl1pPr>
            <a:lvl2pPr>
              <a:defRPr sz="1200">
                <a:latin typeface="M05 Text Office" panose="020B0504040000000004" pitchFamily="34" charset="0"/>
              </a:defRPr>
            </a:lvl2pPr>
            <a:lvl3pPr>
              <a:defRPr sz="1100">
                <a:latin typeface="M05 Text Office" panose="020B0504040000000004" pitchFamily="34" charset="0"/>
              </a:defRPr>
            </a:lvl3pPr>
            <a:lvl4pPr>
              <a:defRPr sz="1050">
                <a:latin typeface="M05 Text Office" panose="020B0504040000000004" pitchFamily="34" charset="0"/>
              </a:defRPr>
            </a:lvl4pPr>
            <a:lvl5pPr>
              <a:defRPr sz="1050">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5" name="Bildplatzhalter 33">
            <a:extLst>
              <a:ext uri="{FF2B5EF4-FFF2-40B4-BE49-F238E27FC236}">
                <a16:creationId xmlns:a16="http://schemas.microsoft.com/office/drawing/2014/main" id="{CE8B0E0B-7C4D-454B-81D8-DE1CCE8BB31F}"/>
              </a:ext>
            </a:extLst>
          </p:cNvPr>
          <p:cNvSpPr>
            <a:spLocks noGrp="1"/>
          </p:cNvSpPr>
          <p:nvPr>
            <p:ph type="pic" sz="quarter" idx="29" hasCustomPrompt="1"/>
          </p:nvPr>
        </p:nvSpPr>
        <p:spPr>
          <a:xfrm>
            <a:off x="367453" y="4677703"/>
            <a:ext cx="411721" cy="406636"/>
          </a:xfrm>
          <a:prstGeom prst="ellipse">
            <a:avLst/>
          </a:prstGeom>
          <a:solidFill>
            <a:schemeClr val="accent2"/>
          </a:solidFill>
        </p:spPr>
        <p:txBody>
          <a:bodyPr/>
          <a:lstStyle>
            <a:lvl1pPr marL="0" indent="0">
              <a:buNone/>
              <a:defRPr/>
            </a:lvl1pPr>
          </a:lstStyle>
          <a:p>
            <a:r>
              <a:rPr lang="de-DE"/>
              <a:t> </a:t>
            </a:r>
          </a:p>
        </p:txBody>
      </p:sp>
      <p:sp>
        <p:nvSpPr>
          <p:cNvPr id="26" name="Textplatzhalter 35">
            <a:extLst>
              <a:ext uri="{FF2B5EF4-FFF2-40B4-BE49-F238E27FC236}">
                <a16:creationId xmlns:a16="http://schemas.microsoft.com/office/drawing/2014/main" id="{C43C2D35-98C4-4746-8832-68A856424139}"/>
              </a:ext>
            </a:extLst>
          </p:cNvPr>
          <p:cNvSpPr>
            <a:spLocks noGrp="1"/>
          </p:cNvSpPr>
          <p:nvPr>
            <p:ph type="body" sz="quarter" idx="30" hasCustomPrompt="1"/>
          </p:nvPr>
        </p:nvSpPr>
        <p:spPr>
          <a:xfrm>
            <a:off x="859625" y="4685522"/>
            <a:ext cx="1279968" cy="227366"/>
          </a:xfrm>
          <a:prstGeom prst="rect">
            <a:avLst/>
          </a:prstGeom>
        </p:spPr>
        <p:txBody>
          <a:bodyPr/>
          <a:lstStyle>
            <a:lvl1pPr marL="0" indent="0">
              <a:buNone/>
              <a:defRPr sz="1200">
                <a:latin typeface="M05 Text Office Bold" panose="020B0804040000000004" pitchFamily="34" charset="0"/>
              </a:defRPr>
            </a:lvl1pPr>
          </a:lstStyle>
          <a:p>
            <a:pPr lvl="0"/>
            <a:r>
              <a:rPr lang="de-DE"/>
              <a:t>Überschrift</a:t>
            </a:r>
          </a:p>
        </p:txBody>
      </p:sp>
    </p:spTree>
    <p:extLst>
      <p:ext uri="{BB962C8B-B14F-4D97-AF65-F5344CB8AC3E}">
        <p14:creationId xmlns:p14="http://schemas.microsoft.com/office/powerpoint/2010/main" val="18629604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Stufenpla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pic>
        <p:nvPicPr>
          <p:cNvPr id="21" name="Grafik 20">
            <a:extLst>
              <a:ext uri="{FF2B5EF4-FFF2-40B4-BE49-F238E27FC236}">
                <a16:creationId xmlns:a16="http://schemas.microsoft.com/office/drawing/2014/main" id="{1CDD85DD-140C-4550-A792-DC7A1AD3F513}"/>
              </a:ext>
            </a:extLst>
          </p:cNvPr>
          <p:cNvPicPr>
            <a:picLocks noChangeAspect="1"/>
          </p:cNvPicPr>
          <p:nvPr userDrawn="1"/>
        </p:nvPicPr>
        <p:blipFill>
          <a:blip r:embed="rId2"/>
          <a:stretch>
            <a:fillRect/>
          </a:stretch>
        </p:blipFill>
        <p:spPr>
          <a:xfrm>
            <a:off x="330201" y="1449261"/>
            <a:ext cx="10040982" cy="1444877"/>
          </a:xfrm>
          <a:prstGeom prst="rect">
            <a:avLst/>
          </a:prstGeom>
        </p:spPr>
      </p:pic>
      <p:pic>
        <p:nvPicPr>
          <p:cNvPr id="22" name="Grafik 21" descr="Chevronpfeile">
            <a:extLst>
              <a:ext uri="{FF2B5EF4-FFF2-40B4-BE49-F238E27FC236}">
                <a16:creationId xmlns:a16="http://schemas.microsoft.com/office/drawing/2014/main" id="{18BD2E7E-8715-45DF-8994-A5470EDA313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2290" y="1722478"/>
            <a:ext cx="853219" cy="853219"/>
          </a:xfrm>
          <a:prstGeom prst="rect">
            <a:avLst/>
          </a:prstGeom>
        </p:spPr>
      </p:pic>
      <p:sp>
        <p:nvSpPr>
          <p:cNvPr id="23" name="Textfeld 22">
            <a:extLst>
              <a:ext uri="{FF2B5EF4-FFF2-40B4-BE49-F238E27FC236}">
                <a16:creationId xmlns:a16="http://schemas.microsoft.com/office/drawing/2014/main" id="{6DF04878-FD79-40F1-B830-489A1C6DED38}"/>
              </a:ext>
            </a:extLst>
          </p:cNvPr>
          <p:cNvSpPr txBox="1"/>
          <p:nvPr userDrawn="1"/>
        </p:nvSpPr>
        <p:spPr>
          <a:xfrm>
            <a:off x="330202" y="3091248"/>
            <a:ext cx="3105494" cy="307777"/>
          </a:xfrm>
          <a:prstGeom prst="rect">
            <a:avLst/>
          </a:prstGeom>
          <a:noFill/>
          <a:ln>
            <a:solidFill>
              <a:schemeClr val="tx1"/>
            </a:solidFill>
          </a:ln>
        </p:spPr>
        <p:txBody>
          <a:bodyPr wrap="square" rtlCol="0">
            <a:spAutoFit/>
          </a:bodyPr>
          <a:lstStyle/>
          <a:p>
            <a:pPr algn="ctr"/>
            <a:endParaRPr lang="de-DE" sz="1400">
              <a:latin typeface="M05 Text Office Bold" panose="020B0804040000000004" pitchFamily="34" charset="0"/>
            </a:endParaRPr>
          </a:p>
        </p:txBody>
      </p:sp>
      <p:sp>
        <p:nvSpPr>
          <p:cNvPr id="24" name="Textplatzhalter 26">
            <a:extLst>
              <a:ext uri="{FF2B5EF4-FFF2-40B4-BE49-F238E27FC236}">
                <a16:creationId xmlns:a16="http://schemas.microsoft.com/office/drawing/2014/main" id="{0B198E5A-026D-4591-965D-2F81852405B3}"/>
              </a:ext>
            </a:extLst>
          </p:cNvPr>
          <p:cNvSpPr>
            <a:spLocks noGrp="1"/>
          </p:cNvSpPr>
          <p:nvPr>
            <p:ph type="body" sz="quarter" idx="11" hasCustomPrompt="1"/>
          </p:nvPr>
        </p:nvSpPr>
        <p:spPr>
          <a:xfrm>
            <a:off x="330201" y="3091339"/>
            <a:ext cx="3098800" cy="307975"/>
          </a:xfrm>
          <a:prstGeom prst="rect">
            <a:avLst/>
          </a:prstGeom>
        </p:spPr>
        <p:txBody>
          <a:bodyPr/>
          <a:lstStyle>
            <a:lvl1pPr marL="0" indent="0" algn="ctr">
              <a:buNone/>
              <a:defRPr>
                <a:latin typeface="M05 Text Office Bold" panose="020B0804040000000004" pitchFamily="34" charset="0"/>
              </a:defRPr>
            </a:lvl1pPr>
          </a:lstStyle>
          <a:p>
            <a:pPr lvl="0"/>
            <a:r>
              <a:rPr lang="de-DE"/>
              <a:t>Headline</a:t>
            </a:r>
          </a:p>
        </p:txBody>
      </p:sp>
      <p:sp>
        <p:nvSpPr>
          <p:cNvPr id="25" name="Textplatzhalter 36">
            <a:extLst>
              <a:ext uri="{FF2B5EF4-FFF2-40B4-BE49-F238E27FC236}">
                <a16:creationId xmlns:a16="http://schemas.microsoft.com/office/drawing/2014/main" id="{7FE0C2E8-E447-4C79-9F32-7BB4046C0A87}"/>
              </a:ext>
            </a:extLst>
          </p:cNvPr>
          <p:cNvSpPr>
            <a:spLocks noGrp="1"/>
          </p:cNvSpPr>
          <p:nvPr>
            <p:ph type="body" sz="quarter" idx="15"/>
          </p:nvPr>
        </p:nvSpPr>
        <p:spPr>
          <a:xfrm>
            <a:off x="330201" y="3596136"/>
            <a:ext cx="3098800" cy="2798314"/>
          </a:xfrm>
          <a:prstGeom prst="rect">
            <a:avLst/>
          </a:prstGeom>
        </p:spPr>
        <p:txBody>
          <a:bodyPr/>
          <a:lstStyle>
            <a:lvl1pPr>
              <a:defRPr sz="1400">
                <a:latin typeface="M05 Text Office" panose="020B0504040000000004" pitchFamily="34" charset="0"/>
              </a:defRPr>
            </a:lvl1pPr>
          </a:lstStyle>
          <a:p>
            <a:pPr lvl="0"/>
            <a:r>
              <a:rPr lang="de-DE"/>
              <a:t>Mastertextformat bearbeiten</a:t>
            </a:r>
          </a:p>
        </p:txBody>
      </p:sp>
      <p:sp>
        <p:nvSpPr>
          <p:cNvPr id="26" name="Textfeld 25">
            <a:extLst>
              <a:ext uri="{FF2B5EF4-FFF2-40B4-BE49-F238E27FC236}">
                <a16:creationId xmlns:a16="http://schemas.microsoft.com/office/drawing/2014/main" id="{2F6FEABE-5E18-4F79-B9CD-36376384D538}"/>
              </a:ext>
            </a:extLst>
          </p:cNvPr>
          <p:cNvSpPr txBox="1"/>
          <p:nvPr userDrawn="1"/>
        </p:nvSpPr>
        <p:spPr>
          <a:xfrm>
            <a:off x="3797301" y="3091248"/>
            <a:ext cx="3105495" cy="307777"/>
          </a:xfrm>
          <a:prstGeom prst="rect">
            <a:avLst/>
          </a:prstGeom>
          <a:noFill/>
          <a:ln>
            <a:solidFill>
              <a:schemeClr val="tx1"/>
            </a:solidFill>
          </a:ln>
        </p:spPr>
        <p:txBody>
          <a:bodyPr wrap="square" rtlCol="0">
            <a:spAutoFit/>
          </a:bodyPr>
          <a:lstStyle/>
          <a:p>
            <a:pPr algn="ctr"/>
            <a:endParaRPr lang="de-DE" sz="1400">
              <a:latin typeface="M05 Text Office Bold" panose="020B0804040000000004" pitchFamily="34" charset="0"/>
            </a:endParaRPr>
          </a:p>
        </p:txBody>
      </p:sp>
      <p:sp>
        <p:nvSpPr>
          <p:cNvPr id="27" name="Textplatzhalter 26">
            <a:extLst>
              <a:ext uri="{FF2B5EF4-FFF2-40B4-BE49-F238E27FC236}">
                <a16:creationId xmlns:a16="http://schemas.microsoft.com/office/drawing/2014/main" id="{0CB9B20F-17AF-4FCB-8403-BD8B2DBA8CBC}"/>
              </a:ext>
            </a:extLst>
          </p:cNvPr>
          <p:cNvSpPr>
            <a:spLocks noGrp="1"/>
          </p:cNvSpPr>
          <p:nvPr>
            <p:ph type="body" sz="quarter" idx="16" hasCustomPrompt="1"/>
          </p:nvPr>
        </p:nvSpPr>
        <p:spPr>
          <a:xfrm>
            <a:off x="3797301" y="3091339"/>
            <a:ext cx="3098800" cy="307975"/>
          </a:xfrm>
          <a:prstGeom prst="rect">
            <a:avLst/>
          </a:prstGeom>
        </p:spPr>
        <p:txBody>
          <a:bodyPr/>
          <a:lstStyle>
            <a:lvl1pPr marL="0" indent="0" algn="ctr">
              <a:buNone/>
              <a:defRPr>
                <a:latin typeface="M05 Text Office Bold" panose="020B0804040000000004" pitchFamily="34" charset="0"/>
              </a:defRPr>
            </a:lvl1pPr>
          </a:lstStyle>
          <a:p>
            <a:pPr lvl="0"/>
            <a:r>
              <a:rPr lang="de-DE"/>
              <a:t>Headline</a:t>
            </a:r>
          </a:p>
        </p:txBody>
      </p:sp>
      <p:sp>
        <p:nvSpPr>
          <p:cNvPr id="28" name="Textplatzhalter 36">
            <a:extLst>
              <a:ext uri="{FF2B5EF4-FFF2-40B4-BE49-F238E27FC236}">
                <a16:creationId xmlns:a16="http://schemas.microsoft.com/office/drawing/2014/main" id="{2E77B7A2-946A-455F-ABE5-6D22819FD0D1}"/>
              </a:ext>
            </a:extLst>
          </p:cNvPr>
          <p:cNvSpPr>
            <a:spLocks noGrp="1"/>
          </p:cNvSpPr>
          <p:nvPr>
            <p:ph type="body" sz="quarter" idx="17"/>
          </p:nvPr>
        </p:nvSpPr>
        <p:spPr>
          <a:xfrm>
            <a:off x="3803996" y="3596136"/>
            <a:ext cx="3098800" cy="2798314"/>
          </a:xfrm>
          <a:prstGeom prst="rect">
            <a:avLst/>
          </a:prstGeom>
        </p:spPr>
        <p:txBody>
          <a:bodyPr/>
          <a:lstStyle>
            <a:lvl1pPr>
              <a:defRPr sz="1400">
                <a:latin typeface="M05 Text Office" panose="020B0504040000000004" pitchFamily="34" charset="0"/>
              </a:defRPr>
            </a:lvl1pPr>
          </a:lstStyle>
          <a:p>
            <a:pPr lvl="0"/>
            <a:r>
              <a:rPr lang="de-DE"/>
              <a:t>Mastertextformat bearbeiten</a:t>
            </a:r>
          </a:p>
        </p:txBody>
      </p:sp>
      <p:sp>
        <p:nvSpPr>
          <p:cNvPr id="29" name="Textfeld 28">
            <a:extLst>
              <a:ext uri="{FF2B5EF4-FFF2-40B4-BE49-F238E27FC236}">
                <a16:creationId xmlns:a16="http://schemas.microsoft.com/office/drawing/2014/main" id="{0F46E198-5D31-429B-BFA1-10F5C504DA71}"/>
              </a:ext>
            </a:extLst>
          </p:cNvPr>
          <p:cNvSpPr txBox="1"/>
          <p:nvPr userDrawn="1"/>
        </p:nvSpPr>
        <p:spPr>
          <a:xfrm>
            <a:off x="7239426" y="3091248"/>
            <a:ext cx="3131756" cy="307777"/>
          </a:xfrm>
          <a:prstGeom prst="rect">
            <a:avLst/>
          </a:prstGeom>
          <a:noFill/>
          <a:ln>
            <a:solidFill>
              <a:schemeClr val="tx1"/>
            </a:solidFill>
          </a:ln>
        </p:spPr>
        <p:txBody>
          <a:bodyPr wrap="square" rtlCol="0">
            <a:spAutoFit/>
          </a:bodyPr>
          <a:lstStyle/>
          <a:p>
            <a:pPr algn="ctr"/>
            <a:endParaRPr lang="de-DE" sz="1400">
              <a:latin typeface="M05 Text Office Bold" panose="020B0804040000000004" pitchFamily="34" charset="0"/>
            </a:endParaRPr>
          </a:p>
        </p:txBody>
      </p:sp>
      <p:sp>
        <p:nvSpPr>
          <p:cNvPr id="30" name="Textplatzhalter 26">
            <a:extLst>
              <a:ext uri="{FF2B5EF4-FFF2-40B4-BE49-F238E27FC236}">
                <a16:creationId xmlns:a16="http://schemas.microsoft.com/office/drawing/2014/main" id="{D7CAF595-62B2-4CD4-9823-72CF7E3387A8}"/>
              </a:ext>
            </a:extLst>
          </p:cNvPr>
          <p:cNvSpPr>
            <a:spLocks noGrp="1"/>
          </p:cNvSpPr>
          <p:nvPr>
            <p:ph type="body" sz="quarter" idx="18" hasCustomPrompt="1"/>
          </p:nvPr>
        </p:nvSpPr>
        <p:spPr>
          <a:xfrm>
            <a:off x="7239425" y="3091339"/>
            <a:ext cx="3131757" cy="307975"/>
          </a:xfrm>
          <a:prstGeom prst="rect">
            <a:avLst/>
          </a:prstGeom>
        </p:spPr>
        <p:txBody>
          <a:bodyPr/>
          <a:lstStyle>
            <a:lvl1pPr marL="0" indent="0" algn="ctr">
              <a:buNone/>
              <a:defRPr>
                <a:latin typeface="M05 Text Office Bold" panose="020B0804040000000004" pitchFamily="34" charset="0"/>
              </a:defRPr>
            </a:lvl1pPr>
          </a:lstStyle>
          <a:p>
            <a:pPr lvl="0"/>
            <a:r>
              <a:rPr lang="de-DE"/>
              <a:t>Headline</a:t>
            </a:r>
          </a:p>
        </p:txBody>
      </p:sp>
      <p:sp>
        <p:nvSpPr>
          <p:cNvPr id="31" name="Textplatzhalter 36">
            <a:extLst>
              <a:ext uri="{FF2B5EF4-FFF2-40B4-BE49-F238E27FC236}">
                <a16:creationId xmlns:a16="http://schemas.microsoft.com/office/drawing/2014/main" id="{4B117A9D-63D4-4DAF-9258-11435AD9B827}"/>
              </a:ext>
            </a:extLst>
          </p:cNvPr>
          <p:cNvSpPr>
            <a:spLocks noGrp="1"/>
          </p:cNvSpPr>
          <p:nvPr>
            <p:ph type="body" sz="quarter" idx="19"/>
          </p:nvPr>
        </p:nvSpPr>
        <p:spPr>
          <a:xfrm>
            <a:off x="7246121" y="3596136"/>
            <a:ext cx="3131756" cy="2798314"/>
          </a:xfrm>
          <a:prstGeom prst="rect">
            <a:avLst/>
          </a:prstGeom>
        </p:spPr>
        <p:txBody>
          <a:bodyPr/>
          <a:lstStyle>
            <a:lvl1pPr>
              <a:defRPr sz="1400">
                <a:latin typeface="M05 Text Office" panose="020B0504040000000004" pitchFamily="34" charset="0"/>
              </a:defRPr>
            </a:lvl1pPr>
          </a:lstStyle>
          <a:p>
            <a:pPr lvl="0"/>
            <a:r>
              <a:rPr lang="de-DE"/>
              <a:t>Mastertextformat bearbeiten</a:t>
            </a:r>
          </a:p>
        </p:txBody>
      </p:sp>
    </p:spTree>
    <p:extLst>
      <p:ext uri="{BB962C8B-B14F-4D97-AF65-F5344CB8AC3E}">
        <p14:creationId xmlns:p14="http://schemas.microsoft.com/office/powerpoint/2010/main" val="40037832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Stufenplan">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837B619-2E58-4615-80C2-74DEBBD98F0C}"/>
              </a:ext>
            </a:extLst>
          </p:cNvPr>
          <p:cNvSpPr>
            <a:spLocks noGrp="1"/>
          </p:cNvSpPr>
          <p:nvPr>
            <p:ph type="sldNum" sz="quarter" idx="10"/>
          </p:nvPr>
        </p:nvSpPr>
        <p:spPr/>
        <p:txBody>
          <a:bodyPr/>
          <a:lstStyle>
            <a:lvl1pPr>
              <a:defRPr>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5" name="Titel 4">
            <a:extLst>
              <a:ext uri="{FF2B5EF4-FFF2-40B4-BE49-F238E27FC236}">
                <a16:creationId xmlns:a16="http://schemas.microsoft.com/office/drawing/2014/main" id="{0B4C79B8-5C2A-4F38-93C9-C1C4B52AA84E}"/>
              </a:ext>
            </a:extLst>
          </p:cNvPr>
          <p:cNvSpPr>
            <a:spLocks noGrp="1"/>
          </p:cNvSpPr>
          <p:nvPr>
            <p:ph type="title" hasCustomPrompt="1"/>
          </p:nvPr>
        </p:nvSpPr>
        <p:spPr/>
        <p:txBody>
          <a:bodyPr/>
          <a:lstStyle>
            <a:lvl1pPr>
              <a:defRPr>
                <a:latin typeface="M05 Text Office Bold" panose="020B0804040000000004" pitchFamily="34" charset="0"/>
              </a:defRPr>
            </a:lvl1pPr>
          </a:lstStyle>
          <a:p>
            <a:r>
              <a:rPr lang="de-DE"/>
              <a:t>MASTERTITELFORMAT BEARBEITEN</a:t>
            </a:r>
          </a:p>
        </p:txBody>
      </p:sp>
      <p:sp>
        <p:nvSpPr>
          <p:cNvPr id="4" name="Textfeld 3">
            <a:extLst>
              <a:ext uri="{FF2B5EF4-FFF2-40B4-BE49-F238E27FC236}">
                <a16:creationId xmlns:a16="http://schemas.microsoft.com/office/drawing/2014/main" id="{01D318EF-3463-4BEB-8A7A-B3E57845E40B}"/>
              </a:ext>
            </a:extLst>
          </p:cNvPr>
          <p:cNvSpPr txBox="1"/>
          <p:nvPr userDrawn="1"/>
        </p:nvSpPr>
        <p:spPr>
          <a:xfrm>
            <a:off x="330201" y="3292384"/>
            <a:ext cx="2209801" cy="307777"/>
          </a:xfrm>
          <a:prstGeom prst="rect">
            <a:avLst/>
          </a:prstGeom>
          <a:noFill/>
          <a:ln>
            <a:solidFill>
              <a:schemeClr val="tx1"/>
            </a:solidFill>
          </a:ln>
        </p:spPr>
        <p:txBody>
          <a:bodyPr wrap="square" rtlCol="0">
            <a:spAutoFit/>
          </a:bodyPr>
          <a:lstStyle/>
          <a:p>
            <a:pPr algn="ctr"/>
            <a:endParaRPr lang="de-DE" sz="1400">
              <a:latin typeface="M05 Text Office Bold" panose="020B0804040000000004" pitchFamily="34" charset="0"/>
            </a:endParaRPr>
          </a:p>
        </p:txBody>
      </p:sp>
      <p:grpSp>
        <p:nvGrpSpPr>
          <p:cNvPr id="12" name="Gruppieren 11">
            <a:extLst>
              <a:ext uri="{FF2B5EF4-FFF2-40B4-BE49-F238E27FC236}">
                <a16:creationId xmlns:a16="http://schemas.microsoft.com/office/drawing/2014/main" id="{B1914AD7-FBFD-4950-B049-2C74B0D7F93C}"/>
              </a:ext>
            </a:extLst>
          </p:cNvPr>
          <p:cNvGrpSpPr/>
          <p:nvPr userDrawn="1"/>
        </p:nvGrpSpPr>
        <p:grpSpPr>
          <a:xfrm>
            <a:off x="330203" y="1461316"/>
            <a:ext cx="2209800" cy="1647358"/>
            <a:chOff x="330201" y="1252151"/>
            <a:chExt cx="2209800" cy="1647358"/>
          </a:xfrm>
        </p:grpSpPr>
        <p:sp>
          <p:nvSpPr>
            <p:cNvPr id="13" name="Rechteck 12">
              <a:extLst>
                <a:ext uri="{FF2B5EF4-FFF2-40B4-BE49-F238E27FC236}">
                  <a16:creationId xmlns:a16="http://schemas.microsoft.com/office/drawing/2014/main" id="{D0811B1E-9D5E-452C-92EF-230FCD3F9298}"/>
                </a:ext>
              </a:extLst>
            </p:cNvPr>
            <p:cNvSpPr/>
            <p:nvPr/>
          </p:nvSpPr>
          <p:spPr>
            <a:xfrm>
              <a:off x="330201" y="1252151"/>
              <a:ext cx="2209800" cy="16473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400">
                  <a:solidFill>
                    <a:schemeClr val="tx1"/>
                  </a:solidFill>
                  <a:latin typeface="M05 Text Office Light" panose="020B0404040000000004" pitchFamily="34" charset="0"/>
                </a:rPr>
                <a:t>1</a:t>
              </a:r>
            </a:p>
          </p:txBody>
        </p:sp>
        <p:sp>
          <p:nvSpPr>
            <p:cNvPr id="14" name="Ellipse 13">
              <a:extLst>
                <a:ext uri="{FF2B5EF4-FFF2-40B4-BE49-F238E27FC236}">
                  <a16:creationId xmlns:a16="http://schemas.microsoft.com/office/drawing/2014/main" id="{26543861-DFCB-4902-BAC0-A2D16AAC86E8}"/>
                </a:ext>
              </a:extLst>
            </p:cNvPr>
            <p:cNvSpPr/>
            <p:nvPr/>
          </p:nvSpPr>
          <p:spPr>
            <a:xfrm>
              <a:off x="917895" y="1603084"/>
              <a:ext cx="1034408" cy="1008011"/>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5" name="Gruppieren 14">
            <a:extLst>
              <a:ext uri="{FF2B5EF4-FFF2-40B4-BE49-F238E27FC236}">
                <a16:creationId xmlns:a16="http://schemas.microsoft.com/office/drawing/2014/main" id="{D0E09D03-0FF5-4E0A-AEB4-99E658BF7DEC}"/>
              </a:ext>
            </a:extLst>
          </p:cNvPr>
          <p:cNvGrpSpPr/>
          <p:nvPr userDrawn="1"/>
        </p:nvGrpSpPr>
        <p:grpSpPr>
          <a:xfrm>
            <a:off x="2905370" y="1461315"/>
            <a:ext cx="2209800" cy="1647358"/>
            <a:chOff x="330201" y="1252151"/>
            <a:chExt cx="2209800" cy="1647358"/>
          </a:xfrm>
        </p:grpSpPr>
        <p:sp>
          <p:nvSpPr>
            <p:cNvPr id="16" name="Rechteck 15">
              <a:extLst>
                <a:ext uri="{FF2B5EF4-FFF2-40B4-BE49-F238E27FC236}">
                  <a16:creationId xmlns:a16="http://schemas.microsoft.com/office/drawing/2014/main" id="{33AC5933-9B98-48A5-99D0-EB46D1F07039}"/>
                </a:ext>
              </a:extLst>
            </p:cNvPr>
            <p:cNvSpPr/>
            <p:nvPr/>
          </p:nvSpPr>
          <p:spPr>
            <a:xfrm>
              <a:off x="330201" y="1252151"/>
              <a:ext cx="2209800" cy="16473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400">
                  <a:solidFill>
                    <a:schemeClr val="tx1"/>
                  </a:solidFill>
                  <a:latin typeface="M05 Text Office Light" panose="020B0404040000000004" pitchFamily="34" charset="0"/>
                </a:rPr>
                <a:t>2</a:t>
              </a:r>
            </a:p>
          </p:txBody>
        </p:sp>
        <p:sp>
          <p:nvSpPr>
            <p:cNvPr id="17" name="Ellipse 16">
              <a:extLst>
                <a:ext uri="{FF2B5EF4-FFF2-40B4-BE49-F238E27FC236}">
                  <a16:creationId xmlns:a16="http://schemas.microsoft.com/office/drawing/2014/main" id="{C348CD4D-D74C-4606-9189-82B1B840116D}"/>
                </a:ext>
              </a:extLst>
            </p:cNvPr>
            <p:cNvSpPr/>
            <p:nvPr/>
          </p:nvSpPr>
          <p:spPr>
            <a:xfrm>
              <a:off x="917895" y="1603084"/>
              <a:ext cx="1034408" cy="1008011"/>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8" name="Gruppieren 17">
            <a:extLst>
              <a:ext uri="{FF2B5EF4-FFF2-40B4-BE49-F238E27FC236}">
                <a16:creationId xmlns:a16="http://schemas.microsoft.com/office/drawing/2014/main" id="{87E1582F-19B8-4564-81C4-2E43D7259B4C}"/>
              </a:ext>
            </a:extLst>
          </p:cNvPr>
          <p:cNvGrpSpPr/>
          <p:nvPr userDrawn="1"/>
        </p:nvGrpSpPr>
        <p:grpSpPr>
          <a:xfrm>
            <a:off x="5489489" y="1461315"/>
            <a:ext cx="2209800" cy="1647358"/>
            <a:chOff x="330201" y="1252151"/>
            <a:chExt cx="2209800" cy="1647358"/>
          </a:xfrm>
        </p:grpSpPr>
        <p:sp>
          <p:nvSpPr>
            <p:cNvPr id="19" name="Rechteck 18">
              <a:extLst>
                <a:ext uri="{FF2B5EF4-FFF2-40B4-BE49-F238E27FC236}">
                  <a16:creationId xmlns:a16="http://schemas.microsoft.com/office/drawing/2014/main" id="{8B477959-F3D9-4466-B2A1-A29F99C73D9F}"/>
                </a:ext>
              </a:extLst>
            </p:cNvPr>
            <p:cNvSpPr/>
            <p:nvPr/>
          </p:nvSpPr>
          <p:spPr>
            <a:xfrm>
              <a:off x="330201" y="1252151"/>
              <a:ext cx="2209800" cy="16473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400">
                  <a:solidFill>
                    <a:schemeClr val="tx1"/>
                  </a:solidFill>
                  <a:latin typeface="M05 Text Office Light" panose="020B0404040000000004" pitchFamily="34" charset="0"/>
                </a:rPr>
                <a:t>3</a:t>
              </a:r>
            </a:p>
          </p:txBody>
        </p:sp>
        <p:sp>
          <p:nvSpPr>
            <p:cNvPr id="20" name="Ellipse 19">
              <a:extLst>
                <a:ext uri="{FF2B5EF4-FFF2-40B4-BE49-F238E27FC236}">
                  <a16:creationId xmlns:a16="http://schemas.microsoft.com/office/drawing/2014/main" id="{35012F55-D7EF-47DB-8645-335E5C2A58D9}"/>
                </a:ext>
              </a:extLst>
            </p:cNvPr>
            <p:cNvSpPr/>
            <p:nvPr/>
          </p:nvSpPr>
          <p:spPr>
            <a:xfrm>
              <a:off x="917895" y="1603084"/>
              <a:ext cx="1034408" cy="1008011"/>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1" name="Gruppieren 20">
            <a:extLst>
              <a:ext uri="{FF2B5EF4-FFF2-40B4-BE49-F238E27FC236}">
                <a16:creationId xmlns:a16="http://schemas.microsoft.com/office/drawing/2014/main" id="{797B0D71-FDAC-4C08-AF34-03896267F52E}"/>
              </a:ext>
            </a:extLst>
          </p:cNvPr>
          <p:cNvGrpSpPr/>
          <p:nvPr userDrawn="1"/>
        </p:nvGrpSpPr>
        <p:grpSpPr>
          <a:xfrm>
            <a:off x="8073608" y="1461315"/>
            <a:ext cx="2209800" cy="1647358"/>
            <a:chOff x="330201" y="1252151"/>
            <a:chExt cx="2209800" cy="1647358"/>
          </a:xfrm>
        </p:grpSpPr>
        <p:sp>
          <p:nvSpPr>
            <p:cNvPr id="22" name="Rechteck 21">
              <a:extLst>
                <a:ext uri="{FF2B5EF4-FFF2-40B4-BE49-F238E27FC236}">
                  <a16:creationId xmlns:a16="http://schemas.microsoft.com/office/drawing/2014/main" id="{1C7893AE-0C77-4DC4-82F5-F8A5FF7B4116}"/>
                </a:ext>
              </a:extLst>
            </p:cNvPr>
            <p:cNvSpPr/>
            <p:nvPr/>
          </p:nvSpPr>
          <p:spPr>
            <a:xfrm>
              <a:off x="330201" y="1252151"/>
              <a:ext cx="2209800" cy="16473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400">
                  <a:solidFill>
                    <a:schemeClr val="tx1"/>
                  </a:solidFill>
                  <a:latin typeface="M05 Text Office Light" panose="020B0404040000000004" pitchFamily="34" charset="0"/>
                </a:rPr>
                <a:t>4</a:t>
              </a:r>
            </a:p>
          </p:txBody>
        </p:sp>
        <p:sp>
          <p:nvSpPr>
            <p:cNvPr id="23" name="Ellipse 22">
              <a:extLst>
                <a:ext uri="{FF2B5EF4-FFF2-40B4-BE49-F238E27FC236}">
                  <a16:creationId xmlns:a16="http://schemas.microsoft.com/office/drawing/2014/main" id="{2E1F973B-45F2-4EE3-AA29-CCA61384FAB4}"/>
                </a:ext>
              </a:extLst>
            </p:cNvPr>
            <p:cNvSpPr/>
            <p:nvPr/>
          </p:nvSpPr>
          <p:spPr>
            <a:xfrm>
              <a:off x="917895" y="1603084"/>
              <a:ext cx="1034408" cy="1008011"/>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24" name="Grafik 23" descr="Chevronpfeile">
            <a:extLst>
              <a:ext uri="{FF2B5EF4-FFF2-40B4-BE49-F238E27FC236}">
                <a16:creationId xmlns:a16="http://schemas.microsoft.com/office/drawing/2014/main" id="{A071C42C-B9B9-4FE7-B217-EE0C4CEF6CA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05955" y="1858384"/>
            <a:ext cx="853219" cy="853219"/>
          </a:xfrm>
          <a:prstGeom prst="rect">
            <a:avLst/>
          </a:prstGeom>
        </p:spPr>
      </p:pic>
      <p:sp>
        <p:nvSpPr>
          <p:cNvPr id="27" name="Textplatzhalter 26">
            <a:extLst>
              <a:ext uri="{FF2B5EF4-FFF2-40B4-BE49-F238E27FC236}">
                <a16:creationId xmlns:a16="http://schemas.microsoft.com/office/drawing/2014/main" id="{27A42C05-F726-44E7-BD37-49DA5CF59658}"/>
              </a:ext>
            </a:extLst>
          </p:cNvPr>
          <p:cNvSpPr>
            <a:spLocks noGrp="1"/>
          </p:cNvSpPr>
          <p:nvPr>
            <p:ph type="body" sz="quarter" idx="11" hasCustomPrompt="1"/>
          </p:nvPr>
        </p:nvSpPr>
        <p:spPr>
          <a:xfrm>
            <a:off x="330200" y="3292475"/>
            <a:ext cx="2205038" cy="307975"/>
          </a:xfrm>
          <a:prstGeom prst="rect">
            <a:avLst/>
          </a:prstGeom>
        </p:spPr>
        <p:txBody>
          <a:bodyPr/>
          <a:lstStyle>
            <a:lvl1pPr marL="0" indent="0" algn="ctr">
              <a:buNone/>
              <a:defRPr>
                <a:latin typeface="M05 Text Office Bold" panose="020B0804040000000004" pitchFamily="34" charset="0"/>
              </a:defRPr>
            </a:lvl1pPr>
          </a:lstStyle>
          <a:p>
            <a:pPr lvl="0"/>
            <a:r>
              <a:rPr lang="de-DE"/>
              <a:t>Headline</a:t>
            </a:r>
          </a:p>
        </p:txBody>
      </p:sp>
      <p:sp>
        <p:nvSpPr>
          <p:cNvPr id="30" name="Textfeld 29">
            <a:extLst>
              <a:ext uri="{FF2B5EF4-FFF2-40B4-BE49-F238E27FC236}">
                <a16:creationId xmlns:a16="http://schemas.microsoft.com/office/drawing/2014/main" id="{1E092533-602A-47EF-96B9-A43482B09F6E}"/>
              </a:ext>
            </a:extLst>
          </p:cNvPr>
          <p:cNvSpPr txBox="1"/>
          <p:nvPr userDrawn="1"/>
        </p:nvSpPr>
        <p:spPr>
          <a:xfrm>
            <a:off x="2910133" y="3292095"/>
            <a:ext cx="2209801" cy="307777"/>
          </a:xfrm>
          <a:prstGeom prst="rect">
            <a:avLst/>
          </a:prstGeom>
          <a:noFill/>
          <a:ln>
            <a:solidFill>
              <a:schemeClr val="tx1"/>
            </a:solidFill>
          </a:ln>
        </p:spPr>
        <p:txBody>
          <a:bodyPr wrap="square" rtlCol="0">
            <a:spAutoFit/>
          </a:bodyPr>
          <a:lstStyle/>
          <a:p>
            <a:pPr algn="ctr"/>
            <a:endParaRPr lang="de-DE" sz="1400">
              <a:latin typeface="M05 Text Office Bold" panose="020B0804040000000004" pitchFamily="34" charset="0"/>
            </a:endParaRPr>
          </a:p>
        </p:txBody>
      </p:sp>
      <p:sp>
        <p:nvSpPr>
          <p:cNvPr id="31" name="Textplatzhalter 26">
            <a:extLst>
              <a:ext uri="{FF2B5EF4-FFF2-40B4-BE49-F238E27FC236}">
                <a16:creationId xmlns:a16="http://schemas.microsoft.com/office/drawing/2014/main" id="{E33E7027-BA98-4C7E-B4DE-9667E942C7CD}"/>
              </a:ext>
            </a:extLst>
          </p:cNvPr>
          <p:cNvSpPr>
            <a:spLocks noGrp="1"/>
          </p:cNvSpPr>
          <p:nvPr>
            <p:ph type="body" sz="quarter" idx="12" hasCustomPrompt="1"/>
          </p:nvPr>
        </p:nvSpPr>
        <p:spPr>
          <a:xfrm>
            <a:off x="2910132" y="3292186"/>
            <a:ext cx="2205038" cy="307975"/>
          </a:xfrm>
          <a:prstGeom prst="rect">
            <a:avLst/>
          </a:prstGeom>
        </p:spPr>
        <p:txBody>
          <a:bodyPr/>
          <a:lstStyle>
            <a:lvl1pPr marL="0" indent="0" algn="ctr">
              <a:buNone/>
              <a:defRPr>
                <a:latin typeface="M05 Text Office Bold" panose="020B0804040000000004" pitchFamily="34" charset="0"/>
              </a:defRPr>
            </a:lvl1pPr>
          </a:lstStyle>
          <a:p>
            <a:pPr lvl="0"/>
            <a:r>
              <a:rPr lang="de-DE"/>
              <a:t>Headline</a:t>
            </a:r>
          </a:p>
        </p:txBody>
      </p:sp>
      <p:sp>
        <p:nvSpPr>
          <p:cNvPr id="32" name="Textfeld 31">
            <a:extLst>
              <a:ext uri="{FF2B5EF4-FFF2-40B4-BE49-F238E27FC236}">
                <a16:creationId xmlns:a16="http://schemas.microsoft.com/office/drawing/2014/main" id="{F2478437-E430-4015-933E-5E2F90A3F419}"/>
              </a:ext>
            </a:extLst>
          </p:cNvPr>
          <p:cNvSpPr txBox="1"/>
          <p:nvPr userDrawn="1"/>
        </p:nvSpPr>
        <p:spPr>
          <a:xfrm>
            <a:off x="5484726" y="3291806"/>
            <a:ext cx="2209801" cy="307777"/>
          </a:xfrm>
          <a:prstGeom prst="rect">
            <a:avLst/>
          </a:prstGeom>
          <a:noFill/>
          <a:ln>
            <a:solidFill>
              <a:schemeClr val="tx1"/>
            </a:solidFill>
          </a:ln>
        </p:spPr>
        <p:txBody>
          <a:bodyPr wrap="square" rtlCol="0">
            <a:spAutoFit/>
          </a:bodyPr>
          <a:lstStyle/>
          <a:p>
            <a:pPr algn="ctr"/>
            <a:endParaRPr lang="de-DE" sz="1400">
              <a:latin typeface="M05 Text Office Bold" panose="020B0804040000000004" pitchFamily="34" charset="0"/>
            </a:endParaRPr>
          </a:p>
        </p:txBody>
      </p:sp>
      <p:sp>
        <p:nvSpPr>
          <p:cNvPr id="33" name="Textplatzhalter 26">
            <a:extLst>
              <a:ext uri="{FF2B5EF4-FFF2-40B4-BE49-F238E27FC236}">
                <a16:creationId xmlns:a16="http://schemas.microsoft.com/office/drawing/2014/main" id="{E3AAD09A-6C62-4B45-8CB4-9314C95F7EBB}"/>
              </a:ext>
            </a:extLst>
          </p:cNvPr>
          <p:cNvSpPr>
            <a:spLocks noGrp="1"/>
          </p:cNvSpPr>
          <p:nvPr>
            <p:ph type="body" sz="quarter" idx="13" hasCustomPrompt="1"/>
          </p:nvPr>
        </p:nvSpPr>
        <p:spPr>
          <a:xfrm>
            <a:off x="5484725" y="3291897"/>
            <a:ext cx="2205038" cy="307975"/>
          </a:xfrm>
          <a:prstGeom prst="rect">
            <a:avLst/>
          </a:prstGeom>
        </p:spPr>
        <p:txBody>
          <a:bodyPr/>
          <a:lstStyle>
            <a:lvl1pPr marL="0" indent="0" algn="ctr">
              <a:buNone/>
              <a:defRPr>
                <a:latin typeface="M05 Text Office Bold" panose="020B0804040000000004" pitchFamily="34" charset="0"/>
              </a:defRPr>
            </a:lvl1pPr>
          </a:lstStyle>
          <a:p>
            <a:pPr lvl="0"/>
            <a:r>
              <a:rPr lang="de-DE"/>
              <a:t>Headline</a:t>
            </a:r>
          </a:p>
        </p:txBody>
      </p:sp>
      <p:sp>
        <p:nvSpPr>
          <p:cNvPr id="34" name="Textfeld 33">
            <a:extLst>
              <a:ext uri="{FF2B5EF4-FFF2-40B4-BE49-F238E27FC236}">
                <a16:creationId xmlns:a16="http://schemas.microsoft.com/office/drawing/2014/main" id="{1CD856F7-FF2B-45FC-9A43-6ADEC818735B}"/>
              </a:ext>
            </a:extLst>
          </p:cNvPr>
          <p:cNvSpPr txBox="1"/>
          <p:nvPr userDrawn="1"/>
        </p:nvSpPr>
        <p:spPr>
          <a:xfrm>
            <a:off x="8069422" y="3291715"/>
            <a:ext cx="2209801" cy="307777"/>
          </a:xfrm>
          <a:prstGeom prst="rect">
            <a:avLst/>
          </a:prstGeom>
          <a:noFill/>
          <a:ln>
            <a:solidFill>
              <a:schemeClr val="tx1"/>
            </a:solidFill>
          </a:ln>
        </p:spPr>
        <p:txBody>
          <a:bodyPr wrap="square" rtlCol="0">
            <a:spAutoFit/>
          </a:bodyPr>
          <a:lstStyle/>
          <a:p>
            <a:pPr algn="ctr"/>
            <a:endParaRPr lang="de-DE" sz="1400">
              <a:latin typeface="M05 Text Office Bold" panose="020B0804040000000004" pitchFamily="34" charset="0"/>
            </a:endParaRPr>
          </a:p>
        </p:txBody>
      </p:sp>
      <p:sp>
        <p:nvSpPr>
          <p:cNvPr id="35" name="Textplatzhalter 26">
            <a:extLst>
              <a:ext uri="{FF2B5EF4-FFF2-40B4-BE49-F238E27FC236}">
                <a16:creationId xmlns:a16="http://schemas.microsoft.com/office/drawing/2014/main" id="{67EA23EF-4EFB-4598-9BB1-E7A4093C8299}"/>
              </a:ext>
            </a:extLst>
          </p:cNvPr>
          <p:cNvSpPr>
            <a:spLocks noGrp="1"/>
          </p:cNvSpPr>
          <p:nvPr>
            <p:ph type="body" sz="quarter" idx="14" hasCustomPrompt="1"/>
          </p:nvPr>
        </p:nvSpPr>
        <p:spPr>
          <a:xfrm>
            <a:off x="8069421" y="3291806"/>
            <a:ext cx="2205038" cy="307975"/>
          </a:xfrm>
          <a:prstGeom prst="rect">
            <a:avLst/>
          </a:prstGeom>
        </p:spPr>
        <p:txBody>
          <a:bodyPr/>
          <a:lstStyle>
            <a:lvl1pPr marL="0" indent="0" algn="ctr">
              <a:buNone/>
              <a:defRPr>
                <a:latin typeface="M05 Text Office Bold" panose="020B0804040000000004" pitchFamily="34" charset="0"/>
              </a:defRPr>
            </a:lvl1pPr>
          </a:lstStyle>
          <a:p>
            <a:pPr lvl="0"/>
            <a:r>
              <a:rPr lang="de-DE"/>
              <a:t>Headline</a:t>
            </a:r>
          </a:p>
        </p:txBody>
      </p:sp>
      <p:sp>
        <p:nvSpPr>
          <p:cNvPr id="37" name="Textplatzhalter 36">
            <a:extLst>
              <a:ext uri="{FF2B5EF4-FFF2-40B4-BE49-F238E27FC236}">
                <a16:creationId xmlns:a16="http://schemas.microsoft.com/office/drawing/2014/main" id="{9FB7CB49-A766-494C-A5B6-9D7F31B7CE4E}"/>
              </a:ext>
            </a:extLst>
          </p:cNvPr>
          <p:cNvSpPr>
            <a:spLocks noGrp="1"/>
          </p:cNvSpPr>
          <p:nvPr>
            <p:ph type="body" sz="quarter" idx="15"/>
          </p:nvPr>
        </p:nvSpPr>
        <p:spPr>
          <a:xfrm>
            <a:off x="330200" y="3783872"/>
            <a:ext cx="2205038" cy="2610290"/>
          </a:xfrm>
          <a:prstGeom prst="rect">
            <a:avLst/>
          </a:prstGeom>
        </p:spPr>
        <p:txBody>
          <a:bodyPr/>
          <a:lstStyle>
            <a:lvl1pPr>
              <a:defRPr sz="1400">
                <a:latin typeface="M05 Text Office" panose="020B0504040000000004" pitchFamily="34" charset="0"/>
              </a:defRPr>
            </a:lvl1pPr>
          </a:lstStyle>
          <a:p>
            <a:pPr lvl="0"/>
            <a:r>
              <a:rPr lang="de-DE"/>
              <a:t>Mastertextformat bearbeiten</a:t>
            </a:r>
          </a:p>
        </p:txBody>
      </p:sp>
      <p:sp>
        <p:nvSpPr>
          <p:cNvPr id="38" name="Textplatzhalter 36">
            <a:extLst>
              <a:ext uri="{FF2B5EF4-FFF2-40B4-BE49-F238E27FC236}">
                <a16:creationId xmlns:a16="http://schemas.microsoft.com/office/drawing/2014/main" id="{E841D588-E04A-454D-A553-753283181A2C}"/>
              </a:ext>
            </a:extLst>
          </p:cNvPr>
          <p:cNvSpPr>
            <a:spLocks noGrp="1"/>
          </p:cNvSpPr>
          <p:nvPr>
            <p:ph type="body" sz="quarter" idx="16"/>
          </p:nvPr>
        </p:nvSpPr>
        <p:spPr>
          <a:xfrm>
            <a:off x="2905370" y="3783294"/>
            <a:ext cx="2205038" cy="2611155"/>
          </a:xfrm>
          <a:prstGeom prst="rect">
            <a:avLst/>
          </a:prstGeom>
        </p:spPr>
        <p:txBody>
          <a:bodyPr/>
          <a:lstStyle>
            <a:lvl1pPr>
              <a:defRPr sz="1400">
                <a:latin typeface="M05 Text Office" panose="020B0504040000000004" pitchFamily="34" charset="0"/>
              </a:defRPr>
            </a:lvl1pPr>
          </a:lstStyle>
          <a:p>
            <a:pPr lvl="0"/>
            <a:r>
              <a:rPr lang="de-DE"/>
              <a:t>Mastertextformat bearbeiten</a:t>
            </a:r>
          </a:p>
        </p:txBody>
      </p:sp>
      <p:sp>
        <p:nvSpPr>
          <p:cNvPr id="39" name="Textplatzhalter 36">
            <a:extLst>
              <a:ext uri="{FF2B5EF4-FFF2-40B4-BE49-F238E27FC236}">
                <a16:creationId xmlns:a16="http://schemas.microsoft.com/office/drawing/2014/main" id="{F8A0FF8B-C1D4-4809-B6A0-23ACF96BCA80}"/>
              </a:ext>
            </a:extLst>
          </p:cNvPr>
          <p:cNvSpPr>
            <a:spLocks noGrp="1"/>
          </p:cNvSpPr>
          <p:nvPr>
            <p:ph type="body" sz="quarter" idx="17"/>
          </p:nvPr>
        </p:nvSpPr>
        <p:spPr>
          <a:xfrm>
            <a:off x="5489489" y="3782717"/>
            <a:ext cx="2205038" cy="2611732"/>
          </a:xfrm>
          <a:prstGeom prst="rect">
            <a:avLst/>
          </a:prstGeom>
        </p:spPr>
        <p:txBody>
          <a:bodyPr/>
          <a:lstStyle>
            <a:lvl1pPr>
              <a:defRPr sz="1400">
                <a:latin typeface="M05 Text Office" panose="020B0504040000000004" pitchFamily="34" charset="0"/>
              </a:defRPr>
            </a:lvl1pPr>
          </a:lstStyle>
          <a:p>
            <a:pPr lvl="0"/>
            <a:r>
              <a:rPr lang="de-DE"/>
              <a:t>Mastertextformat bearbeiten</a:t>
            </a:r>
          </a:p>
        </p:txBody>
      </p:sp>
      <p:sp>
        <p:nvSpPr>
          <p:cNvPr id="40" name="Textplatzhalter 36">
            <a:extLst>
              <a:ext uri="{FF2B5EF4-FFF2-40B4-BE49-F238E27FC236}">
                <a16:creationId xmlns:a16="http://schemas.microsoft.com/office/drawing/2014/main" id="{C29BBC19-E69B-4216-9A96-1644330A2E2D}"/>
              </a:ext>
            </a:extLst>
          </p:cNvPr>
          <p:cNvSpPr>
            <a:spLocks noGrp="1"/>
          </p:cNvSpPr>
          <p:nvPr>
            <p:ph type="body" sz="quarter" idx="18"/>
          </p:nvPr>
        </p:nvSpPr>
        <p:spPr>
          <a:xfrm>
            <a:off x="8064659" y="3782430"/>
            <a:ext cx="2205038" cy="2611732"/>
          </a:xfrm>
          <a:prstGeom prst="rect">
            <a:avLst/>
          </a:prstGeom>
        </p:spPr>
        <p:txBody>
          <a:bodyPr/>
          <a:lstStyle>
            <a:lvl1pPr>
              <a:defRPr sz="1400">
                <a:latin typeface="M05 Text Office" panose="020B0504040000000004" pitchFamily="34" charset="0"/>
              </a:defRPr>
            </a:lvl1pPr>
          </a:lstStyle>
          <a:p>
            <a:pPr lvl="0"/>
            <a:r>
              <a:rPr lang="de-DE"/>
              <a:t>Mastertextformat bearbeiten</a:t>
            </a:r>
          </a:p>
        </p:txBody>
      </p:sp>
      <p:sp>
        <p:nvSpPr>
          <p:cNvPr id="41" name="Textplatzhalter 3">
            <a:extLst>
              <a:ext uri="{FF2B5EF4-FFF2-40B4-BE49-F238E27FC236}">
                <a16:creationId xmlns:a16="http://schemas.microsoft.com/office/drawing/2014/main" id="{C85F9C1A-7FDC-4946-B288-7B3F040A036B}"/>
              </a:ext>
            </a:extLst>
          </p:cNvPr>
          <p:cNvSpPr>
            <a:spLocks noGrp="1"/>
          </p:cNvSpPr>
          <p:nvPr>
            <p:ph type="body" sz="quarter" idx="19"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Tree>
    <p:extLst>
      <p:ext uri="{BB962C8B-B14F-4D97-AF65-F5344CB8AC3E}">
        <p14:creationId xmlns:p14="http://schemas.microsoft.com/office/powerpoint/2010/main" val="34972295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rozessbeschreibung, 3 Prozes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3" name="Rechteck: eine Ecke abgeschnitten 2">
            <a:extLst>
              <a:ext uri="{FF2B5EF4-FFF2-40B4-BE49-F238E27FC236}">
                <a16:creationId xmlns:a16="http://schemas.microsoft.com/office/drawing/2014/main" id="{6E2E21DD-B1E4-4561-99F8-BAEF12EEBDA2}"/>
              </a:ext>
            </a:extLst>
          </p:cNvPr>
          <p:cNvSpPr/>
          <p:nvPr userDrawn="1"/>
        </p:nvSpPr>
        <p:spPr>
          <a:xfrm flipV="1">
            <a:off x="327025" y="1795615"/>
            <a:ext cx="10728000" cy="609600"/>
          </a:xfrm>
          <a:prstGeom prst="snip1Rect">
            <a:avLst>
              <a:gd name="adj" fmla="val 2948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7">
            <a:extLst>
              <a:ext uri="{FF2B5EF4-FFF2-40B4-BE49-F238E27FC236}">
                <a16:creationId xmlns:a16="http://schemas.microsoft.com/office/drawing/2014/main" id="{87C03B4E-04B6-4863-BD7A-28D834C8AB27}"/>
              </a:ext>
            </a:extLst>
          </p:cNvPr>
          <p:cNvSpPr>
            <a:spLocks noGrp="1"/>
          </p:cNvSpPr>
          <p:nvPr>
            <p:ph type="body" sz="quarter" idx="14" hasCustomPrompt="1"/>
          </p:nvPr>
        </p:nvSpPr>
        <p:spPr>
          <a:xfrm>
            <a:off x="327025" y="1795615"/>
            <a:ext cx="10528544" cy="609600"/>
          </a:xfrm>
          <a:prstGeom prst="rect">
            <a:avLst/>
          </a:prstGeom>
        </p:spPr>
        <p:txBody>
          <a:bodyPr anchor="ctr"/>
          <a:lstStyle>
            <a:lvl1pPr marL="0" indent="0" algn="ctr">
              <a:buNone/>
              <a:defRPr sz="2400">
                <a:latin typeface="M05 Text Office Bold" panose="020B0804040000000004" pitchFamily="34" charset="0"/>
              </a:defRPr>
            </a:lvl1pPr>
          </a:lstStyle>
          <a:p>
            <a:pPr lvl="0"/>
            <a:r>
              <a:rPr lang="de-DE"/>
              <a:t>PROZESS</a:t>
            </a:r>
          </a:p>
        </p:txBody>
      </p:sp>
      <p:sp>
        <p:nvSpPr>
          <p:cNvPr id="10" name="Rechteck: eine Ecke abgeschnitten 9">
            <a:extLst>
              <a:ext uri="{FF2B5EF4-FFF2-40B4-BE49-F238E27FC236}">
                <a16:creationId xmlns:a16="http://schemas.microsoft.com/office/drawing/2014/main" id="{F352DB91-6CD7-48B9-9918-0A7D77479D2A}"/>
              </a:ext>
            </a:extLst>
          </p:cNvPr>
          <p:cNvSpPr/>
          <p:nvPr userDrawn="1"/>
        </p:nvSpPr>
        <p:spPr>
          <a:xfrm flipV="1">
            <a:off x="327025" y="2496727"/>
            <a:ext cx="10728000" cy="758558"/>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eine Ecke abgeschnitten 10">
            <a:extLst>
              <a:ext uri="{FF2B5EF4-FFF2-40B4-BE49-F238E27FC236}">
                <a16:creationId xmlns:a16="http://schemas.microsoft.com/office/drawing/2014/main" id="{32948C22-DBDA-4D83-81D5-8F4026113627}"/>
              </a:ext>
            </a:extLst>
          </p:cNvPr>
          <p:cNvSpPr/>
          <p:nvPr userDrawn="1"/>
        </p:nvSpPr>
        <p:spPr>
          <a:xfrm flipV="1">
            <a:off x="327025" y="3841501"/>
            <a:ext cx="10728000" cy="758558"/>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eine Ecke abgeschnitten 11">
            <a:extLst>
              <a:ext uri="{FF2B5EF4-FFF2-40B4-BE49-F238E27FC236}">
                <a16:creationId xmlns:a16="http://schemas.microsoft.com/office/drawing/2014/main" id="{2EEE2BE7-A67F-4CC4-9918-6375B880A1F8}"/>
              </a:ext>
            </a:extLst>
          </p:cNvPr>
          <p:cNvSpPr/>
          <p:nvPr userDrawn="1"/>
        </p:nvSpPr>
        <p:spPr>
          <a:xfrm flipV="1">
            <a:off x="327025" y="5117975"/>
            <a:ext cx="10728000" cy="758558"/>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Chevron 12">
            <a:extLst>
              <a:ext uri="{FF2B5EF4-FFF2-40B4-BE49-F238E27FC236}">
                <a16:creationId xmlns:a16="http://schemas.microsoft.com/office/drawing/2014/main" id="{DD324EC5-B801-4933-A16E-AE253A17A737}"/>
              </a:ext>
            </a:extLst>
          </p:cNvPr>
          <p:cNvSpPr/>
          <p:nvPr userDrawn="1"/>
        </p:nvSpPr>
        <p:spPr>
          <a:xfrm rot="5400000">
            <a:off x="5569476" y="3118420"/>
            <a:ext cx="243097" cy="685150"/>
          </a:xfrm>
          <a:prstGeom prst="chevron">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4" name="Pfeil: Chevron 13">
            <a:extLst>
              <a:ext uri="{FF2B5EF4-FFF2-40B4-BE49-F238E27FC236}">
                <a16:creationId xmlns:a16="http://schemas.microsoft.com/office/drawing/2014/main" id="{365FEF08-4C8D-4A49-A059-AB4D3AA2D336}"/>
              </a:ext>
            </a:extLst>
          </p:cNvPr>
          <p:cNvSpPr/>
          <p:nvPr userDrawn="1"/>
        </p:nvSpPr>
        <p:spPr>
          <a:xfrm rot="5400000">
            <a:off x="5569475" y="3324130"/>
            <a:ext cx="243097" cy="685150"/>
          </a:xfrm>
          <a:prstGeom prst="chevron">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5" name="Pfeil: Chevron 14">
            <a:extLst>
              <a:ext uri="{FF2B5EF4-FFF2-40B4-BE49-F238E27FC236}">
                <a16:creationId xmlns:a16="http://schemas.microsoft.com/office/drawing/2014/main" id="{702C8156-2A8C-4C7D-82B6-B5794195A791}"/>
              </a:ext>
            </a:extLst>
          </p:cNvPr>
          <p:cNvSpPr/>
          <p:nvPr userDrawn="1"/>
        </p:nvSpPr>
        <p:spPr>
          <a:xfrm rot="5400000">
            <a:off x="5569476" y="4412981"/>
            <a:ext cx="243097" cy="685150"/>
          </a:xfrm>
          <a:prstGeom prst="chevron">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 name="Pfeil: Chevron 15">
            <a:extLst>
              <a:ext uri="{FF2B5EF4-FFF2-40B4-BE49-F238E27FC236}">
                <a16:creationId xmlns:a16="http://schemas.microsoft.com/office/drawing/2014/main" id="{57709B75-E141-4F41-BD64-A827A2A439E1}"/>
              </a:ext>
            </a:extLst>
          </p:cNvPr>
          <p:cNvSpPr/>
          <p:nvPr userDrawn="1"/>
        </p:nvSpPr>
        <p:spPr>
          <a:xfrm rot="5400000">
            <a:off x="5569475" y="4618691"/>
            <a:ext cx="243097" cy="685150"/>
          </a:xfrm>
          <a:prstGeom prst="chevron">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8" name="Textplatzhalter 7">
            <a:extLst>
              <a:ext uri="{FF2B5EF4-FFF2-40B4-BE49-F238E27FC236}">
                <a16:creationId xmlns:a16="http://schemas.microsoft.com/office/drawing/2014/main" id="{37E5B66E-6756-408E-9C8B-D9CBADD211B3}"/>
              </a:ext>
            </a:extLst>
          </p:cNvPr>
          <p:cNvSpPr>
            <a:spLocks noGrp="1"/>
          </p:cNvSpPr>
          <p:nvPr>
            <p:ph type="body" sz="quarter" idx="15" hasCustomPrompt="1"/>
          </p:nvPr>
        </p:nvSpPr>
        <p:spPr>
          <a:xfrm>
            <a:off x="327025" y="2496726"/>
            <a:ext cx="10528544" cy="758557"/>
          </a:xfrm>
          <a:prstGeom prst="rect">
            <a:avLst/>
          </a:prstGeom>
        </p:spPr>
        <p:txBody>
          <a:bodyPr anchor="ctr"/>
          <a:lstStyle>
            <a:lvl1pPr marL="0" indent="0" algn="ctr">
              <a:buNone/>
              <a:defRPr sz="2000">
                <a:latin typeface="+mn-lt"/>
              </a:defRPr>
            </a:lvl1pPr>
          </a:lstStyle>
          <a:p>
            <a:pPr lvl="0"/>
            <a:r>
              <a:rPr lang="de-DE"/>
              <a:t>LOREM IPSUM DOLOR SIT</a:t>
            </a:r>
          </a:p>
        </p:txBody>
      </p:sp>
      <p:sp>
        <p:nvSpPr>
          <p:cNvPr id="19" name="Textplatzhalter 7">
            <a:extLst>
              <a:ext uri="{FF2B5EF4-FFF2-40B4-BE49-F238E27FC236}">
                <a16:creationId xmlns:a16="http://schemas.microsoft.com/office/drawing/2014/main" id="{19B3B951-40C8-4C2E-ADA6-4CCF8F94914A}"/>
              </a:ext>
            </a:extLst>
          </p:cNvPr>
          <p:cNvSpPr>
            <a:spLocks noGrp="1"/>
          </p:cNvSpPr>
          <p:nvPr>
            <p:ph type="body" sz="quarter" idx="16" hasCustomPrompt="1"/>
          </p:nvPr>
        </p:nvSpPr>
        <p:spPr>
          <a:xfrm>
            <a:off x="327025" y="3846152"/>
            <a:ext cx="10528544" cy="758557"/>
          </a:xfrm>
          <a:prstGeom prst="rect">
            <a:avLst/>
          </a:prstGeom>
        </p:spPr>
        <p:txBody>
          <a:bodyPr anchor="ctr"/>
          <a:lstStyle>
            <a:lvl1pPr marL="0" indent="0" algn="ctr">
              <a:buNone/>
              <a:defRPr sz="2000">
                <a:latin typeface="+mn-lt"/>
              </a:defRPr>
            </a:lvl1pPr>
          </a:lstStyle>
          <a:p>
            <a:pPr lvl="0"/>
            <a:r>
              <a:rPr lang="de-DE"/>
              <a:t>LOREM IPSUM DOLOR SIT</a:t>
            </a:r>
          </a:p>
        </p:txBody>
      </p:sp>
      <p:sp>
        <p:nvSpPr>
          <p:cNvPr id="20" name="Textplatzhalter 7">
            <a:extLst>
              <a:ext uri="{FF2B5EF4-FFF2-40B4-BE49-F238E27FC236}">
                <a16:creationId xmlns:a16="http://schemas.microsoft.com/office/drawing/2014/main" id="{41B26F02-F816-426F-82B4-83AB392D5CD7}"/>
              </a:ext>
            </a:extLst>
          </p:cNvPr>
          <p:cNvSpPr>
            <a:spLocks noGrp="1"/>
          </p:cNvSpPr>
          <p:nvPr>
            <p:ph type="body" sz="quarter" idx="17" hasCustomPrompt="1"/>
          </p:nvPr>
        </p:nvSpPr>
        <p:spPr>
          <a:xfrm>
            <a:off x="327025" y="5112113"/>
            <a:ext cx="10528544" cy="758557"/>
          </a:xfrm>
          <a:prstGeom prst="rect">
            <a:avLst/>
          </a:prstGeom>
        </p:spPr>
        <p:txBody>
          <a:bodyPr anchor="ctr"/>
          <a:lstStyle>
            <a:lvl1pPr marL="0" indent="0" algn="ctr">
              <a:buNone/>
              <a:defRPr sz="2000">
                <a:latin typeface="+mn-lt"/>
              </a:defRPr>
            </a:lvl1pPr>
          </a:lstStyle>
          <a:p>
            <a:pPr lvl="0"/>
            <a:r>
              <a:rPr lang="de-DE"/>
              <a:t>LOREM IPSUM DOLOR SIT</a:t>
            </a:r>
          </a:p>
        </p:txBody>
      </p:sp>
    </p:spTree>
    <p:extLst>
      <p:ext uri="{BB962C8B-B14F-4D97-AF65-F5344CB8AC3E}">
        <p14:creationId xmlns:p14="http://schemas.microsoft.com/office/powerpoint/2010/main" val="7650012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rozessbeschreibung, 4 Prozes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3" name="Rechteck: eine Ecke abgeschnitten 2">
            <a:extLst>
              <a:ext uri="{FF2B5EF4-FFF2-40B4-BE49-F238E27FC236}">
                <a16:creationId xmlns:a16="http://schemas.microsoft.com/office/drawing/2014/main" id="{6E2E21DD-B1E4-4561-99F8-BAEF12EEBDA2}"/>
              </a:ext>
            </a:extLst>
          </p:cNvPr>
          <p:cNvSpPr/>
          <p:nvPr userDrawn="1"/>
        </p:nvSpPr>
        <p:spPr>
          <a:xfrm flipV="1">
            <a:off x="327509" y="1589467"/>
            <a:ext cx="10728000" cy="609600"/>
          </a:xfrm>
          <a:prstGeom prst="snip1Rect">
            <a:avLst>
              <a:gd name="adj" fmla="val 2948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7">
            <a:extLst>
              <a:ext uri="{FF2B5EF4-FFF2-40B4-BE49-F238E27FC236}">
                <a16:creationId xmlns:a16="http://schemas.microsoft.com/office/drawing/2014/main" id="{87C03B4E-04B6-4863-BD7A-28D834C8AB27}"/>
              </a:ext>
            </a:extLst>
          </p:cNvPr>
          <p:cNvSpPr>
            <a:spLocks noGrp="1"/>
          </p:cNvSpPr>
          <p:nvPr>
            <p:ph type="body" sz="quarter" idx="14" hasCustomPrompt="1"/>
          </p:nvPr>
        </p:nvSpPr>
        <p:spPr>
          <a:xfrm>
            <a:off x="327509" y="1589467"/>
            <a:ext cx="10528544" cy="609600"/>
          </a:xfrm>
          <a:prstGeom prst="rect">
            <a:avLst/>
          </a:prstGeom>
        </p:spPr>
        <p:txBody>
          <a:bodyPr anchor="ctr"/>
          <a:lstStyle>
            <a:lvl1pPr marL="0" indent="0" algn="ctr">
              <a:buNone/>
              <a:defRPr sz="2400">
                <a:latin typeface="M05 Text Office Bold" panose="020B0804040000000004" pitchFamily="34" charset="0"/>
              </a:defRPr>
            </a:lvl1pPr>
          </a:lstStyle>
          <a:p>
            <a:pPr lvl="0"/>
            <a:r>
              <a:rPr lang="de-DE"/>
              <a:t>PROZESS</a:t>
            </a:r>
          </a:p>
        </p:txBody>
      </p:sp>
      <p:sp>
        <p:nvSpPr>
          <p:cNvPr id="10" name="Rechteck: eine Ecke abgeschnitten 9">
            <a:extLst>
              <a:ext uri="{FF2B5EF4-FFF2-40B4-BE49-F238E27FC236}">
                <a16:creationId xmlns:a16="http://schemas.microsoft.com/office/drawing/2014/main" id="{F352DB91-6CD7-48B9-9918-0A7D77479D2A}"/>
              </a:ext>
            </a:extLst>
          </p:cNvPr>
          <p:cNvSpPr/>
          <p:nvPr userDrawn="1"/>
        </p:nvSpPr>
        <p:spPr>
          <a:xfrm flipV="1">
            <a:off x="327509" y="2290579"/>
            <a:ext cx="10728000" cy="451952"/>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Chevron 12">
            <a:extLst>
              <a:ext uri="{FF2B5EF4-FFF2-40B4-BE49-F238E27FC236}">
                <a16:creationId xmlns:a16="http://schemas.microsoft.com/office/drawing/2014/main" id="{DD324EC5-B801-4933-A16E-AE253A17A737}"/>
              </a:ext>
            </a:extLst>
          </p:cNvPr>
          <p:cNvSpPr/>
          <p:nvPr userDrawn="1"/>
        </p:nvSpPr>
        <p:spPr>
          <a:xfrm rot="5400000">
            <a:off x="5562145" y="2674567"/>
            <a:ext cx="243097" cy="685150"/>
          </a:xfrm>
          <a:prstGeom prst="chevron">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4" name="Pfeil: Chevron 13">
            <a:extLst>
              <a:ext uri="{FF2B5EF4-FFF2-40B4-BE49-F238E27FC236}">
                <a16:creationId xmlns:a16="http://schemas.microsoft.com/office/drawing/2014/main" id="{365FEF08-4C8D-4A49-A059-AB4D3AA2D336}"/>
              </a:ext>
            </a:extLst>
          </p:cNvPr>
          <p:cNvSpPr/>
          <p:nvPr userDrawn="1"/>
        </p:nvSpPr>
        <p:spPr>
          <a:xfrm rot="5400000">
            <a:off x="5562144" y="2880277"/>
            <a:ext cx="243097" cy="685150"/>
          </a:xfrm>
          <a:prstGeom prst="chevron">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8" name="Textplatzhalter 7">
            <a:extLst>
              <a:ext uri="{FF2B5EF4-FFF2-40B4-BE49-F238E27FC236}">
                <a16:creationId xmlns:a16="http://schemas.microsoft.com/office/drawing/2014/main" id="{37E5B66E-6756-408E-9C8B-D9CBADD211B3}"/>
              </a:ext>
            </a:extLst>
          </p:cNvPr>
          <p:cNvSpPr>
            <a:spLocks noGrp="1"/>
          </p:cNvSpPr>
          <p:nvPr>
            <p:ph type="body" sz="quarter" idx="15" hasCustomPrompt="1"/>
          </p:nvPr>
        </p:nvSpPr>
        <p:spPr>
          <a:xfrm>
            <a:off x="327509" y="2290578"/>
            <a:ext cx="10528544" cy="451953"/>
          </a:xfrm>
          <a:prstGeom prst="rect">
            <a:avLst/>
          </a:prstGeom>
        </p:spPr>
        <p:txBody>
          <a:bodyPr anchor="ctr"/>
          <a:lstStyle>
            <a:lvl1pPr marL="0" indent="0" algn="ctr">
              <a:buNone/>
              <a:defRPr sz="2000">
                <a:latin typeface="+mn-lt"/>
              </a:defRPr>
            </a:lvl1pPr>
          </a:lstStyle>
          <a:p>
            <a:pPr lvl="0"/>
            <a:r>
              <a:rPr lang="de-DE"/>
              <a:t>LOREM IPSUM DOLOR SIT</a:t>
            </a:r>
          </a:p>
        </p:txBody>
      </p:sp>
      <p:sp>
        <p:nvSpPr>
          <p:cNvPr id="17" name="Rechteck: eine Ecke abgeschnitten 16">
            <a:extLst>
              <a:ext uri="{FF2B5EF4-FFF2-40B4-BE49-F238E27FC236}">
                <a16:creationId xmlns:a16="http://schemas.microsoft.com/office/drawing/2014/main" id="{1BF52EDC-68E8-40A7-A92A-45B60CD5CAFE}"/>
              </a:ext>
            </a:extLst>
          </p:cNvPr>
          <p:cNvSpPr/>
          <p:nvPr userDrawn="1"/>
        </p:nvSpPr>
        <p:spPr>
          <a:xfrm flipV="1">
            <a:off x="327509" y="3486552"/>
            <a:ext cx="10728000" cy="451952"/>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Pfeil: Chevron 20">
            <a:extLst>
              <a:ext uri="{FF2B5EF4-FFF2-40B4-BE49-F238E27FC236}">
                <a16:creationId xmlns:a16="http://schemas.microsoft.com/office/drawing/2014/main" id="{F852623A-8060-499E-8FA6-04448915459C}"/>
              </a:ext>
            </a:extLst>
          </p:cNvPr>
          <p:cNvSpPr/>
          <p:nvPr userDrawn="1"/>
        </p:nvSpPr>
        <p:spPr>
          <a:xfrm rot="5400000">
            <a:off x="5562145" y="3870540"/>
            <a:ext cx="243097" cy="685150"/>
          </a:xfrm>
          <a:prstGeom prst="chevron">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2" name="Pfeil: Chevron 21">
            <a:extLst>
              <a:ext uri="{FF2B5EF4-FFF2-40B4-BE49-F238E27FC236}">
                <a16:creationId xmlns:a16="http://schemas.microsoft.com/office/drawing/2014/main" id="{731FA69C-6292-4923-880A-D0F984AB27DB}"/>
              </a:ext>
            </a:extLst>
          </p:cNvPr>
          <p:cNvSpPr/>
          <p:nvPr userDrawn="1"/>
        </p:nvSpPr>
        <p:spPr>
          <a:xfrm rot="5400000">
            <a:off x="5562144" y="4076250"/>
            <a:ext cx="243097" cy="685150"/>
          </a:xfrm>
          <a:prstGeom prst="chevron">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3" name="Textplatzhalter 7">
            <a:extLst>
              <a:ext uri="{FF2B5EF4-FFF2-40B4-BE49-F238E27FC236}">
                <a16:creationId xmlns:a16="http://schemas.microsoft.com/office/drawing/2014/main" id="{CCF67661-35A9-472E-989C-37E4500EF221}"/>
              </a:ext>
            </a:extLst>
          </p:cNvPr>
          <p:cNvSpPr>
            <a:spLocks noGrp="1"/>
          </p:cNvSpPr>
          <p:nvPr>
            <p:ph type="body" sz="quarter" idx="16" hasCustomPrompt="1"/>
          </p:nvPr>
        </p:nvSpPr>
        <p:spPr>
          <a:xfrm>
            <a:off x="327509" y="3486551"/>
            <a:ext cx="10528544" cy="451953"/>
          </a:xfrm>
          <a:prstGeom prst="rect">
            <a:avLst/>
          </a:prstGeom>
        </p:spPr>
        <p:txBody>
          <a:bodyPr anchor="ctr"/>
          <a:lstStyle>
            <a:lvl1pPr marL="0" indent="0" algn="ctr">
              <a:buNone/>
              <a:defRPr sz="2000">
                <a:latin typeface="+mn-lt"/>
              </a:defRPr>
            </a:lvl1pPr>
          </a:lstStyle>
          <a:p>
            <a:pPr lvl="0"/>
            <a:r>
              <a:rPr lang="de-DE"/>
              <a:t>LOREM IPSUM DOLOR SIT</a:t>
            </a:r>
          </a:p>
        </p:txBody>
      </p:sp>
      <p:sp>
        <p:nvSpPr>
          <p:cNvPr id="24" name="Rechteck: eine Ecke abgeschnitten 23">
            <a:extLst>
              <a:ext uri="{FF2B5EF4-FFF2-40B4-BE49-F238E27FC236}">
                <a16:creationId xmlns:a16="http://schemas.microsoft.com/office/drawing/2014/main" id="{B52F16E7-583F-48FD-BE8E-55FFCF0FE84D}"/>
              </a:ext>
            </a:extLst>
          </p:cNvPr>
          <p:cNvSpPr/>
          <p:nvPr userDrawn="1"/>
        </p:nvSpPr>
        <p:spPr>
          <a:xfrm flipV="1">
            <a:off x="327509" y="4673170"/>
            <a:ext cx="10728000" cy="451952"/>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Pfeil: Chevron 24">
            <a:extLst>
              <a:ext uri="{FF2B5EF4-FFF2-40B4-BE49-F238E27FC236}">
                <a16:creationId xmlns:a16="http://schemas.microsoft.com/office/drawing/2014/main" id="{B824B5B3-7B96-4E25-8C6C-96EC8CECE67D}"/>
              </a:ext>
            </a:extLst>
          </p:cNvPr>
          <p:cNvSpPr/>
          <p:nvPr userDrawn="1"/>
        </p:nvSpPr>
        <p:spPr>
          <a:xfrm rot="5400000">
            <a:off x="5562145" y="5057158"/>
            <a:ext cx="243097" cy="685150"/>
          </a:xfrm>
          <a:prstGeom prst="chevron">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6" name="Pfeil: Chevron 25">
            <a:extLst>
              <a:ext uri="{FF2B5EF4-FFF2-40B4-BE49-F238E27FC236}">
                <a16:creationId xmlns:a16="http://schemas.microsoft.com/office/drawing/2014/main" id="{8AD3E0E4-D4E4-41E5-B973-7D2FB85C594B}"/>
              </a:ext>
            </a:extLst>
          </p:cNvPr>
          <p:cNvSpPr/>
          <p:nvPr userDrawn="1"/>
        </p:nvSpPr>
        <p:spPr>
          <a:xfrm rot="5400000">
            <a:off x="5562144" y="5262868"/>
            <a:ext cx="243097" cy="685150"/>
          </a:xfrm>
          <a:prstGeom prst="chevron">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7" name="Textplatzhalter 7">
            <a:extLst>
              <a:ext uri="{FF2B5EF4-FFF2-40B4-BE49-F238E27FC236}">
                <a16:creationId xmlns:a16="http://schemas.microsoft.com/office/drawing/2014/main" id="{878BA4BC-AE81-499A-A0FB-9472CB05356F}"/>
              </a:ext>
            </a:extLst>
          </p:cNvPr>
          <p:cNvSpPr>
            <a:spLocks noGrp="1"/>
          </p:cNvSpPr>
          <p:nvPr>
            <p:ph type="body" sz="quarter" idx="17" hasCustomPrompt="1"/>
          </p:nvPr>
        </p:nvSpPr>
        <p:spPr>
          <a:xfrm>
            <a:off x="327509" y="4673169"/>
            <a:ext cx="10528544" cy="451953"/>
          </a:xfrm>
          <a:prstGeom prst="rect">
            <a:avLst/>
          </a:prstGeom>
        </p:spPr>
        <p:txBody>
          <a:bodyPr anchor="ctr"/>
          <a:lstStyle>
            <a:lvl1pPr marL="0" indent="0" algn="ctr">
              <a:buNone/>
              <a:defRPr sz="2000">
                <a:latin typeface="+mn-lt"/>
              </a:defRPr>
            </a:lvl1pPr>
          </a:lstStyle>
          <a:p>
            <a:pPr lvl="0"/>
            <a:r>
              <a:rPr lang="de-DE"/>
              <a:t>LOREM IPSUM DOLOR SIT</a:t>
            </a:r>
          </a:p>
        </p:txBody>
      </p:sp>
      <p:sp>
        <p:nvSpPr>
          <p:cNvPr id="28" name="Rechteck: eine Ecke abgeschnitten 27">
            <a:extLst>
              <a:ext uri="{FF2B5EF4-FFF2-40B4-BE49-F238E27FC236}">
                <a16:creationId xmlns:a16="http://schemas.microsoft.com/office/drawing/2014/main" id="{2BBD3CDD-66EB-4F75-ACFB-1EB008D53556}"/>
              </a:ext>
            </a:extLst>
          </p:cNvPr>
          <p:cNvSpPr/>
          <p:nvPr userDrawn="1"/>
        </p:nvSpPr>
        <p:spPr>
          <a:xfrm flipV="1">
            <a:off x="327509" y="5855897"/>
            <a:ext cx="10728000" cy="451952"/>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platzhalter 7">
            <a:extLst>
              <a:ext uri="{FF2B5EF4-FFF2-40B4-BE49-F238E27FC236}">
                <a16:creationId xmlns:a16="http://schemas.microsoft.com/office/drawing/2014/main" id="{92358A21-BA39-42A8-B345-7719232AC6A7}"/>
              </a:ext>
            </a:extLst>
          </p:cNvPr>
          <p:cNvSpPr>
            <a:spLocks noGrp="1"/>
          </p:cNvSpPr>
          <p:nvPr>
            <p:ph type="body" sz="quarter" idx="18" hasCustomPrompt="1"/>
          </p:nvPr>
        </p:nvSpPr>
        <p:spPr>
          <a:xfrm>
            <a:off x="327509" y="5855896"/>
            <a:ext cx="10528544" cy="451953"/>
          </a:xfrm>
          <a:prstGeom prst="rect">
            <a:avLst/>
          </a:prstGeom>
        </p:spPr>
        <p:txBody>
          <a:bodyPr anchor="ctr"/>
          <a:lstStyle>
            <a:lvl1pPr marL="0" indent="0" algn="ctr">
              <a:buNone/>
              <a:defRPr sz="2000">
                <a:latin typeface="+mn-lt"/>
              </a:defRPr>
            </a:lvl1pPr>
          </a:lstStyle>
          <a:p>
            <a:pPr lvl="0"/>
            <a:r>
              <a:rPr lang="de-DE"/>
              <a:t>LOREM IPSUM DOLOR SIT</a:t>
            </a:r>
          </a:p>
        </p:txBody>
      </p:sp>
    </p:spTree>
    <p:extLst>
      <p:ext uri="{BB962C8B-B14F-4D97-AF65-F5344CB8AC3E}">
        <p14:creationId xmlns:p14="http://schemas.microsoft.com/office/powerpoint/2010/main" val="28943195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rojektkoordination, 4 Teilprojekte">
    <p:spTree>
      <p:nvGrpSpPr>
        <p:cNvPr id="1" name=""/>
        <p:cNvGrpSpPr/>
        <p:nvPr/>
      </p:nvGrpSpPr>
      <p:grpSpPr>
        <a:xfrm>
          <a:off x="0" y="0"/>
          <a:ext cx="0" cy="0"/>
          <a:chOff x="0" y="0"/>
          <a:chExt cx="0" cy="0"/>
        </a:xfrm>
      </p:grpSpPr>
      <p:sp>
        <p:nvSpPr>
          <p:cNvPr id="29" name="Textfeld 28">
            <a:extLst>
              <a:ext uri="{FF2B5EF4-FFF2-40B4-BE49-F238E27FC236}">
                <a16:creationId xmlns:a16="http://schemas.microsoft.com/office/drawing/2014/main" id="{04894325-E569-4954-94FE-D8ADB8BBB0AC}"/>
              </a:ext>
            </a:extLst>
          </p:cNvPr>
          <p:cNvSpPr txBox="1"/>
          <p:nvPr userDrawn="1">
            <p:custDataLst>
              <p:tags r:id="rId1"/>
            </p:custDataLst>
          </p:nvPr>
        </p:nvSpPr>
        <p:spPr>
          <a:xfrm>
            <a:off x="4526994" y="2133332"/>
            <a:ext cx="2397576" cy="629743"/>
          </a:xfrm>
          <a:prstGeom prst="rect">
            <a:avLst/>
          </a:prstGeom>
          <a:solidFill>
            <a:schemeClr val="tx1">
              <a:lumMod val="50000"/>
              <a:lumOff val="50000"/>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6" name="Textfeld 76">
            <a:extLst>
              <a:ext uri="{FF2B5EF4-FFF2-40B4-BE49-F238E27FC236}">
                <a16:creationId xmlns:a16="http://schemas.microsoft.com/office/drawing/2014/main" id="{381043CA-1501-49B1-BC27-D7EAA8F1435E}"/>
              </a:ext>
            </a:extLst>
          </p:cNvPr>
          <p:cNvSpPr txBox="1"/>
          <p:nvPr userDrawn="1">
            <p:custDataLst>
              <p:tags r:id="rId2"/>
            </p:custDataLst>
          </p:nvPr>
        </p:nvSpPr>
        <p:spPr>
          <a:xfrm>
            <a:off x="4526995" y="1301419"/>
            <a:ext cx="2397575" cy="669924"/>
          </a:xfrm>
          <a:prstGeom prst="rect">
            <a:avLst/>
          </a:prstGeom>
          <a:solidFill>
            <a:srgbClr val="E10019"/>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969"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4" name="Text Box 7">
            <a:extLst>
              <a:ext uri="{FF2B5EF4-FFF2-40B4-BE49-F238E27FC236}">
                <a16:creationId xmlns:a16="http://schemas.microsoft.com/office/drawing/2014/main" id="{E02160C4-5188-446B-A903-ACAEEC0F95EF}"/>
              </a:ext>
            </a:extLst>
          </p:cNvPr>
          <p:cNvSpPr txBox="1">
            <a:spLocks noChangeArrowheads="1"/>
          </p:cNvSpPr>
          <p:nvPr userDrawn="1">
            <p:custDataLst>
              <p:tags r:id="rId3"/>
            </p:custDataLst>
          </p:nvPr>
        </p:nvSpPr>
        <p:spPr bwMode="auto">
          <a:xfrm>
            <a:off x="353003" y="3776456"/>
            <a:ext cx="2426883"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5" name="Text Box 7">
            <a:extLst>
              <a:ext uri="{FF2B5EF4-FFF2-40B4-BE49-F238E27FC236}">
                <a16:creationId xmlns:a16="http://schemas.microsoft.com/office/drawing/2014/main" id="{E573B263-CD6A-4816-9B24-D52397B64E6E}"/>
              </a:ext>
            </a:extLst>
          </p:cNvPr>
          <p:cNvSpPr txBox="1">
            <a:spLocks noChangeArrowheads="1"/>
          </p:cNvSpPr>
          <p:nvPr userDrawn="1">
            <p:custDataLst>
              <p:tags r:id="rId4"/>
            </p:custDataLst>
          </p:nvPr>
        </p:nvSpPr>
        <p:spPr bwMode="auto">
          <a:xfrm>
            <a:off x="353003" y="4512687"/>
            <a:ext cx="2426883"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16" name="Textfeld 15">
            <a:extLst>
              <a:ext uri="{FF2B5EF4-FFF2-40B4-BE49-F238E27FC236}">
                <a16:creationId xmlns:a16="http://schemas.microsoft.com/office/drawing/2014/main" id="{E096CF86-AB58-42BA-8104-5409FF17D8B7}"/>
              </a:ext>
            </a:extLst>
          </p:cNvPr>
          <p:cNvSpPr txBox="1"/>
          <p:nvPr userDrawn="1">
            <p:custDataLst>
              <p:tags r:id="rId5"/>
            </p:custDataLst>
          </p:nvPr>
        </p:nvSpPr>
        <p:spPr>
          <a:xfrm>
            <a:off x="353002" y="2998294"/>
            <a:ext cx="2426883"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22" name="Text Box 7">
            <a:extLst>
              <a:ext uri="{FF2B5EF4-FFF2-40B4-BE49-F238E27FC236}">
                <a16:creationId xmlns:a16="http://schemas.microsoft.com/office/drawing/2014/main" id="{3490CB3E-BA02-4F42-90DD-FDED82103D1E}"/>
              </a:ext>
            </a:extLst>
          </p:cNvPr>
          <p:cNvSpPr txBox="1">
            <a:spLocks noChangeArrowheads="1"/>
          </p:cNvSpPr>
          <p:nvPr userDrawn="1">
            <p:custDataLst>
              <p:tags r:id="rId6"/>
            </p:custDataLst>
          </p:nvPr>
        </p:nvSpPr>
        <p:spPr bwMode="auto">
          <a:xfrm>
            <a:off x="353002" y="4512686"/>
            <a:ext cx="2426883"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33" name="Textplatzhalter 32">
            <a:extLst>
              <a:ext uri="{FF2B5EF4-FFF2-40B4-BE49-F238E27FC236}">
                <a16:creationId xmlns:a16="http://schemas.microsoft.com/office/drawing/2014/main" id="{93E4C263-056D-497F-A8B7-02C562A9C642}"/>
              </a:ext>
            </a:extLst>
          </p:cNvPr>
          <p:cNvSpPr>
            <a:spLocks noGrp="1"/>
          </p:cNvSpPr>
          <p:nvPr>
            <p:ph type="body" sz="quarter" idx="14" hasCustomPrompt="1"/>
          </p:nvPr>
        </p:nvSpPr>
        <p:spPr>
          <a:xfrm>
            <a:off x="4526989" y="1402550"/>
            <a:ext cx="2397576" cy="234661"/>
          </a:xfrm>
          <a:prstGeom prst="rect">
            <a:avLst/>
          </a:prstGeom>
        </p:spPr>
        <p:txBody>
          <a:bodyPr/>
          <a:lstStyle>
            <a:lvl1pPr marL="0" indent="0" algn="ctr">
              <a:buNone/>
              <a:defRPr sz="1000">
                <a:solidFill>
                  <a:schemeClr val="bg1"/>
                </a:solidFill>
                <a:latin typeface="M05 Text Office Bold" panose="020B0804040000000004" pitchFamily="34" charset="0"/>
              </a:defRPr>
            </a:lvl1pPr>
          </a:lstStyle>
          <a:p>
            <a:pPr lvl="0"/>
            <a:r>
              <a:rPr lang="de-DE"/>
              <a:t>Funktion</a:t>
            </a:r>
          </a:p>
          <a:p>
            <a:pPr lvl="0"/>
            <a:endParaRPr lang="de-DE"/>
          </a:p>
        </p:txBody>
      </p:sp>
      <p:sp>
        <p:nvSpPr>
          <p:cNvPr id="34" name="Textplatzhalter 32">
            <a:extLst>
              <a:ext uri="{FF2B5EF4-FFF2-40B4-BE49-F238E27FC236}">
                <a16:creationId xmlns:a16="http://schemas.microsoft.com/office/drawing/2014/main" id="{1EB63678-1DD9-4521-8683-32FA325B42C4}"/>
              </a:ext>
            </a:extLst>
          </p:cNvPr>
          <p:cNvSpPr>
            <a:spLocks noGrp="1"/>
          </p:cNvSpPr>
          <p:nvPr>
            <p:ph type="body" sz="quarter" idx="15" hasCustomPrompt="1"/>
          </p:nvPr>
        </p:nvSpPr>
        <p:spPr>
          <a:xfrm>
            <a:off x="4526989" y="1632907"/>
            <a:ext cx="2397576" cy="234661"/>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Name</a:t>
            </a:r>
          </a:p>
          <a:p>
            <a:pPr lvl="0"/>
            <a:endParaRPr lang="de-DE"/>
          </a:p>
        </p:txBody>
      </p:sp>
      <p:sp>
        <p:nvSpPr>
          <p:cNvPr id="35" name="Textplatzhalter 32">
            <a:extLst>
              <a:ext uri="{FF2B5EF4-FFF2-40B4-BE49-F238E27FC236}">
                <a16:creationId xmlns:a16="http://schemas.microsoft.com/office/drawing/2014/main" id="{4D84E7D6-D986-4316-85B1-188231379A4A}"/>
              </a:ext>
            </a:extLst>
          </p:cNvPr>
          <p:cNvSpPr>
            <a:spLocks noGrp="1"/>
          </p:cNvSpPr>
          <p:nvPr>
            <p:ph type="body" sz="quarter" idx="16" hasCustomPrompt="1"/>
          </p:nvPr>
        </p:nvSpPr>
        <p:spPr>
          <a:xfrm>
            <a:off x="4526989" y="2199399"/>
            <a:ext cx="2397576" cy="234661"/>
          </a:xfrm>
          <a:prstGeom prst="rect">
            <a:avLst/>
          </a:prstGeom>
        </p:spPr>
        <p:txBody>
          <a:bodyPr/>
          <a:lstStyle>
            <a:lvl1pPr marL="0" indent="0" algn="ctr">
              <a:buNone/>
              <a:defRPr sz="1000">
                <a:solidFill>
                  <a:schemeClr val="bg1"/>
                </a:solidFill>
                <a:latin typeface="M05 Text Office Bold" panose="020B0804040000000004" pitchFamily="34" charset="0"/>
              </a:defRPr>
            </a:lvl1pPr>
          </a:lstStyle>
          <a:p>
            <a:pPr lvl="0"/>
            <a:r>
              <a:rPr lang="de-DE"/>
              <a:t>Funktion</a:t>
            </a:r>
          </a:p>
          <a:p>
            <a:pPr lvl="0"/>
            <a:endParaRPr lang="de-DE"/>
          </a:p>
        </p:txBody>
      </p:sp>
      <p:sp>
        <p:nvSpPr>
          <p:cNvPr id="36" name="Textplatzhalter 32">
            <a:extLst>
              <a:ext uri="{FF2B5EF4-FFF2-40B4-BE49-F238E27FC236}">
                <a16:creationId xmlns:a16="http://schemas.microsoft.com/office/drawing/2014/main" id="{9D17E861-364D-4D03-83F7-AF5785D91E73}"/>
              </a:ext>
            </a:extLst>
          </p:cNvPr>
          <p:cNvSpPr>
            <a:spLocks noGrp="1"/>
          </p:cNvSpPr>
          <p:nvPr>
            <p:ph type="body" sz="quarter" idx="17" hasCustomPrompt="1"/>
          </p:nvPr>
        </p:nvSpPr>
        <p:spPr>
          <a:xfrm>
            <a:off x="4526989" y="2429756"/>
            <a:ext cx="2397576" cy="234661"/>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Name</a:t>
            </a:r>
          </a:p>
          <a:p>
            <a:pPr lvl="0"/>
            <a:endParaRPr lang="de-DE"/>
          </a:p>
        </p:txBody>
      </p:sp>
      <p:sp>
        <p:nvSpPr>
          <p:cNvPr id="38" name="Textplatzhalter 37">
            <a:extLst>
              <a:ext uri="{FF2B5EF4-FFF2-40B4-BE49-F238E27FC236}">
                <a16:creationId xmlns:a16="http://schemas.microsoft.com/office/drawing/2014/main" id="{97704318-A427-4694-B932-7DCBDDD25A1A}"/>
              </a:ext>
            </a:extLst>
          </p:cNvPr>
          <p:cNvSpPr>
            <a:spLocks noGrp="1"/>
          </p:cNvSpPr>
          <p:nvPr>
            <p:ph type="body" sz="quarter" idx="18" hasCustomPrompt="1"/>
          </p:nvPr>
        </p:nvSpPr>
        <p:spPr>
          <a:xfrm>
            <a:off x="352425" y="2998087"/>
            <a:ext cx="2428494"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52" name="Textplatzhalter 51">
            <a:extLst>
              <a:ext uri="{FF2B5EF4-FFF2-40B4-BE49-F238E27FC236}">
                <a16:creationId xmlns:a16="http://schemas.microsoft.com/office/drawing/2014/main" id="{AE2C8D09-5D6D-4B55-A74E-CD67B581B9D0}"/>
              </a:ext>
            </a:extLst>
          </p:cNvPr>
          <p:cNvSpPr>
            <a:spLocks noGrp="1"/>
          </p:cNvSpPr>
          <p:nvPr>
            <p:ph type="body" sz="quarter" idx="19" hasCustomPrompt="1"/>
          </p:nvPr>
        </p:nvSpPr>
        <p:spPr>
          <a:xfrm>
            <a:off x="352424" y="3776663"/>
            <a:ext cx="2425610"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55" name="Textplatzhalter 54">
            <a:extLst>
              <a:ext uri="{FF2B5EF4-FFF2-40B4-BE49-F238E27FC236}">
                <a16:creationId xmlns:a16="http://schemas.microsoft.com/office/drawing/2014/main" id="{407E4E95-FDD9-4F3A-A952-0AC917F88366}"/>
              </a:ext>
            </a:extLst>
          </p:cNvPr>
          <p:cNvSpPr>
            <a:spLocks noGrp="1"/>
          </p:cNvSpPr>
          <p:nvPr>
            <p:ph type="body" sz="quarter" idx="20" hasCustomPrompt="1"/>
          </p:nvPr>
        </p:nvSpPr>
        <p:spPr>
          <a:xfrm>
            <a:off x="352424" y="4513263"/>
            <a:ext cx="2425610"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46" name="Text Box 7">
            <a:extLst>
              <a:ext uri="{FF2B5EF4-FFF2-40B4-BE49-F238E27FC236}">
                <a16:creationId xmlns:a16="http://schemas.microsoft.com/office/drawing/2014/main" id="{604DE11B-933D-44D0-98AA-8F0B3C93DC13}"/>
              </a:ext>
            </a:extLst>
          </p:cNvPr>
          <p:cNvSpPr txBox="1">
            <a:spLocks noChangeArrowheads="1"/>
          </p:cNvSpPr>
          <p:nvPr userDrawn="1">
            <p:custDataLst>
              <p:tags r:id="rId7"/>
            </p:custDataLst>
          </p:nvPr>
        </p:nvSpPr>
        <p:spPr bwMode="auto">
          <a:xfrm>
            <a:off x="3117974" y="3778338"/>
            <a:ext cx="2426883"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47" name="Text Box 7">
            <a:extLst>
              <a:ext uri="{FF2B5EF4-FFF2-40B4-BE49-F238E27FC236}">
                <a16:creationId xmlns:a16="http://schemas.microsoft.com/office/drawing/2014/main" id="{1F19037E-9325-4486-9647-BD67D222D31F}"/>
              </a:ext>
            </a:extLst>
          </p:cNvPr>
          <p:cNvSpPr txBox="1">
            <a:spLocks noChangeArrowheads="1"/>
          </p:cNvSpPr>
          <p:nvPr userDrawn="1">
            <p:custDataLst>
              <p:tags r:id="rId8"/>
            </p:custDataLst>
          </p:nvPr>
        </p:nvSpPr>
        <p:spPr bwMode="auto">
          <a:xfrm>
            <a:off x="3117974" y="4514569"/>
            <a:ext cx="2426883"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48" name="Textfeld 47">
            <a:extLst>
              <a:ext uri="{FF2B5EF4-FFF2-40B4-BE49-F238E27FC236}">
                <a16:creationId xmlns:a16="http://schemas.microsoft.com/office/drawing/2014/main" id="{EC9D4E02-4443-4CB3-B3AA-80BFF0453E85}"/>
              </a:ext>
            </a:extLst>
          </p:cNvPr>
          <p:cNvSpPr txBox="1"/>
          <p:nvPr userDrawn="1">
            <p:custDataLst>
              <p:tags r:id="rId9"/>
            </p:custDataLst>
          </p:nvPr>
        </p:nvSpPr>
        <p:spPr>
          <a:xfrm>
            <a:off x="3117973" y="3000176"/>
            <a:ext cx="2426883"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49" name="Text Box 7">
            <a:extLst>
              <a:ext uri="{FF2B5EF4-FFF2-40B4-BE49-F238E27FC236}">
                <a16:creationId xmlns:a16="http://schemas.microsoft.com/office/drawing/2014/main" id="{30FB939C-BB88-479D-AC17-81CE51FDBE69}"/>
              </a:ext>
            </a:extLst>
          </p:cNvPr>
          <p:cNvSpPr txBox="1">
            <a:spLocks noChangeArrowheads="1"/>
          </p:cNvSpPr>
          <p:nvPr userDrawn="1">
            <p:custDataLst>
              <p:tags r:id="rId10"/>
            </p:custDataLst>
          </p:nvPr>
        </p:nvSpPr>
        <p:spPr bwMode="auto">
          <a:xfrm>
            <a:off x="3117973" y="4514568"/>
            <a:ext cx="2426883"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50" name="Textplatzhalter 37">
            <a:extLst>
              <a:ext uri="{FF2B5EF4-FFF2-40B4-BE49-F238E27FC236}">
                <a16:creationId xmlns:a16="http://schemas.microsoft.com/office/drawing/2014/main" id="{2726C787-79E5-48C2-9772-FD18D51C9196}"/>
              </a:ext>
            </a:extLst>
          </p:cNvPr>
          <p:cNvSpPr>
            <a:spLocks noGrp="1"/>
          </p:cNvSpPr>
          <p:nvPr>
            <p:ph type="body" sz="quarter" idx="21" hasCustomPrompt="1"/>
          </p:nvPr>
        </p:nvSpPr>
        <p:spPr>
          <a:xfrm>
            <a:off x="3117396" y="2999969"/>
            <a:ext cx="2428494"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51" name="Textplatzhalter 51">
            <a:extLst>
              <a:ext uri="{FF2B5EF4-FFF2-40B4-BE49-F238E27FC236}">
                <a16:creationId xmlns:a16="http://schemas.microsoft.com/office/drawing/2014/main" id="{05AD4351-728C-4251-85F1-E16447167406}"/>
              </a:ext>
            </a:extLst>
          </p:cNvPr>
          <p:cNvSpPr>
            <a:spLocks noGrp="1"/>
          </p:cNvSpPr>
          <p:nvPr>
            <p:ph type="body" sz="quarter" idx="22" hasCustomPrompt="1"/>
          </p:nvPr>
        </p:nvSpPr>
        <p:spPr>
          <a:xfrm>
            <a:off x="3117395" y="3778545"/>
            <a:ext cx="2425610"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53" name="Textplatzhalter 54">
            <a:extLst>
              <a:ext uri="{FF2B5EF4-FFF2-40B4-BE49-F238E27FC236}">
                <a16:creationId xmlns:a16="http://schemas.microsoft.com/office/drawing/2014/main" id="{52AA7A69-D4E5-47F1-8D98-C2CB76E354B3}"/>
              </a:ext>
            </a:extLst>
          </p:cNvPr>
          <p:cNvSpPr>
            <a:spLocks noGrp="1"/>
          </p:cNvSpPr>
          <p:nvPr>
            <p:ph type="body" sz="quarter" idx="23" hasCustomPrompt="1"/>
          </p:nvPr>
        </p:nvSpPr>
        <p:spPr>
          <a:xfrm>
            <a:off x="3117395" y="4515145"/>
            <a:ext cx="2425610"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54" name="Text Box 7">
            <a:extLst>
              <a:ext uri="{FF2B5EF4-FFF2-40B4-BE49-F238E27FC236}">
                <a16:creationId xmlns:a16="http://schemas.microsoft.com/office/drawing/2014/main" id="{C438C06B-BDC7-4B17-8B35-233A3ECB135F}"/>
              </a:ext>
            </a:extLst>
          </p:cNvPr>
          <p:cNvSpPr txBox="1">
            <a:spLocks noChangeArrowheads="1"/>
          </p:cNvSpPr>
          <p:nvPr userDrawn="1">
            <p:custDataLst>
              <p:tags r:id="rId11"/>
            </p:custDataLst>
          </p:nvPr>
        </p:nvSpPr>
        <p:spPr bwMode="auto">
          <a:xfrm>
            <a:off x="5862622" y="3769500"/>
            <a:ext cx="2426883"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56" name="Text Box 7">
            <a:extLst>
              <a:ext uri="{FF2B5EF4-FFF2-40B4-BE49-F238E27FC236}">
                <a16:creationId xmlns:a16="http://schemas.microsoft.com/office/drawing/2014/main" id="{72FBE077-7F19-4C78-AAA4-0C61BCCE5552}"/>
              </a:ext>
            </a:extLst>
          </p:cNvPr>
          <p:cNvSpPr txBox="1">
            <a:spLocks noChangeArrowheads="1"/>
          </p:cNvSpPr>
          <p:nvPr userDrawn="1">
            <p:custDataLst>
              <p:tags r:id="rId12"/>
            </p:custDataLst>
          </p:nvPr>
        </p:nvSpPr>
        <p:spPr bwMode="auto">
          <a:xfrm>
            <a:off x="5862622" y="4505731"/>
            <a:ext cx="2426883"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57" name="Textfeld 56">
            <a:extLst>
              <a:ext uri="{FF2B5EF4-FFF2-40B4-BE49-F238E27FC236}">
                <a16:creationId xmlns:a16="http://schemas.microsoft.com/office/drawing/2014/main" id="{953F3FAB-37E9-4AF1-883D-D128A87AD69F}"/>
              </a:ext>
            </a:extLst>
          </p:cNvPr>
          <p:cNvSpPr txBox="1"/>
          <p:nvPr userDrawn="1">
            <p:custDataLst>
              <p:tags r:id="rId13"/>
            </p:custDataLst>
          </p:nvPr>
        </p:nvSpPr>
        <p:spPr>
          <a:xfrm>
            <a:off x="5862621" y="2991338"/>
            <a:ext cx="2426883"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58" name="Text Box 7">
            <a:extLst>
              <a:ext uri="{FF2B5EF4-FFF2-40B4-BE49-F238E27FC236}">
                <a16:creationId xmlns:a16="http://schemas.microsoft.com/office/drawing/2014/main" id="{2CC8AA68-B268-402C-B15F-4F976A174EFA}"/>
              </a:ext>
            </a:extLst>
          </p:cNvPr>
          <p:cNvSpPr txBox="1">
            <a:spLocks noChangeArrowheads="1"/>
          </p:cNvSpPr>
          <p:nvPr userDrawn="1">
            <p:custDataLst>
              <p:tags r:id="rId14"/>
            </p:custDataLst>
          </p:nvPr>
        </p:nvSpPr>
        <p:spPr bwMode="auto">
          <a:xfrm>
            <a:off x="5862621" y="4505730"/>
            <a:ext cx="2426883"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59" name="Textplatzhalter 37">
            <a:extLst>
              <a:ext uri="{FF2B5EF4-FFF2-40B4-BE49-F238E27FC236}">
                <a16:creationId xmlns:a16="http://schemas.microsoft.com/office/drawing/2014/main" id="{B7859C46-7C64-4183-AE29-1D95EC2E1A91}"/>
              </a:ext>
            </a:extLst>
          </p:cNvPr>
          <p:cNvSpPr>
            <a:spLocks noGrp="1"/>
          </p:cNvSpPr>
          <p:nvPr>
            <p:ph type="body" sz="quarter" idx="24" hasCustomPrompt="1"/>
          </p:nvPr>
        </p:nvSpPr>
        <p:spPr>
          <a:xfrm>
            <a:off x="5862044" y="2991131"/>
            <a:ext cx="2428494"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60" name="Textplatzhalter 51">
            <a:extLst>
              <a:ext uri="{FF2B5EF4-FFF2-40B4-BE49-F238E27FC236}">
                <a16:creationId xmlns:a16="http://schemas.microsoft.com/office/drawing/2014/main" id="{F1131E43-9140-477F-850C-2E06B2A042E5}"/>
              </a:ext>
            </a:extLst>
          </p:cNvPr>
          <p:cNvSpPr>
            <a:spLocks noGrp="1"/>
          </p:cNvSpPr>
          <p:nvPr>
            <p:ph type="body" sz="quarter" idx="25" hasCustomPrompt="1"/>
          </p:nvPr>
        </p:nvSpPr>
        <p:spPr>
          <a:xfrm>
            <a:off x="5862043" y="3769707"/>
            <a:ext cx="2425610"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61" name="Textplatzhalter 54">
            <a:extLst>
              <a:ext uri="{FF2B5EF4-FFF2-40B4-BE49-F238E27FC236}">
                <a16:creationId xmlns:a16="http://schemas.microsoft.com/office/drawing/2014/main" id="{4081E852-63D4-41E6-B3A8-2C491A45E112}"/>
              </a:ext>
            </a:extLst>
          </p:cNvPr>
          <p:cNvSpPr>
            <a:spLocks noGrp="1"/>
          </p:cNvSpPr>
          <p:nvPr>
            <p:ph type="body" sz="quarter" idx="26" hasCustomPrompt="1"/>
          </p:nvPr>
        </p:nvSpPr>
        <p:spPr>
          <a:xfrm>
            <a:off x="5862043" y="4506307"/>
            <a:ext cx="2425610"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62" name="Text Box 7">
            <a:extLst>
              <a:ext uri="{FF2B5EF4-FFF2-40B4-BE49-F238E27FC236}">
                <a16:creationId xmlns:a16="http://schemas.microsoft.com/office/drawing/2014/main" id="{63526AE6-18CF-442B-8C2F-2F8BD3FA80E4}"/>
              </a:ext>
            </a:extLst>
          </p:cNvPr>
          <p:cNvSpPr txBox="1">
            <a:spLocks noChangeArrowheads="1"/>
          </p:cNvSpPr>
          <p:nvPr userDrawn="1">
            <p:custDataLst>
              <p:tags r:id="rId15"/>
            </p:custDataLst>
          </p:nvPr>
        </p:nvSpPr>
        <p:spPr bwMode="auto">
          <a:xfrm>
            <a:off x="8627593" y="3771382"/>
            <a:ext cx="2426883"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63" name="Text Box 7">
            <a:extLst>
              <a:ext uri="{FF2B5EF4-FFF2-40B4-BE49-F238E27FC236}">
                <a16:creationId xmlns:a16="http://schemas.microsoft.com/office/drawing/2014/main" id="{4A6BD403-763A-4202-975D-5BD3841289A1}"/>
              </a:ext>
            </a:extLst>
          </p:cNvPr>
          <p:cNvSpPr txBox="1">
            <a:spLocks noChangeArrowheads="1"/>
          </p:cNvSpPr>
          <p:nvPr userDrawn="1">
            <p:custDataLst>
              <p:tags r:id="rId16"/>
            </p:custDataLst>
          </p:nvPr>
        </p:nvSpPr>
        <p:spPr bwMode="auto">
          <a:xfrm>
            <a:off x="8627593" y="4507613"/>
            <a:ext cx="2426883"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64" name="Textfeld 63">
            <a:extLst>
              <a:ext uri="{FF2B5EF4-FFF2-40B4-BE49-F238E27FC236}">
                <a16:creationId xmlns:a16="http://schemas.microsoft.com/office/drawing/2014/main" id="{09FF99B6-535B-480C-BDF7-7592ED1EB883}"/>
              </a:ext>
            </a:extLst>
          </p:cNvPr>
          <p:cNvSpPr txBox="1"/>
          <p:nvPr userDrawn="1">
            <p:custDataLst>
              <p:tags r:id="rId17"/>
            </p:custDataLst>
          </p:nvPr>
        </p:nvSpPr>
        <p:spPr>
          <a:xfrm>
            <a:off x="8627592" y="2993220"/>
            <a:ext cx="2426883"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65" name="Text Box 7">
            <a:extLst>
              <a:ext uri="{FF2B5EF4-FFF2-40B4-BE49-F238E27FC236}">
                <a16:creationId xmlns:a16="http://schemas.microsoft.com/office/drawing/2014/main" id="{3AEA4BB3-553F-41D4-A5E5-C138D806DD47}"/>
              </a:ext>
            </a:extLst>
          </p:cNvPr>
          <p:cNvSpPr txBox="1">
            <a:spLocks noChangeArrowheads="1"/>
          </p:cNvSpPr>
          <p:nvPr userDrawn="1">
            <p:custDataLst>
              <p:tags r:id="rId18"/>
            </p:custDataLst>
          </p:nvPr>
        </p:nvSpPr>
        <p:spPr bwMode="auto">
          <a:xfrm>
            <a:off x="8627592" y="4507612"/>
            <a:ext cx="2426883"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66" name="Textplatzhalter 37">
            <a:extLst>
              <a:ext uri="{FF2B5EF4-FFF2-40B4-BE49-F238E27FC236}">
                <a16:creationId xmlns:a16="http://schemas.microsoft.com/office/drawing/2014/main" id="{A80AC08C-3A9C-4A17-AAFE-943DC1C8D3EB}"/>
              </a:ext>
            </a:extLst>
          </p:cNvPr>
          <p:cNvSpPr>
            <a:spLocks noGrp="1"/>
          </p:cNvSpPr>
          <p:nvPr>
            <p:ph type="body" sz="quarter" idx="27" hasCustomPrompt="1"/>
          </p:nvPr>
        </p:nvSpPr>
        <p:spPr>
          <a:xfrm>
            <a:off x="8627015" y="2993013"/>
            <a:ext cx="2428494"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67" name="Textplatzhalter 51">
            <a:extLst>
              <a:ext uri="{FF2B5EF4-FFF2-40B4-BE49-F238E27FC236}">
                <a16:creationId xmlns:a16="http://schemas.microsoft.com/office/drawing/2014/main" id="{03BCF0F2-0BAF-4293-BB08-E05654CA0D37}"/>
              </a:ext>
            </a:extLst>
          </p:cNvPr>
          <p:cNvSpPr>
            <a:spLocks noGrp="1"/>
          </p:cNvSpPr>
          <p:nvPr>
            <p:ph type="body" sz="quarter" idx="28" hasCustomPrompt="1"/>
          </p:nvPr>
        </p:nvSpPr>
        <p:spPr>
          <a:xfrm>
            <a:off x="8627014" y="3771589"/>
            <a:ext cx="2425610"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68" name="Textplatzhalter 54">
            <a:extLst>
              <a:ext uri="{FF2B5EF4-FFF2-40B4-BE49-F238E27FC236}">
                <a16:creationId xmlns:a16="http://schemas.microsoft.com/office/drawing/2014/main" id="{3CDFAF27-A7AE-46B7-9046-95F7B4010652}"/>
              </a:ext>
            </a:extLst>
          </p:cNvPr>
          <p:cNvSpPr>
            <a:spLocks noGrp="1"/>
          </p:cNvSpPr>
          <p:nvPr>
            <p:ph type="body" sz="quarter" idx="29" hasCustomPrompt="1"/>
          </p:nvPr>
        </p:nvSpPr>
        <p:spPr>
          <a:xfrm>
            <a:off x="8627014" y="4508189"/>
            <a:ext cx="2425610"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Tree>
    <p:extLst>
      <p:ext uri="{BB962C8B-B14F-4D97-AF65-F5344CB8AC3E}">
        <p14:creationId xmlns:p14="http://schemas.microsoft.com/office/powerpoint/2010/main" val="15057379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jektkoordination, 5 Teilprojekte">
    <p:spTree>
      <p:nvGrpSpPr>
        <p:cNvPr id="1" name=""/>
        <p:cNvGrpSpPr/>
        <p:nvPr/>
      </p:nvGrpSpPr>
      <p:grpSpPr>
        <a:xfrm>
          <a:off x="0" y="0"/>
          <a:ext cx="0" cy="0"/>
          <a:chOff x="0" y="0"/>
          <a:chExt cx="0" cy="0"/>
        </a:xfrm>
      </p:grpSpPr>
      <p:sp>
        <p:nvSpPr>
          <p:cNvPr id="29" name="Textfeld 28">
            <a:extLst>
              <a:ext uri="{FF2B5EF4-FFF2-40B4-BE49-F238E27FC236}">
                <a16:creationId xmlns:a16="http://schemas.microsoft.com/office/drawing/2014/main" id="{04894325-E569-4954-94FE-D8ADB8BBB0AC}"/>
              </a:ext>
            </a:extLst>
          </p:cNvPr>
          <p:cNvSpPr txBox="1"/>
          <p:nvPr userDrawn="1">
            <p:custDataLst>
              <p:tags r:id="rId1"/>
            </p:custDataLst>
          </p:nvPr>
        </p:nvSpPr>
        <p:spPr>
          <a:xfrm>
            <a:off x="4526994" y="2133332"/>
            <a:ext cx="2397576" cy="629743"/>
          </a:xfrm>
          <a:prstGeom prst="rect">
            <a:avLst/>
          </a:prstGeom>
          <a:solidFill>
            <a:schemeClr val="tx1">
              <a:lumMod val="50000"/>
              <a:lumOff val="50000"/>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6" name="Textfeld 76">
            <a:extLst>
              <a:ext uri="{FF2B5EF4-FFF2-40B4-BE49-F238E27FC236}">
                <a16:creationId xmlns:a16="http://schemas.microsoft.com/office/drawing/2014/main" id="{381043CA-1501-49B1-BC27-D7EAA8F1435E}"/>
              </a:ext>
            </a:extLst>
          </p:cNvPr>
          <p:cNvSpPr txBox="1"/>
          <p:nvPr userDrawn="1">
            <p:custDataLst>
              <p:tags r:id="rId2"/>
            </p:custDataLst>
          </p:nvPr>
        </p:nvSpPr>
        <p:spPr>
          <a:xfrm>
            <a:off x="4526995" y="1301419"/>
            <a:ext cx="2397575" cy="669924"/>
          </a:xfrm>
          <a:prstGeom prst="rect">
            <a:avLst/>
          </a:prstGeom>
          <a:solidFill>
            <a:srgbClr val="E10019"/>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969"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4" name="Text Box 7">
            <a:extLst>
              <a:ext uri="{FF2B5EF4-FFF2-40B4-BE49-F238E27FC236}">
                <a16:creationId xmlns:a16="http://schemas.microsoft.com/office/drawing/2014/main" id="{E02160C4-5188-446B-A903-ACAEEC0F95EF}"/>
              </a:ext>
            </a:extLst>
          </p:cNvPr>
          <p:cNvSpPr txBox="1">
            <a:spLocks noChangeArrowheads="1"/>
          </p:cNvSpPr>
          <p:nvPr userDrawn="1">
            <p:custDataLst>
              <p:tags r:id="rId3"/>
            </p:custDataLst>
          </p:nvPr>
        </p:nvSpPr>
        <p:spPr bwMode="auto">
          <a:xfrm>
            <a:off x="353004" y="3776456"/>
            <a:ext cx="1938946"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5" name="Text Box 7">
            <a:extLst>
              <a:ext uri="{FF2B5EF4-FFF2-40B4-BE49-F238E27FC236}">
                <a16:creationId xmlns:a16="http://schemas.microsoft.com/office/drawing/2014/main" id="{E573B263-CD6A-4816-9B24-D52397B64E6E}"/>
              </a:ext>
            </a:extLst>
          </p:cNvPr>
          <p:cNvSpPr txBox="1">
            <a:spLocks noChangeArrowheads="1"/>
          </p:cNvSpPr>
          <p:nvPr userDrawn="1">
            <p:custDataLst>
              <p:tags r:id="rId4"/>
            </p:custDataLst>
          </p:nvPr>
        </p:nvSpPr>
        <p:spPr bwMode="auto">
          <a:xfrm>
            <a:off x="353004" y="4512687"/>
            <a:ext cx="1938946"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16" name="Textfeld 15">
            <a:extLst>
              <a:ext uri="{FF2B5EF4-FFF2-40B4-BE49-F238E27FC236}">
                <a16:creationId xmlns:a16="http://schemas.microsoft.com/office/drawing/2014/main" id="{E096CF86-AB58-42BA-8104-5409FF17D8B7}"/>
              </a:ext>
            </a:extLst>
          </p:cNvPr>
          <p:cNvSpPr txBox="1"/>
          <p:nvPr userDrawn="1">
            <p:custDataLst>
              <p:tags r:id="rId5"/>
            </p:custDataLst>
          </p:nvPr>
        </p:nvSpPr>
        <p:spPr>
          <a:xfrm>
            <a:off x="353003" y="2998294"/>
            <a:ext cx="1938946"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22" name="Text Box 7">
            <a:extLst>
              <a:ext uri="{FF2B5EF4-FFF2-40B4-BE49-F238E27FC236}">
                <a16:creationId xmlns:a16="http://schemas.microsoft.com/office/drawing/2014/main" id="{3490CB3E-BA02-4F42-90DD-FDED82103D1E}"/>
              </a:ext>
            </a:extLst>
          </p:cNvPr>
          <p:cNvSpPr txBox="1">
            <a:spLocks noChangeArrowheads="1"/>
          </p:cNvSpPr>
          <p:nvPr userDrawn="1">
            <p:custDataLst>
              <p:tags r:id="rId6"/>
            </p:custDataLst>
          </p:nvPr>
        </p:nvSpPr>
        <p:spPr bwMode="auto">
          <a:xfrm>
            <a:off x="353003" y="4512686"/>
            <a:ext cx="1938946"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33" name="Textplatzhalter 32">
            <a:extLst>
              <a:ext uri="{FF2B5EF4-FFF2-40B4-BE49-F238E27FC236}">
                <a16:creationId xmlns:a16="http://schemas.microsoft.com/office/drawing/2014/main" id="{93E4C263-056D-497F-A8B7-02C562A9C642}"/>
              </a:ext>
            </a:extLst>
          </p:cNvPr>
          <p:cNvSpPr>
            <a:spLocks noGrp="1"/>
          </p:cNvSpPr>
          <p:nvPr>
            <p:ph type="body" sz="quarter" idx="14" hasCustomPrompt="1"/>
          </p:nvPr>
        </p:nvSpPr>
        <p:spPr>
          <a:xfrm>
            <a:off x="4526989" y="1402550"/>
            <a:ext cx="2397576" cy="234661"/>
          </a:xfrm>
          <a:prstGeom prst="rect">
            <a:avLst/>
          </a:prstGeom>
        </p:spPr>
        <p:txBody>
          <a:bodyPr/>
          <a:lstStyle>
            <a:lvl1pPr marL="0" indent="0" algn="ctr">
              <a:buNone/>
              <a:defRPr sz="1000">
                <a:solidFill>
                  <a:schemeClr val="bg1"/>
                </a:solidFill>
                <a:latin typeface="M05 Text Office Bold" panose="020B0804040000000004" pitchFamily="34" charset="0"/>
              </a:defRPr>
            </a:lvl1pPr>
          </a:lstStyle>
          <a:p>
            <a:pPr lvl="0"/>
            <a:r>
              <a:rPr lang="de-DE"/>
              <a:t>Funktion</a:t>
            </a:r>
          </a:p>
          <a:p>
            <a:pPr lvl="0"/>
            <a:endParaRPr lang="de-DE"/>
          </a:p>
        </p:txBody>
      </p:sp>
      <p:sp>
        <p:nvSpPr>
          <p:cNvPr id="34" name="Textplatzhalter 32">
            <a:extLst>
              <a:ext uri="{FF2B5EF4-FFF2-40B4-BE49-F238E27FC236}">
                <a16:creationId xmlns:a16="http://schemas.microsoft.com/office/drawing/2014/main" id="{1EB63678-1DD9-4521-8683-32FA325B42C4}"/>
              </a:ext>
            </a:extLst>
          </p:cNvPr>
          <p:cNvSpPr>
            <a:spLocks noGrp="1"/>
          </p:cNvSpPr>
          <p:nvPr>
            <p:ph type="body" sz="quarter" idx="15" hasCustomPrompt="1"/>
          </p:nvPr>
        </p:nvSpPr>
        <p:spPr>
          <a:xfrm>
            <a:off x="4526989" y="1632907"/>
            <a:ext cx="2397576" cy="234661"/>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Name</a:t>
            </a:r>
          </a:p>
          <a:p>
            <a:pPr lvl="0"/>
            <a:endParaRPr lang="de-DE"/>
          </a:p>
        </p:txBody>
      </p:sp>
      <p:sp>
        <p:nvSpPr>
          <p:cNvPr id="35" name="Textplatzhalter 32">
            <a:extLst>
              <a:ext uri="{FF2B5EF4-FFF2-40B4-BE49-F238E27FC236}">
                <a16:creationId xmlns:a16="http://schemas.microsoft.com/office/drawing/2014/main" id="{4D84E7D6-D986-4316-85B1-188231379A4A}"/>
              </a:ext>
            </a:extLst>
          </p:cNvPr>
          <p:cNvSpPr>
            <a:spLocks noGrp="1"/>
          </p:cNvSpPr>
          <p:nvPr>
            <p:ph type="body" sz="quarter" idx="16" hasCustomPrompt="1"/>
          </p:nvPr>
        </p:nvSpPr>
        <p:spPr>
          <a:xfrm>
            <a:off x="4526989" y="2199399"/>
            <a:ext cx="2397576" cy="234661"/>
          </a:xfrm>
          <a:prstGeom prst="rect">
            <a:avLst/>
          </a:prstGeom>
        </p:spPr>
        <p:txBody>
          <a:bodyPr/>
          <a:lstStyle>
            <a:lvl1pPr marL="0" indent="0" algn="ctr">
              <a:buNone/>
              <a:defRPr sz="1000">
                <a:solidFill>
                  <a:schemeClr val="bg1"/>
                </a:solidFill>
                <a:latin typeface="M05 Text Office Bold" panose="020B0804040000000004" pitchFamily="34" charset="0"/>
              </a:defRPr>
            </a:lvl1pPr>
          </a:lstStyle>
          <a:p>
            <a:pPr lvl="0"/>
            <a:r>
              <a:rPr lang="de-DE"/>
              <a:t>Funktion</a:t>
            </a:r>
          </a:p>
          <a:p>
            <a:pPr lvl="0"/>
            <a:endParaRPr lang="de-DE"/>
          </a:p>
        </p:txBody>
      </p:sp>
      <p:sp>
        <p:nvSpPr>
          <p:cNvPr id="36" name="Textplatzhalter 32">
            <a:extLst>
              <a:ext uri="{FF2B5EF4-FFF2-40B4-BE49-F238E27FC236}">
                <a16:creationId xmlns:a16="http://schemas.microsoft.com/office/drawing/2014/main" id="{9D17E861-364D-4D03-83F7-AF5785D91E73}"/>
              </a:ext>
            </a:extLst>
          </p:cNvPr>
          <p:cNvSpPr>
            <a:spLocks noGrp="1"/>
          </p:cNvSpPr>
          <p:nvPr>
            <p:ph type="body" sz="quarter" idx="17" hasCustomPrompt="1"/>
          </p:nvPr>
        </p:nvSpPr>
        <p:spPr>
          <a:xfrm>
            <a:off x="4526989" y="2429756"/>
            <a:ext cx="2397576" cy="234661"/>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Name</a:t>
            </a:r>
          </a:p>
          <a:p>
            <a:pPr lvl="0"/>
            <a:endParaRPr lang="de-DE"/>
          </a:p>
        </p:txBody>
      </p:sp>
      <p:sp>
        <p:nvSpPr>
          <p:cNvPr id="38" name="Textplatzhalter 37">
            <a:extLst>
              <a:ext uri="{FF2B5EF4-FFF2-40B4-BE49-F238E27FC236}">
                <a16:creationId xmlns:a16="http://schemas.microsoft.com/office/drawing/2014/main" id="{97704318-A427-4694-B932-7DCBDDD25A1A}"/>
              </a:ext>
            </a:extLst>
          </p:cNvPr>
          <p:cNvSpPr>
            <a:spLocks noGrp="1"/>
          </p:cNvSpPr>
          <p:nvPr>
            <p:ph type="body" sz="quarter" idx="18" hasCustomPrompt="1"/>
          </p:nvPr>
        </p:nvSpPr>
        <p:spPr>
          <a:xfrm>
            <a:off x="352425" y="2998087"/>
            <a:ext cx="1940233"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52" name="Textplatzhalter 51">
            <a:extLst>
              <a:ext uri="{FF2B5EF4-FFF2-40B4-BE49-F238E27FC236}">
                <a16:creationId xmlns:a16="http://schemas.microsoft.com/office/drawing/2014/main" id="{AE2C8D09-5D6D-4B55-A74E-CD67B581B9D0}"/>
              </a:ext>
            </a:extLst>
          </p:cNvPr>
          <p:cNvSpPr>
            <a:spLocks noGrp="1"/>
          </p:cNvSpPr>
          <p:nvPr>
            <p:ph type="body" sz="quarter" idx="19" hasCustomPrompt="1"/>
          </p:nvPr>
        </p:nvSpPr>
        <p:spPr>
          <a:xfrm>
            <a:off x="352424" y="3776663"/>
            <a:ext cx="1937929"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55" name="Textplatzhalter 54">
            <a:extLst>
              <a:ext uri="{FF2B5EF4-FFF2-40B4-BE49-F238E27FC236}">
                <a16:creationId xmlns:a16="http://schemas.microsoft.com/office/drawing/2014/main" id="{407E4E95-FDD9-4F3A-A952-0AC917F88366}"/>
              </a:ext>
            </a:extLst>
          </p:cNvPr>
          <p:cNvSpPr>
            <a:spLocks noGrp="1"/>
          </p:cNvSpPr>
          <p:nvPr>
            <p:ph type="body" sz="quarter" idx="20" hasCustomPrompt="1"/>
          </p:nvPr>
        </p:nvSpPr>
        <p:spPr>
          <a:xfrm>
            <a:off x="352424" y="4513263"/>
            <a:ext cx="1937929"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126" name="Text Box 7">
            <a:extLst>
              <a:ext uri="{FF2B5EF4-FFF2-40B4-BE49-F238E27FC236}">
                <a16:creationId xmlns:a16="http://schemas.microsoft.com/office/drawing/2014/main" id="{38729826-4E15-4F95-B32E-6A9AB8E6E1E3}"/>
              </a:ext>
            </a:extLst>
          </p:cNvPr>
          <p:cNvSpPr txBox="1">
            <a:spLocks noChangeArrowheads="1"/>
          </p:cNvSpPr>
          <p:nvPr userDrawn="1">
            <p:custDataLst>
              <p:tags r:id="rId7"/>
            </p:custDataLst>
          </p:nvPr>
        </p:nvSpPr>
        <p:spPr bwMode="auto">
          <a:xfrm>
            <a:off x="2543638" y="3776456"/>
            <a:ext cx="1938946"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27" name="Text Box 7">
            <a:extLst>
              <a:ext uri="{FF2B5EF4-FFF2-40B4-BE49-F238E27FC236}">
                <a16:creationId xmlns:a16="http://schemas.microsoft.com/office/drawing/2014/main" id="{64B887E0-5C72-4772-A063-4EB28C462657}"/>
              </a:ext>
            </a:extLst>
          </p:cNvPr>
          <p:cNvSpPr txBox="1">
            <a:spLocks noChangeArrowheads="1"/>
          </p:cNvSpPr>
          <p:nvPr userDrawn="1">
            <p:custDataLst>
              <p:tags r:id="rId8"/>
            </p:custDataLst>
          </p:nvPr>
        </p:nvSpPr>
        <p:spPr bwMode="auto">
          <a:xfrm>
            <a:off x="2543638" y="4512687"/>
            <a:ext cx="1938946"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128" name="Textfeld 127">
            <a:extLst>
              <a:ext uri="{FF2B5EF4-FFF2-40B4-BE49-F238E27FC236}">
                <a16:creationId xmlns:a16="http://schemas.microsoft.com/office/drawing/2014/main" id="{6161DDEA-3431-4C1C-B1EB-C220E63483E2}"/>
              </a:ext>
            </a:extLst>
          </p:cNvPr>
          <p:cNvSpPr txBox="1"/>
          <p:nvPr userDrawn="1">
            <p:custDataLst>
              <p:tags r:id="rId9"/>
            </p:custDataLst>
          </p:nvPr>
        </p:nvSpPr>
        <p:spPr>
          <a:xfrm>
            <a:off x="2543637" y="2998294"/>
            <a:ext cx="1938946"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29" name="Text Box 7">
            <a:extLst>
              <a:ext uri="{FF2B5EF4-FFF2-40B4-BE49-F238E27FC236}">
                <a16:creationId xmlns:a16="http://schemas.microsoft.com/office/drawing/2014/main" id="{567447BC-6EBE-4F01-8724-FBD8189FBD07}"/>
              </a:ext>
            </a:extLst>
          </p:cNvPr>
          <p:cNvSpPr txBox="1">
            <a:spLocks noChangeArrowheads="1"/>
          </p:cNvSpPr>
          <p:nvPr userDrawn="1">
            <p:custDataLst>
              <p:tags r:id="rId10"/>
            </p:custDataLst>
          </p:nvPr>
        </p:nvSpPr>
        <p:spPr bwMode="auto">
          <a:xfrm>
            <a:off x="2543637" y="4512686"/>
            <a:ext cx="1938946"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130" name="Textplatzhalter 37">
            <a:extLst>
              <a:ext uri="{FF2B5EF4-FFF2-40B4-BE49-F238E27FC236}">
                <a16:creationId xmlns:a16="http://schemas.microsoft.com/office/drawing/2014/main" id="{7DCB56B2-1C83-4D06-8DE1-117599B0829A}"/>
              </a:ext>
            </a:extLst>
          </p:cNvPr>
          <p:cNvSpPr>
            <a:spLocks noGrp="1"/>
          </p:cNvSpPr>
          <p:nvPr>
            <p:ph type="body" sz="quarter" idx="21" hasCustomPrompt="1"/>
          </p:nvPr>
        </p:nvSpPr>
        <p:spPr>
          <a:xfrm>
            <a:off x="2543059" y="2998087"/>
            <a:ext cx="1940233"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131" name="Textplatzhalter 51">
            <a:extLst>
              <a:ext uri="{FF2B5EF4-FFF2-40B4-BE49-F238E27FC236}">
                <a16:creationId xmlns:a16="http://schemas.microsoft.com/office/drawing/2014/main" id="{7354E21D-0837-452E-933F-4741EA4C7532}"/>
              </a:ext>
            </a:extLst>
          </p:cNvPr>
          <p:cNvSpPr>
            <a:spLocks noGrp="1"/>
          </p:cNvSpPr>
          <p:nvPr>
            <p:ph type="body" sz="quarter" idx="22" hasCustomPrompt="1"/>
          </p:nvPr>
        </p:nvSpPr>
        <p:spPr>
          <a:xfrm>
            <a:off x="2543058" y="3776663"/>
            <a:ext cx="1937929"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132" name="Textplatzhalter 54">
            <a:extLst>
              <a:ext uri="{FF2B5EF4-FFF2-40B4-BE49-F238E27FC236}">
                <a16:creationId xmlns:a16="http://schemas.microsoft.com/office/drawing/2014/main" id="{2562DC10-2A66-49C6-B938-A79DB35F7A39}"/>
              </a:ext>
            </a:extLst>
          </p:cNvPr>
          <p:cNvSpPr>
            <a:spLocks noGrp="1"/>
          </p:cNvSpPr>
          <p:nvPr>
            <p:ph type="body" sz="quarter" idx="23" hasCustomPrompt="1"/>
          </p:nvPr>
        </p:nvSpPr>
        <p:spPr>
          <a:xfrm>
            <a:off x="2543058" y="4513263"/>
            <a:ext cx="1937929"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133" name="Text Box 7">
            <a:extLst>
              <a:ext uri="{FF2B5EF4-FFF2-40B4-BE49-F238E27FC236}">
                <a16:creationId xmlns:a16="http://schemas.microsoft.com/office/drawing/2014/main" id="{A0022F99-636B-4341-AA9C-E135D737D358}"/>
              </a:ext>
            </a:extLst>
          </p:cNvPr>
          <p:cNvSpPr txBox="1">
            <a:spLocks noChangeArrowheads="1"/>
          </p:cNvSpPr>
          <p:nvPr userDrawn="1">
            <p:custDataLst>
              <p:tags r:id="rId11"/>
            </p:custDataLst>
          </p:nvPr>
        </p:nvSpPr>
        <p:spPr bwMode="auto">
          <a:xfrm>
            <a:off x="9115855" y="3776456"/>
            <a:ext cx="1938946"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34" name="Text Box 7">
            <a:extLst>
              <a:ext uri="{FF2B5EF4-FFF2-40B4-BE49-F238E27FC236}">
                <a16:creationId xmlns:a16="http://schemas.microsoft.com/office/drawing/2014/main" id="{7D1B3B21-CD5B-4C50-95E6-460BA4D04D19}"/>
              </a:ext>
            </a:extLst>
          </p:cNvPr>
          <p:cNvSpPr txBox="1">
            <a:spLocks noChangeArrowheads="1"/>
          </p:cNvSpPr>
          <p:nvPr userDrawn="1">
            <p:custDataLst>
              <p:tags r:id="rId12"/>
            </p:custDataLst>
          </p:nvPr>
        </p:nvSpPr>
        <p:spPr bwMode="auto">
          <a:xfrm>
            <a:off x="9115855" y="4512687"/>
            <a:ext cx="1938946"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135" name="Textfeld 134">
            <a:extLst>
              <a:ext uri="{FF2B5EF4-FFF2-40B4-BE49-F238E27FC236}">
                <a16:creationId xmlns:a16="http://schemas.microsoft.com/office/drawing/2014/main" id="{DC5B54E9-2664-4273-B20F-ACDFA8C25369}"/>
              </a:ext>
            </a:extLst>
          </p:cNvPr>
          <p:cNvSpPr txBox="1"/>
          <p:nvPr userDrawn="1">
            <p:custDataLst>
              <p:tags r:id="rId13"/>
            </p:custDataLst>
          </p:nvPr>
        </p:nvSpPr>
        <p:spPr>
          <a:xfrm>
            <a:off x="9115854" y="2998294"/>
            <a:ext cx="1938946"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36" name="Text Box 7">
            <a:extLst>
              <a:ext uri="{FF2B5EF4-FFF2-40B4-BE49-F238E27FC236}">
                <a16:creationId xmlns:a16="http://schemas.microsoft.com/office/drawing/2014/main" id="{066DB12A-AAB6-4E24-AB91-4626D88C1031}"/>
              </a:ext>
            </a:extLst>
          </p:cNvPr>
          <p:cNvSpPr txBox="1">
            <a:spLocks noChangeArrowheads="1"/>
          </p:cNvSpPr>
          <p:nvPr userDrawn="1">
            <p:custDataLst>
              <p:tags r:id="rId14"/>
            </p:custDataLst>
          </p:nvPr>
        </p:nvSpPr>
        <p:spPr bwMode="auto">
          <a:xfrm>
            <a:off x="9115854" y="4512686"/>
            <a:ext cx="1938946"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137" name="Textplatzhalter 37">
            <a:extLst>
              <a:ext uri="{FF2B5EF4-FFF2-40B4-BE49-F238E27FC236}">
                <a16:creationId xmlns:a16="http://schemas.microsoft.com/office/drawing/2014/main" id="{2406EF4A-5274-45FB-BCD4-85979A238AEB}"/>
              </a:ext>
            </a:extLst>
          </p:cNvPr>
          <p:cNvSpPr>
            <a:spLocks noGrp="1"/>
          </p:cNvSpPr>
          <p:nvPr>
            <p:ph type="body" sz="quarter" idx="24" hasCustomPrompt="1"/>
          </p:nvPr>
        </p:nvSpPr>
        <p:spPr>
          <a:xfrm>
            <a:off x="9115276" y="2998087"/>
            <a:ext cx="1940233"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138" name="Textplatzhalter 51">
            <a:extLst>
              <a:ext uri="{FF2B5EF4-FFF2-40B4-BE49-F238E27FC236}">
                <a16:creationId xmlns:a16="http://schemas.microsoft.com/office/drawing/2014/main" id="{AAE4B8F4-1001-4B53-B877-02277F54F418}"/>
              </a:ext>
            </a:extLst>
          </p:cNvPr>
          <p:cNvSpPr>
            <a:spLocks noGrp="1"/>
          </p:cNvSpPr>
          <p:nvPr>
            <p:ph type="body" sz="quarter" idx="25" hasCustomPrompt="1"/>
          </p:nvPr>
        </p:nvSpPr>
        <p:spPr>
          <a:xfrm>
            <a:off x="9115275" y="3776663"/>
            <a:ext cx="1937929"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139" name="Textplatzhalter 54">
            <a:extLst>
              <a:ext uri="{FF2B5EF4-FFF2-40B4-BE49-F238E27FC236}">
                <a16:creationId xmlns:a16="http://schemas.microsoft.com/office/drawing/2014/main" id="{AC9D77DE-5F25-4C6E-89B0-22895B531278}"/>
              </a:ext>
            </a:extLst>
          </p:cNvPr>
          <p:cNvSpPr>
            <a:spLocks noGrp="1"/>
          </p:cNvSpPr>
          <p:nvPr>
            <p:ph type="body" sz="quarter" idx="26" hasCustomPrompt="1"/>
          </p:nvPr>
        </p:nvSpPr>
        <p:spPr>
          <a:xfrm>
            <a:off x="9115275" y="4513263"/>
            <a:ext cx="1937929"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140" name="Text Box 7">
            <a:extLst>
              <a:ext uri="{FF2B5EF4-FFF2-40B4-BE49-F238E27FC236}">
                <a16:creationId xmlns:a16="http://schemas.microsoft.com/office/drawing/2014/main" id="{4C3A02A2-AEC2-45B0-9CB2-EB94C876363D}"/>
              </a:ext>
            </a:extLst>
          </p:cNvPr>
          <p:cNvSpPr txBox="1">
            <a:spLocks noChangeArrowheads="1"/>
          </p:cNvSpPr>
          <p:nvPr userDrawn="1">
            <p:custDataLst>
              <p:tags r:id="rId15"/>
            </p:custDataLst>
          </p:nvPr>
        </p:nvSpPr>
        <p:spPr bwMode="auto">
          <a:xfrm>
            <a:off x="6927085" y="3778815"/>
            <a:ext cx="1938946"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41" name="Text Box 7">
            <a:extLst>
              <a:ext uri="{FF2B5EF4-FFF2-40B4-BE49-F238E27FC236}">
                <a16:creationId xmlns:a16="http://schemas.microsoft.com/office/drawing/2014/main" id="{538DECA3-2D66-4F33-A61A-33EAB228AE7E}"/>
              </a:ext>
            </a:extLst>
          </p:cNvPr>
          <p:cNvSpPr txBox="1">
            <a:spLocks noChangeArrowheads="1"/>
          </p:cNvSpPr>
          <p:nvPr userDrawn="1">
            <p:custDataLst>
              <p:tags r:id="rId16"/>
            </p:custDataLst>
          </p:nvPr>
        </p:nvSpPr>
        <p:spPr bwMode="auto">
          <a:xfrm>
            <a:off x="6927085" y="4515046"/>
            <a:ext cx="1938946"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142" name="Textfeld 141">
            <a:extLst>
              <a:ext uri="{FF2B5EF4-FFF2-40B4-BE49-F238E27FC236}">
                <a16:creationId xmlns:a16="http://schemas.microsoft.com/office/drawing/2014/main" id="{641BAF36-9E25-49AA-85A5-20A12A971A50}"/>
              </a:ext>
            </a:extLst>
          </p:cNvPr>
          <p:cNvSpPr txBox="1"/>
          <p:nvPr userDrawn="1">
            <p:custDataLst>
              <p:tags r:id="rId17"/>
            </p:custDataLst>
          </p:nvPr>
        </p:nvSpPr>
        <p:spPr>
          <a:xfrm>
            <a:off x="6927084" y="3000653"/>
            <a:ext cx="1938946"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43" name="Text Box 7">
            <a:extLst>
              <a:ext uri="{FF2B5EF4-FFF2-40B4-BE49-F238E27FC236}">
                <a16:creationId xmlns:a16="http://schemas.microsoft.com/office/drawing/2014/main" id="{B2F8ED02-22E1-4EEE-8F83-96A5D3D4BF20}"/>
              </a:ext>
            </a:extLst>
          </p:cNvPr>
          <p:cNvSpPr txBox="1">
            <a:spLocks noChangeArrowheads="1"/>
          </p:cNvSpPr>
          <p:nvPr userDrawn="1">
            <p:custDataLst>
              <p:tags r:id="rId18"/>
            </p:custDataLst>
          </p:nvPr>
        </p:nvSpPr>
        <p:spPr bwMode="auto">
          <a:xfrm>
            <a:off x="6927084" y="4515045"/>
            <a:ext cx="1938946"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144" name="Textplatzhalter 37">
            <a:extLst>
              <a:ext uri="{FF2B5EF4-FFF2-40B4-BE49-F238E27FC236}">
                <a16:creationId xmlns:a16="http://schemas.microsoft.com/office/drawing/2014/main" id="{402D0241-581F-42C1-B5AE-8242F126A81E}"/>
              </a:ext>
            </a:extLst>
          </p:cNvPr>
          <p:cNvSpPr>
            <a:spLocks noGrp="1"/>
          </p:cNvSpPr>
          <p:nvPr>
            <p:ph type="body" sz="quarter" idx="27" hasCustomPrompt="1"/>
          </p:nvPr>
        </p:nvSpPr>
        <p:spPr>
          <a:xfrm>
            <a:off x="6926506" y="3000446"/>
            <a:ext cx="1940233"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145" name="Textplatzhalter 51">
            <a:extLst>
              <a:ext uri="{FF2B5EF4-FFF2-40B4-BE49-F238E27FC236}">
                <a16:creationId xmlns:a16="http://schemas.microsoft.com/office/drawing/2014/main" id="{A507298F-E7BF-47AC-826A-8045519C21A5}"/>
              </a:ext>
            </a:extLst>
          </p:cNvPr>
          <p:cNvSpPr>
            <a:spLocks noGrp="1"/>
          </p:cNvSpPr>
          <p:nvPr>
            <p:ph type="body" sz="quarter" idx="28" hasCustomPrompt="1"/>
          </p:nvPr>
        </p:nvSpPr>
        <p:spPr>
          <a:xfrm>
            <a:off x="6926505" y="3779022"/>
            <a:ext cx="1937929"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146" name="Textplatzhalter 54">
            <a:extLst>
              <a:ext uri="{FF2B5EF4-FFF2-40B4-BE49-F238E27FC236}">
                <a16:creationId xmlns:a16="http://schemas.microsoft.com/office/drawing/2014/main" id="{60F8B9F8-C589-48D0-AD89-429CF1902C7F}"/>
              </a:ext>
            </a:extLst>
          </p:cNvPr>
          <p:cNvSpPr>
            <a:spLocks noGrp="1"/>
          </p:cNvSpPr>
          <p:nvPr>
            <p:ph type="body" sz="quarter" idx="29" hasCustomPrompt="1"/>
          </p:nvPr>
        </p:nvSpPr>
        <p:spPr>
          <a:xfrm>
            <a:off x="6926505" y="4515622"/>
            <a:ext cx="1937929"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147" name="Text Box 7">
            <a:extLst>
              <a:ext uri="{FF2B5EF4-FFF2-40B4-BE49-F238E27FC236}">
                <a16:creationId xmlns:a16="http://schemas.microsoft.com/office/drawing/2014/main" id="{D7CEAF68-E010-45E2-854A-9878F1CDD703}"/>
              </a:ext>
            </a:extLst>
          </p:cNvPr>
          <p:cNvSpPr txBox="1">
            <a:spLocks noChangeArrowheads="1"/>
          </p:cNvSpPr>
          <p:nvPr userDrawn="1">
            <p:custDataLst>
              <p:tags r:id="rId19"/>
            </p:custDataLst>
          </p:nvPr>
        </p:nvSpPr>
        <p:spPr bwMode="auto">
          <a:xfrm>
            <a:off x="4730104" y="3769500"/>
            <a:ext cx="1938946"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48" name="Text Box 7">
            <a:extLst>
              <a:ext uri="{FF2B5EF4-FFF2-40B4-BE49-F238E27FC236}">
                <a16:creationId xmlns:a16="http://schemas.microsoft.com/office/drawing/2014/main" id="{7A0E8645-EECB-4EE9-B782-2D911EA43973}"/>
              </a:ext>
            </a:extLst>
          </p:cNvPr>
          <p:cNvSpPr txBox="1">
            <a:spLocks noChangeArrowheads="1"/>
          </p:cNvSpPr>
          <p:nvPr userDrawn="1">
            <p:custDataLst>
              <p:tags r:id="rId20"/>
            </p:custDataLst>
          </p:nvPr>
        </p:nvSpPr>
        <p:spPr bwMode="auto">
          <a:xfrm>
            <a:off x="4730104" y="4505731"/>
            <a:ext cx="1938946"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149" name="Textfeld 148">
            <a:extLst>
              <a:ext uri="{FF2B5EF4-FFF2-40B4-BE49-F238E27FC236}">
                <a16:creationId xmlns:a16="http://schemas.microsoft.com/office/drawing/2014/main" id="{9E0FA668-3F7E-44F5-A19C-7A3E613ED745}"/>
              </a:ext>
            </a:extLst>
          </p:cNvPr>
          <p:cNvSpPr txBox="1"/>
          <p:nvPr userDrawn="1">
            <p:custDataLst>
              <p:tags r:id="rId21"/>
            </p:custDataLst>
          </p:nvPr>
        </p:nvSpPr>
        <p:spPr>
          <a:xfrm>
            <a:off x="4730103" y="2991338"/>
            <a:ext cx="1938946"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50" name="Text Box 7">
            <a:extLst>
              <a:ext uri="{FF2B5EF4-FFF2-40B4-BE49-F238E27FC236}">
                <a16:creationId xmlns:a16="http://schemas.microsoft.com/office/drawing/2014/main" id="{B9EDC72E-8518-45E6-9AC0-9A3DD342E3A0}"/>
              </a:ext>
            </a:extLst>
          </p:cNvPr>
          <p:cNvSpPr txBox="1">
            <a:spLocks noChangeArrowheads="1"/>
          </p:cNvSpPr>
          <p:nvPr userDrawn="1">
            <p:custDataLst>
              <p:tags r:id="rId22"/>
            </p:custDataLst>
          </p:nvPr>
        </p:nvSpPr>
        <p:spPr bwMode="auto">
          <a:xfrm>
            <a:off x="4730103" y="4505730"/>
            <a:ext cx="1938946"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151" name="Textplatzhalter 37">
            <a:extLst>
              <a:ext uri="{FF2B5EF4-FFF2-40B4-BE49-F238E27FC236}">
                <a16:creationId xmlns:a16="http://schemas.microsoft.com/office/drawing/2014/main" id="{73B3453C-806E-45F2-BF6D-1AB5E9B77363}"/>
              </a:ext>
            </a:extLst>
          </p:cNvPr>
          <p:cNvSpPr>
            <a:spLocks noGrp="1"/>
          </p:cNvSpPr>
          <p:nvPr>
            <p:ph type="body" sz="quarter" idx="30" hasCustomPrompt="1"/>
          </p:nvPr>
        </p:nvSpPr>
        <p:spPr>
          <a:xfrm>
            <a:off x="4729525" y="2991131"/>
            <a:ext cx="1940233"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152" name="Textplatzhalter 51">
            <a:extLst>
              <a:ext uri="{FF2B5EF4-FFF2-40B4-BE49-F238E27FC236}">
                <a16:creationId xmlns:a16="http://schemas.microsoft.com/office/drawing/2014/main" id="{3915CCD1-739A-4DD6-8C94-E5B04EF8E0ED}"/>
              </a:ext>
            </a:extLst>
          </p:cNvPr>
          <p:cNvSpPr>
            <a:spLocks noGrp="1"/>
          </p:cNvSpPr>
          <p:nvPr>
            <p:ph type="body" sz="quarter" idx="31" hasCustomPrompt="1"/>
          </p:nvPr>
        </p:nvSpPr>
        <p:spPr>
          <a:xfrm>
            <a:off x="4729524" y="3769707"/>
            <a:ext cx="1937929"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153" name="Textplatzhalter 54">
            <a:extLst>
              <a:ext uri="{FF2B5EF4-FFF2-40B4-BE49-F238E27FC236}">
                <a16:creationId xmlns:a16="http://schemas.microsoft.com/office/drawing/2014/main" id="{D4FCE1B3-44DA-4084-A714-DFE226553DD1}"/>
              </a:ext>
            </a:extLst>
          </p:cNvPr>
          <p:cNvSpPr>
            <a:spLocks noGrp="1"/>
          </p:cNvSpPr>
          <p:nvPr>
            <p:ph type="body" sz="quarter" idx="32" hasCustomPrompt="1"/>
          </p:nvPr>
        </p:nvSpPr>
        <p:spPr>
          <a:xfrm>
            <a:off x="4729524" y="4506307"/>
            <a:ext cx="1937929"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Tree>
    <p:extLst>
      <p:ext uri="{BB962C8B-B14F-4D97-AF65-F5344CB8AC3E}">
        <p14:creationId xmlns:p14="http://schemas.microsoft.com/office/powerpoint/2010/main" val="9204948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ild links mit Headline; mittiges Raster">
    <p:spTree>
      <p:nvGrpSpPr>
        <p:cNvPr id="1" name=""/>
        <p:cNvGrpSpPr/>
        <p:nvPr/>
      </p:nvGrpSpPr>
      <p:grpSpPr>
        <a:xfrm>
          <a:off x="0" y="0"/>
          <a:ext cx="0" cy="0"/>
          <a:chOff x="0" y="0"/>
          <a:chExt cx="0" cy="0"/>
        </a:xfrm>
      </p:grpSpPr>
      <p:grpSp>
        <p:nvGrpSpPr>
          <p:cNvPr id="8" name="Gruppieren 7">
            <a:extLst>
              <a:ext uri="{FF2B5EF4-FFF2-40B4-BE49-F238E27FC236}">
                <a16:creationId xmlns:a16="http://schemas.microsoft.com/office/drawing/2014/main" id="{0108B528-568E-4571-B955-15BCEEC3F401}"/>
              </a:ext>
            </a:extLst>
          </p:cNvPr>
          <p:cNvGrpSpPr>
            <a:grpSpLocks noChangeAspect="1"/>
          </p:cNvGrpSpPr>
          <p:nvPr userDrawn="1"/>
        </p:nvGrpSpPr>
        <p:grpSpPr>
          <a:xfrm>
            <a:off x="4128049" y="0"/>
            <a:ext cx="3935901" cy="1980000"/>
            <a:chOff x="-114411" y="-1"/>
            <a:chExt cx="1100501" cy="553622"/>
          </a:xfrm>
          <a:solidFill>
            <a:schemeClr val="tx2"/>
          </a:solidFill>
        </p:grpSpPr>
        <p:sp>
          <p:nvSpPr>
            <p:cNvPr id="6" name="Rechtwinkliges Dreieck 5">
              <a:extLst>
                <a:ext uri="{FF2B5EF4-FFF2-40B4-BE49-F238E27FC236}">
                  <a16:creationId xmlns:a16="http://schemas.microsoft.com/office/drawing/2014/main" id="{A3DC1893-A361-4127-A5FC-E174FD7B5812}"/>
                </a:ext>
              </a:extLst>
            </p:cNvPr>
            <p:cNvSpPr>
              <a:spLocks noChangeAspect="1"/>
            </p:cNvSpPr>
            <p:nvPr userDrawn="1"/>
          </p:nvSpPr>
          <p:spPr>
            <a:xfrm rot="10800000">
              <a:off x="-114411" y="-1"/>
              <a:ext cx="550350" cy="553622"/>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814" tIns="38407" rIns="76814" bIns="38407" numCol="1" spcCol="0" rtlCol="0" fromWordArt="0" anchor="ctr" anchorCtr="0" forceAA="0" compatLnSpc="1">
              <a:prstTxWarp prst="textNoShape">
                <a:avLst/>
              </a:prstTxWarp>
              <a:noAutofit/>
            </a:bodyPr>
            <a:lstStyle/>
            <a:p>
              <a:pPr algn="ctr"/>
              <a:endParaRPr lang="de-DE" sz="1512">
                <a:latin typeface="M05 Text Office" panose="020B0504040000000004" pitchFamily="34" charset="0"/>
              </a:endParaRPr>
            </a:p>
          </p:txBody>
        </p:sp>
        <p:sp>
          <p:nvSpPr>
            <p:cNvPr id="7" name="Rechtwinkliges Dreieck 6">
              <a:extLst>
                <a:ext uri="{FF2B5EF4-FFF2-40B4-BE49-F238E27FC236}">
                  <a16:creationId xmlns:a16="http://schemas.microsoft.com/office/drawing/2014/main" id="{8E734285-A9A2-49D3-9500-1568669190FE}"/>
                </a:ext>
              </a:extLst>
            </p:cNvPr>
            <p:cNvSpPr>
              <a:spLocks noChangeAspect="1"/>
            </p:cNvSpPr>
            <p:nvPr userDrawn="1"/>
          </p:nvSpPr>
          <p:spPr>
            <a:xfrm rot="10800000" flipH="1">
              <a:off x="435939" y="-1"/>
              <a:ext cx="550151" cy="55342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814" tIns="38407" rIns="76814" bIns="38407" numCol="1" spcCol="0" rtlCol="0" fromWordArt="0" anchor="ctr" anchorCtr="0" forceAA="0" compatLnSpc="1">
              <a:prstTxWarp prst="textNoShape">
                <a:avLst/>
              </a:prstTxWarp>
              <a:noAutofit/>
            </a:bodyPr>
            <a:lstStyle/>
            <a:p>
              <a:pPr algn="ctr"/>
              <a:endParaRPr lang="de-DE" sz="1512">
                <a:latin typeface="M05 Text Office" panose="020B0504040000000004" pitchFamily="34" charset="0"/>
              </a:endParaRPr>
            </a:p>
          </p:txBody>
        </p:sp>
      </p:grpSp>
      <p:sp>
        <p:nvSpPr>
          <p:cNvPr id="12" name="Rechteck: eine Ecke abgeschnitten 11">
            <a:extLst>
              <a:ext uri="{FF2B5EF4-FFF2-40B4-BE49-F238E27FC236}">
                <a16:creationId xmlns:a16="http://schemas.microsoft.com/office/drawing/2014/main" id="{4B06C45A-76C0-49E6-ABCF-DDEC4C896173}"/>
              </a:ext>
            </a:extLst>
          </p:cNvPr>
          <p:cNvSpPr/>
          <p:nvPr userDrawn="1"/>
        </p:nvSpPr>
        <p:spPr>
          <a:xfrm flipH="1">
            <a:off x="6094780" y="0"/>
            <a:ext cx="6094780" cy="6858000"/>
          </a:xfrm>
          <a:prstGeom prst="snip1Rect">
            <a:avLst>
              <a:gd name="adj" fmla="val 32252"/>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05 Text Office" panose="020B0504040000000004" pitchFamily="34" charset="0"/>
            </a:endParaRPr>
          </a:p>
        </p:txBody>
      </p:sp>
      <p:sp>
        <p:nvSpPr>
          <p:cNvPr id="14" name="Textplatzhalter 13">
            <a:extLst>
              <a:ext uri="{FF2B5EF4-FFF2-40B4-BE49-F238E27FC236}">
                <a16:creationId xmlns:a16="http://schemas.microsoft.com/office/drawing/2014/main" id="{EECB25AE-9574-4EFA-8AFF-BFDD997C040B}"/>
              </a:ext>
            </a:extLst>
          </p:cNvPr>
          <p:cNvSpPr>
            <a:spLocks noGrp="1"/>
          </p:cNvSpPr>
          <p:nvPr>
            <p:ph type="body" sz="quarter" idx="13" hasCustomPrompt="1"/>
          </p:nvPr>
        </p:nvSpPr>
        <p:spPr>
          <a:xfrm>
            <a:off x="6357257" y="2578098"/>
            <a:ext cx="5721531" cy="2438400"/>
          </a:xfrm>
          <a:prstGeom prst="rect">
            <a:avLst/>
          </a:prstGeom>
        </p:spPr>
        <p:txBody>
          <a:bodyPr/>
          <a:lstStyle>
            <a:lvl1pPr marL="0" indent="0">
              <a:buNone/>
              <a:defRPr sz="3200" cap="all" baseline="0">
                <a:solidFill>
                  <a:schemeClr val="bg1"/>
                </a:solidFill>
                <a:latin typeface="M05 Text Office Bold" panose="020B0804040000000004" pitchFamily="34" charset="0"/>
              </a:defRPr>
            </a:lvl1pPr>
            <a:lvl2pPr>
              <a:defRPr sz="2000">
                <a:solidFill>
                  <a:schemeClr val="bg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de-DE"/>
              <a:t>Mastertextformat bearbeiten M05 Text </a:t>
            </a:r>
            <a:r>
              <a:rPr lang="de-DE" err="1"/>
              <a:t>bold</a:t>
            </a:r>
            <a:r>
              <a:rPr lang="de-DE"/>
              <a:t> </a:t>
            </a:r>
            <a:r>
              <a:rPr lang="de-DE" err="1"/>
              <a:t>pt</a:t>
            </a:r>
            <a:r>
              <a:rPr lang="de-DE"/>
              <a:t> 32</a:t>
            </a:r>
          </a:p>
        </p:txBody>
      </p:sp>
      <p:sp>
        <p:nvSpPr>
          <p:cNvPr id="5" name="Bildplatzhalter 4">
            <a:extLst>
              <a:ext uri="{FF2B5EF4-FFF2-40B4-BE49-F238E27FC236}">
                <a16:creationId xmlns:a16="http://schemas.microsoft.com/office/drawing/2014/main" id="{E88C28F9-B9E9-4584-B82B-B8A06CFE5E64}"/>
              </a:ext>
            </a:extLst>
          </p:cNvPr>
          <p:cNvSpPr>
            <a:spLocks noGrp="1"/>
          </p:cNvSpPr>
          <p:nvPr>
            <p:ph type="pic" sz="quarter" idx="15"/>
          </p:nvPr>
        </p:nvSpPr>
        <p:spPr>
          <a:xfrm>
            <a:off x="0" y="0"/>
            <a:ext cx="6095519" cy="6858000"/>
          </a:xfrm>
          <a:prstGeom prst="snip1Rect">
            <a:avLst>
              <a:gd name="adj" fmla="val 31805"/>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Tree>
    <p:extLst>
      <p:ext uri="{BB962C8B-B14F-4D97-AF65-F5344CB8AC3E}">
        <p14:creationId xmlns:p14="http://schemas.microsoft.com/office/powerpoint/2010/main" val="12476372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ojektkoordination, 6 Teilprojekte">
    <p:spTree>
      <p:nvGrpSpPr>
        <p:cNvPr id="1" name=""/>
        <p:cNvGrpSpPr/>
        <p:nvPr/>
      </p:nvGrpSpPr>
      <p:grpSpPr>
        <a:xfrm>
          <a:off x="0" y="0"/>
          <a:ext cx="0" cy="0"/>
          <a:chOff x="0" y="0"/>
          <a:chExt cx="0" cy="0"/>
        </a:xfrm>
      </p:grpSpPr>
      <p:sp>
        <p:nvSpPr>
          <p:cNvPr id="29" name="Textfeld 28">
            <a:extLst>
              <a:ext uri="{FF2B5EF4-FFF2-40B4-BE49-F238E27FC236}">
                <a16:creationId xmlns:a16="http://schemas.microsoft.com/office/drawing/2014/main" id="{04894325-E569-4954-94FE-D8ADB8BBB0AC}"/>
              </a:ext>
            </a:extLst>
          </p:cNvPr>
          <p:cNvSpPr txBox="1"/>
          <p:nvPr userDrawn="1">
            <p:custDataLst>
              <p:tags r:id="rId1"/>
            </p:custDataLst>
          </p:nvPr>
        </p:nvSpPr>
        <p:spPr>
          <a:xfrm>
            <a:off x="4526994" y="2133332"/>
            <a:ext cx="2397576" cy="629743"/>
          </a:xfrm>
          <a:prstGeom prst="rect">
            <a:avLst/>
          </a:prstGeom>
          <a:solidFill>
            <a:schemeClr val="tx1">
              <a:lumMod val="50000"/>
              <a:lumOff val="50000"/>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6" name="Textfeld 76">
            <a:extLst>
              <a:ext uri="{FF2B5EF4-FFF2-40B4-BE49-F238E27FC236}">
                <a16:creationId xmlns:a16="http://schemas.microsoft.com/office/drawing/2014/main" id="{381043CA-1501-49B1-BC27-D7EAA8F1435E}"/>
              </a:ext>
            </a:extLst>
          </p:cNvPr>
          <p:cNvSpPr txBox="1"/>
          <p:nvPr userDrawn="1">
            <p:custDataLst>
              <p:tags r:id="rId2"/>
            </p:custDataLst>
          </p:nvPr>
        </p:nvSpPr>
        <p:spPr>
          <a:xfrm>
            <a:off x="4526995" y="1301419"/>
            <a:ext cx="2397575" cy="669924"/>
          </a:xfrm>
          <a:prstGeom prst="rect">
            <a:avLst/>
          </a:prstGeom>
          <a:solidFill>
            <a:srgbClr val="E10019"/>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969"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4" name="Text Box 7">
            <a:extLst>
              <a:ext uri="{FF2B5EF4-FFF2-40B4-BE49-F238E27FC236}">
                <a16:creationId xmlns:a16="http://schemas.microsoft.com/office/drawing/2014/main" id="{E02160C4-5188-446B-A903-ACAEEC0F95EF}"/>
              </a:ext>
            </a:extLst>
          </p:cNvPr>
          <p:cNvSpPr txBox="1">
            <a:spLocks noChangeArrowheads="1"/>
          </p:cNvSpPr>
          <p:nvPr userDrawn="1">
            <p:custDataLst>
              <p:tags r:id="rId3"/>
            </p:custDataLst>
          </p:nvPr>
        </p:nvSpPr>
        <p:spPr bwMode="auto">
          <a:xfrm>
            <a:off x="353004" y="3776456"/>
            <a:ext cx="1660126"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5" name="Text Box 7">
            <a:extLst>
              <a:ext uri="{FF2B5EF4-FFF2-40B4-BE49-F238E27FC236}">
                <a16:creationId xmlns:a16="http://schemas.microsoft.com/office/drawing/2014/main" id="{E573B263-CD6A-4816-9B24-D52397B64E6E}"/>
              </a:ext>
            </a:extLst>
          </p:cNvPr>
          <p:cNvSpPr txBox="1">
            <a:spLocks noChangeArrowheads="1"/>
          </p:cNvSpPr>
          <p:nvPr userDrawn="1">
            <p:custDataLst>
              <p:tags r:id="rId4"/>
            </p:custDataLst>
          </p:nvPr>
        </p:nvSpPr>
        <p:spPr bwMode="auto">
          <a:xfrm>
            <a:off x="353004" y="4512687"/>
            <a:ext cx="1660126"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16" name="Textfeld 15">
            <a:extLst>
              <a:ext uri="{FF2B5EF4-FFF2-40B4-BE49-F238E27FC236}">
                <a16:creationId xmlns:a16="http://schemas.microsoft.com/office/drawing/2014/main" id="{E096CF86-AB58-42BA-8104-5409FF17D8B7}"/>
              </a:ext>
            </a:extLst>
          </p:cNvPr>
          <p:cNvSpPr txBox="1"/>
          <p:nvPr userDrawn="1">
            <p:custDataLst>
              <p:tags r:id="rId5"/>
            </p:custDataLst>
          </p:nvPr>
        </p:nvSpPr>
        <p:spPr>
          <a:xfrm>
            <a:off x="353003" y="2998294"/>
            <a:ext cx="1660126"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22" name="Text Box 7">
            <a:extLst>
              <a:ext uri="{FF2B5EF4-FFF2-40B4-BE49-F238E27FC236}">
                <a16:creationId xmlns:a16="http://schemas.microsoft.com/office/drawing/2014/main" id="{3490CB3E-BA02-4F42-90DD-FDED82103D1E}"/>
              </a:ext>
            </a:extLst>
          </p:cNvPr>
          <p:cNvSpPr txBox="1">
            <a:spLocks noChangeArrowheads="1"/>
          </p:cNvSpPr>
          <p:nvPr userDrawn="1">
            <p:custDataLst>
              <p:tags r:id="rId6"/>
            </p:custDataLst>
          </p:nvPr>
        </p:nvSpPr>
        <p:spPr bwMode="auto">
          <a:xfrm>
            <a:off x="353003" y="4512686"/>
            <a:ext cx="1660126"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33" name="Textplatzhalter 32">
            <a:extLst>
              <a:ext uri="{FF2B5EF4-FFF2-40B4-BE49-F238E27FC236}">
                <a16:creationId xmlns:a16="http://schemas.microsoft.com/office/drawing/2014/main" id="{93E4C263-056D-497F-A8B7-02C562A9C642}"/>
              </a:ext>
            </a:extLst>
          </p:cNvPr>
          <p:cNvSpPr>
            <a:spLocks noGrp="1"/>
          </p:cNvSpPr>
          <p:nvPr>
            <p:ph type="body" sz="quarter" idx="14" hasCustomPrompt="1"/>
          </p:nvPr>
        </p:nvSpPr>
        <p:spPr>
          <a:xfrm>
            <a:off x="4526989" y="1402550"/>
            <a:ext cx="2397576" cy="234661"/>
          </a:xfrm>
          <a:prstGeom prst="rect">
            <a:avLst/>
          </a:prstGeom>
        </p:spPr>
        <p:txBody>
          <a:bodyPr/>
          <a:lstStyle>
            <a:lvl1pPr marL="0" indent="0" algn="ctr">
              <a:buNone/>
              <a:defRPr sz="1000">
                <a:solidFill>
                  <a:schemeClr val="bg1"/>
                </a:solidFill>
                <a:latin typeface="M05 Text Office Bold" panose="020B0804040000000004" pitchFamily="34" charset="0"/>
              </a:defRPr>
            </a:lvl1pPr>
          </a:lstStyle>
          <a:p>
            <a:pPr lvl="0"/>
            <a:r>
              <a:rPr lang="de-DE"/>
              <a:t>Funktion</a:t>
            </a:r>
          </a:p>
          <a:p>
            <a:pPr lvl="0"/>
            <a:endParaRPr lang="de-DE"/>
          </a:p>
        </p:txBody>
      </p:sp>
      <p:sp>
        <p:nvSpPr>
          <p:cNvPr id="34" name="Textplatzhalter 32">
            <a:extLst>
              <a:ext uri="{FF2B5EF4-FFF2-40B4-BE49-F238E27FC236}">
                <a16:creationId xmlns:a16="http://schemas.microsoft.com/office/drawing/2014/main" id="{1EB63678-1DD9-4521-8683-32FA325B42C4}"/>
              </a:ext>
            </a:extLst>
          </p:cNvPr>
          <p:cNvSpPr>
            <a:spLocks noGrp="1"/>
          </p:cNvSpPr>
          <p:nvPr>
            <p:ph type="body" sz="quarter" idx="15" hasCustomPrompt="1"/>
          </p:nvPr>
        </p:nvSpPr>
        <p:spPr>
          <a:xfrm>
            <a:off x="4526989" y="1632907"/>
            <a:ext cx="2397576" cy="234661"/>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Name</a:t>
            </a:r>
          </a:p>
          <a:p>
            <a:pPr lvl="0"/>
            <a:endParaRPr lang="de-DE"/>
          </a:p>
        </p:txBody>
      </p:sp>
      <p:sp>
        <p:nvSpPr>
          <p:cNvPr id="35" name="Textplatzhalter 32">
            <a:extLst>
              <a:ext uri="{FF2B5EF4-FFF2-40B4-BE49-F238E27FC236}">
                <a16:creationId xmlns:a16="http://schemas.microsoft.com/office/drawing/2014/main" id="{4D84E7D6-D986-4316-85B1-188231379A4A}"/>
              </a:ext>
            </a:extLst>
          </p:cNvPr>
          <p:cNvSpPr>
            <a:spLocks noGrp="1"/>
          </p:cNvSpPr>
          <p:nvPr>
            <p:ph type="body" sz="quarter" idx="16" hasCustomPrompt="1"/>
          </p:nvPr>
        </p:nvSpPr>
        <p:spPr>
          <a:xfrm>
            <a:off x="4526989" y="2199399"/>
            <a:ext cx="2397576" cy="234661"/>
          </a:xfrm>
          <a:prstGeom prst="rect">
            <a:avLst/>
          </a:prstGeom>
        </p:spPr>
        <p:txBody>
          <a:bodyPr/>
          <a:lstStyle>
            <a:lvl1pPr marL="0" indent="0" algn="ctr">
              <a:buNone/>
              <a:defRPr sz="1000">
                <a:solidFill>
                  <a:schemeClr val="bg1"/>
                </a:solidFill>
                <a:latin typeface="M05 Text Office Bold" panose="020B0804040000000004" pitchFamily="34" charset="0"/>
              </a:defRPr>
            </a:lvl1pPr>
          </a:lstStyle>
          <a:p>
            <a:pPr lvl="0"/>
            <a:r>
              <a:rPr lang="de-DE"/>
              <a:t>Funktion</a:t>
            </a:r>
          </a:p>
          <a:p>
            <a:pPr lvl="0"/>
            <a:endParaRPr lang="de-DE"/>
          </a:p>
        </p:txBody>
      </p:sp>
      <p:sp>
        <p:nvSpPr>
          <p:cNvPr id="36" name="Textplatzhalter 32">
            <a:extLst>
              <a:ext uri="{FF2B5EF4-FFF2-40B4-BE49-F238E27FC236}">
                <a16:creationId xmlns:a16="http://schemas.microsoft.com/office/drawing/2014/main" id="{9D17E861-364D-4D03-83F7-AF5785D91E73}"/>
              </a:ext>
            </a:extLst>
          </p:cNvPr>
          <p:cNvSpPr>
            <a:spLocks noGrp="1"/>
          </p:cNvSpPr>
          <p:nvPr>
            <p:ph type="body" sz="quarter" idx="17" hasCustomPrompt="1"/>
          </p:nvPr>
        </p:nvSpPr>
        <p:spPr>
          <a:xfrm>
            <a:off x="4526989" y="2429756"/>
            <a:ext cx="2397576" cy="234661"/>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Name</a:t>
            </a:r>
          </a:p>
          <a:p>
            <a:pPr lvl="0"/>
            <a:endParaRPr lang="de-DE"/>
          </a:p>
        </p:txBody>
      </p:sp>
      <p:sp>
        <p:nvSpPr>
          <p:cNvPr id="38" name="Textplatzhalter 37">
            <a:extLst>
              <a:ext uri="{FF2B5EF4-FFF2-40B4-BE49-F238E27FC236}">
                <a16:creationId xmlns:a16="http://schemas.microsoft.com/office/drawing/2014/main" id="{97704318-A427-4694-B932-7DCBDDD25A1A}"/>
              </a:ext>
            </a:extLst>
          </p:cNvPr>
          <p:cNvSpPr>
            <a:spLocks noGrp="1"/>
          </p:cNvSpPr>
          <p:nvPr>
            <p:ph type="body" sz="quarter" idx="18" hasCustomPrompt="1"/>
          </p:nvPr>
        </p:nvSpPr>
        <p:spPr>
          <a:xfrm>
            <a:off x="352425" y="2998087"/>
            <a:ext cx="1661229"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52" name="Textplatzhalter 51">
            <a:extLst>
              <a:ext uri="{FF2B5EF4-FFF2-40B4-BE49-F238E27FC236}">
                <a16:creationId xmlns:a16="http://schemas.microsoft.com/office/drawing/2014/main" id="{AE2C8D09-5D6D-4B55-A74E-CD67B581B9D0}"/>
              </a:ext>
            </a:extLst>
          </p:cNvPr>
          <p:cNvSpPr>
            <a:spLocks noGrp="1"/>
          </p:cNvSpPr>
          <p:nvPr>
            <p:ph type="body" sz="quarter" idx="19" hasCustomPrompt="1"/>
          </p:nvPr>
        </p:nvSpPr>
        <p:spPr>
          <a:xfrm>
            <a:off x="352425" y="3776663"/>
            <a:ext cx="1659256"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55" name="Textplatzhalter 54">
            <a:extLst>
              <a:ext uri="{FF2B5EF4-FFF2-40B4-BE49-F238E27FC236}">
                <a16:creationId xmlns:a16="http://schemas.microsoft.com/office/drawing/2014/main" id="{407E4E95-FDD9-4F3A-A952-0AC917F88366}"/>
              </a:ext>
            </a:extLst>
          </p:cNvPr>
          <p:cNvSpPr>
            <a:spLocks noGrp="1"/>
          </p:cNvSpPr>
          <p:nvPr>
            <p:ph type="body" sz="quarter" idx="20" hasCustomPrompt="1"/>
          </p:nvPr>
        </p:nvSpPr>
        <p:spPr>
          <a:xfrm>
            <a:off x="352425" y="4513263"/>
            <a:ext cx="1659256"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83" name="Text Box 7">
            <a:extLst>
              <a:ext uri="{FF2B5EF4-FFF2-40B4-BE49-F238E27FC236}">
                <a16:creationId xmlns:a16="http://schemas.microsoft.com/office/drawing/2014/main" id="{77877F61-5C03-4279-B26C-7ADEF6595DA9}"/>
              </a:ext>
            </a:extLst>
          </p:cNvPr>
          <p:cNvSpPr txBox="1">
            <a:spLocks noChangeArrowheads="1"/>
          </p:cNvSpPr>
          <p:nvPr userDrawn="1">
            <p:custDataLst>
              <p:tags r:id="rId7"/>
            </p:custDataLst>
          </p:nvPr>
        </p:nvSpPr>
        <p:spPr bwMode="auto">
          <a:xfrm>
            <a:off x="2177450" y="3775879"/>
            <a:ext cx="1660126"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84" name="Text Box 7">
            <a:extLst>
              <a:ext uri="{FF2B5EF4-FFF2-40B4-BE49-F238E27FC236}">
                <a16:creationId xmlns:a16="http://schemas.microsoft.com/office/drawing/2014/main" id="{1D4392B6-8B84-4534-B059-1B788B6070AF}"/>
              </a:ext>
            </a:extLst>
          </p:cNvPr>
          <p:cNvSpPr txBox="1">
            <a:spLocks noChangeArrowheads="1"/>
          </p:cNvSpPr>
          <p:nvPr userDrawn="1">
            <p:custDataLst>
              <p:tags r:id="rId8"/>
            </p:custDataLst>
          </p:nvPr>
        </p:nvSpPr>
        <p:spPr bwMode="auto">
          <a:xfrm>
            <a:off x="2177450" y="4512110"/>
            <a:ext cx="1660126"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85" name="Textfeld 84">
            <a:extLst>
              <a:ext uri="{FF2B5EF4-FFF2-40B4-BE49-F238E27FC236}">
                <a16:creationId xmlns:a16="http://schemas.microsoft.com/office/drawing/2014/main" id="{07865CDA-2C49-4E0E-9543-1B670AE46BF3}"/>
              </a:ext>
            </a:extLst>
          </p:cNvPr>
          <p:cNvSpPr txBox="1"/>
          <p:nvPr userDrawn="1">
            <p:custDataLst>
              <p:tags r:id="rId9"/>
            </p:custDataLst>
          </p:nvPr>
        </p:nvSpPr>
        <p:spPr>
          <a:xfrm>
            <a:off x="2177449" y="2997717"/>
            <a:ext cx="1660126"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86" name="Text Box 7">
            <a:extLst>
              <a:ext uri="{FF2B5EF4-FFF2-40B4-BE49-F238E27FC236}">
                <a16:creationId xmlns:a16="http://schemas.microsoft.com/office/drawing/2014/main" id="{67452AD7-5DF4-4BE8-89C2-A7E76D350DA4}"/>
              </a:ext>
            </a:extLst>
          </p:cNvPr>
          <p:cNvSpPr txBox="1">
            <a:spLocks noChangeArrowheads="1"/>
          </p:cNvSpPr>
          <p:nvPr userDrawn="1">
            <p:custDataLst>
              <p:tags r:id="rId10"/>
            </p:custDataLst>
          </p:nvPr>
        </p:nvSpPr>
        <p:spPr bwMode="auto">
          <a:xfrm>
            <a:off x="2177449" y="4512109"/>
            <a:ext cx="1660126"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87" name="Textplatzhalter 37">
            <a:extLst>
              <a:ext uri="{FF2B5EF4-FFF2-40B4-BE49-F238E27FC236}">
                <a16:creationId xmlns:a16="http://schemas.microsoft.com/office/drawing/2014/main" id="{53AA69C3-A296-4E8E-9A8F-963DF0B2FA57}"/>
              </a:ext>
            </a:extLst>
          </p:cNvPr>
          <p:cNvSpPr>
            <a:spLocks noGrp="1"/>
          </p:cNvSpPr>
          <p:nvPr>
            <p:ph type="body" sz="quarter" idx="21" hasCustomPrompt="1"/>
          </p:nvPr>
        </p:nvSpPr>
        <p:spPr>
          <a:xfrm>
            <a:off x="2176871" y="2997510"/>
            <a:ext cx="1661229"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88" name="Textplatzhalter 51">
            <a:extLst>
              <a:ext uri="{FF2B5EF4-FFF2-40B4-BE49-F238E27FC236}">
                <a16:creationId xmlns:a16="http://schemas.microsoft.com/office/drawing/2014/main" id="{A803931C-BF51-44C5-89B9-E50480850363}"/>
              </a:ext>
            </a:extLst>
          </p:cNvPr>
          <p:cNvSpPr>
            <a:spLocks noGrp="1"/>
          </p:cNvSpPr>
          <p:nvPr>
            <p:ph type="body" sz="quarter" idx="22" hasCustomPrompt="1"/>
          </p:nvPr>
        </p:nvSpPr>
        <p:spPr>
          <a:xfrm>
            <a:off x="2176871" y="3776086"/>
            <a:ext cx="1659256"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89" name="Textplatzhalter 54">
            <a:extLst>
              <a:ext uri="{FF2B5EF4-FFF2-40B4-BE49-F238E27FC236}">
                <a16:creationId xmlns:a16="http://schemas.microsoft.com/office/drawing/2014/main" id="{92E1C9BC-0B07-461D-A9BA-9BB451A4AD4A}"/>
              </a:ext>
            </a:extLst>
          </p:cNvPr>
          <p:cNvSpPr>
            <a:spLocks noGrp="1"/>
          </p:cNvSpPr>
          <p:nvPr>
            <p:ph type="body" sz="quarter" idx="23" hasCustomPrompt="1"/>
          </p:nvPr>
        </p:nvSpPr>
        <p:spPr>
          <a:xfrm>
            <a:off x="2176871" y="4512686"/>
            <a:ext cx="1659256"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90" name="Text Box 7">
            <a:extLst>
              <a:ext uri="{FF2B5EF4-FFF2-40B4-BE49-F238E27FC236}">
                <a16:creationId xmlns:a16="http://schemas.microsoft.com/office/drawing/2014/main" id="{8A227937-1D23-4D90-9C0B-B4BCB4E92A07}"/>
              </a:ext>
            </a:extLst>
          </p:cNvPr>
          <p:cNvSpPr txBox="1">
            <a:spLocks noChangeArrowheads="1"/>
          </p:cNvSpPr>
          <p:nvPr userDrawn="1">
            <p:custDataLst>
              <p:tags r:id="rId11"/>
            </p:custDataLst>
          </p:nvPr>
        </p:nvSpPr>
        <p:spPr bwMode="auto">
          <a:xfrm>
            <a:off x="4000447" y="3762573"/>
            <a:ext cx="1660126"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91" name="Text Box 7">
            <a:extLst>
              <a:ext uri="{FF2B5EF4-FFF2-40B4-BE49-F238E27FC236}">
                <a16:creationId xmlns:a16="http://schemas.microsoft.com/office/drawing/2014/main" id="{76E44A15-9AC8-4E01-82A9-5DDF86E8F373}"/>
              </a:ext>
            </a:extLst>
          </p:cNvPr>
          <p:cNvSpPr txBox="1">
            <a:spLocks noChangeArrowheads="1"/>
          </p:cNvSpPr>
          <p:nvPr userDrawn="1">
            <p:custDataLst>
              <p:tags r:id="rId12"/>
            </p:custDataLst>
          </p:nvPr>
        </p:nvSpPr>
        <p:spPr bwMode="auto">
          <a:xfrm>
            <a:off x="4000447" y="4498804"/>
            <a:ext cx="1660126"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92" name="Textfeld 91">
            <a:extLst>
              <a:ext uri="{FF2B5EF4-FFF2-40B4-BE49-F238E27FC236}">
                <a16:creationId xmlns:a16="http://schemas.microsoft.com/office/drawing/2014/main" id="{E2C854AF-4320-411B-BE87-9F6BDDCC3880}"/>
              </a:ext>
            </a:extLst>
          </p:cNvPr>
          <p:cNvSpPr txBox="1"/>
          <p:nvPr userDrawn="1">
            <p:custDataLst>
              <p:tags r:id="rId13"/>
            </p:custDataLst>
          </p:nvPr>
        </p:nvSpPr>
        <p:spPr>
          <a:xfrm>
            <a:off x="4000446" y="2984411"/>
            <a:ext cx="1660126"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93" name="Text Box 7">
            <a:extLst>
              <a:ext uri="{FF2B5EF4-FFF2-40B4-BE49-F238E27FC236}">
                <a16:creationId xmlns:a16="http://schemas.microsoft.com/office/drawing/2014/main" id="{D9760BC6-C241-4A6A-AAAB-EB7A61B5F82F}"/>
              </a:ext>
            </a:extLst>
          </p:cNvPr>
          <p:cNvSpPr txBox="1">
            <a:spLocks noChangeArrowheads="1"/>
          </p:cNvSpPr>
          <p:nvPr userDrawn="1">
            <p:custDataLst>
              <p:tags r:id="rId14"/>
            </p:custDataLst>
          </p:nvPr>
        </p:nvSpPr>
        <p:spPr bwMode="auto">
          <a:xfrm>
            <a:off x="4000446" y="4498803"/>
            <a:ext cx="1660126"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94" name="Textplatzhalter 37">
            <a:extLst>
              <a:ext uri="{FF2B5EF4-FFF2-40B4-BE49-F238E27FC236}">
                <a16:creationId xmlns:a16="http://schemas.microsoft.com/office/drawing/2014/main" id="{F311BC95-8B25-4A2F-BFBE-AEC4F0432B85}"/>
              </a:ext>
            </a:extLst>
          </p:cNvPr>
          <p:cNvSpPr>
            <a:spLocks noGrp="1"/>
          </p:cNvSpPr>
          <p:nvPr>
            <p:ph type="body" sz="quarter" idx="24" hasCustomPrompt="1"/>
          </p:nvPr>
        </p:nvSpPr>
        <p:spPr>
          <a:xfrm>
            <a:off x="3999868" y="2984204"/>
            <a:ext cx="1661229"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95" name="Textplatzhalter 51">
            <a:extLst>
              <a:ext uri="{FF2B5EF4-FFF2-40B4-BE49-F238E27FC236}">
                <a16:creationId xmlns:a16="http://schemas.microsoft.com/office/drawing/2014/main" id="{C59CB6BE-173D-493A-B733-98B7DE185ECE}"/>
              </a:ext>
            </a:extLst>
          </p:cNvPr>
          <p:cNvSpPr>
            <a:spLocks noGrp="1"/>
          </p:cNvSpPr>
          <p:nvPr>
            <p:ph type="body" sz="quarter" idx="25" hasCustomPrompt="1"/>
          </p:nvPr>
        </p:nvSpPr>
        <p:spPr>
          <a:xfrm>
            <a:off x="3999868" y="3762780"/>
            <a:ext cx="1659256"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96" name="Textplatzhalter 54">
            <a:extLst>
              <a:ext uri="{FF2B5EF4-FFF2-40B4-BE49-F238E27FC236}">
                <a16:creationId xmlns:a16="http://schemas.microsoft.com/office/drawing/2014/main" id="{6595AF8D-7278-47C9-B049-F6550FDEB104}"/>
              </a:ext>
            </a:extLst>
          </p:cNvPr>
          <p:cNvSpPr>
            <a:spLocks noGrp="1"/>
          </p:cNvSpPr>
          <p:nvPr>
            <p:ph type="body" sz="quarter" idx="26" hasCustomPrompt="1"/>
          </p:nvPr>
        </p:nvSpPr>
        <p:spPr>
          <a:xfrm>
            <a:off x="3999868" y="4499380"/>
            <a:ext cx="1659256"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97" name="Text Box 7">
            <a:extLst>
              <a:ext uri="{FF2B5EF4-FFF2-40B4-BE49-F238E27FC236}">
                <a16:creationId xmlns:a16="http://schemas.microsoft.com/office/drawing/2014/main" id="{99EA6843-214D-4A97-8AC7-B52BA2183B82}"/>
              </a:ext>
            </a:extLst>
          </p:cNvPr>
          <p:cNvSpPr txBox="1">
            <a:spLocks noChangeArrowheads="1"/>
          </p:cNvSpPr>
          <p:nvPr userDrawn="1">
            <p:custDataLst>
              <p:tags r:id="rId15"/>
            </p:custDataLst>
          </p:nvPr>
        </p:nvSpPr>
        <p:spPr bwMode="auto">
          <a:xfrm>
            <a:off x="5821995" y="3775879"/>
            <a:ext cx="1660126"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98" name="Text Box 7">
            <a:extLst>
              <a:ext uri="{FF2B5EF4-FFF2-40B4-BE49-F238E27FC236}">
                <a16:creationId xmlns:a16="http://schemas.microsoft.com/office/drawing/2014/main" id="{B3D11C9A-2F54-4AA4-99D9-A2CEE298E19F}"/>
              </a:ext>
            </a:extLst>
          </p:cNvPr>
          <p:cNvSpPr txBox="1">
            <a:spLocks noChangeArrowheads="1"/>
          </p:cNvSpPr>
          <p:nvPr userDrawn="1">
            <p:custDataLst>
              <p:tags r:id="rId16"/>
            </p:custDataLst>
          </p:nvPr>
        </p:nvSpPr>
        <p:spPr bwMode="auto">
          <a:xfrm>
            <a:off x="5821995" y="4512110"/>
            <a:ext cx="1660126"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99" name="Textfeld 98">
            <a:extLst>
              <a:ext uri="{FF2B5EF4-FFF2-40B4-BE49-F238E27FC236}">
                <a16:creationId xmlns:a16="http://schemas.microsoft.com/office/drawing/2014/main" id="{12AB0DF1-ECC4-4BFC-AD99-9532F4201668}"/>
              </a:ext>
            </a:extLst>
          </p:cNvPr>
          <p:cNvSpPr txBox="1"/>
          <p:nvPr userDrawn="1">
            <p:custDataLst>
              <p:tags r:id="rId17"/>
            </p:custDataLst>
          </p:nvPr>
        </p:nvSpPr>
        <p:spPr>
          <a:xfrm>
            <a:off x="5821994" y="2997717"/>
            <a:ext cx="1660126"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00" name="Text Box 7">
            <a:extLst>
              <a:ext uri="{FF2B5EF4-FFF2-40B4-BE49-F238E27FC236}">
                <a16:creationId xmlns:a16="http://schemas.microsoft.com/office/drawing/2014/main" id="{8AE7752C-D499-4D5B-BB8B-ADAF3AD001BF}"/>
              </a:ext>
            </a:extLst>
          </p:cNvPr>
          <p:cNvSpPr txBox="1">
            <a:spLocks noChangeArrowheads="1"/>
          </p:cNvSpPr>
          <p:nvPr userDrawn="1">
            <p:custDataLst>
              <p:tags r:id="rId18"/>
            </p:custDataLst>
          </p:nvPr>
        </p:nvSpPr>
        <p:spPr bwMode="auto">
          <a:xfrm>
            <a:off x="5821994" y="4512109"/>
            <a:ext cx="1660126"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101" name="Textplatzhalter 37">
            <a:extLst>
              <a:ext uri="{FF2B5EF4-FFF2-40B4-BE49-F238E27FC236}">
                <a16:creationId xmlns:a16="http://schemas.microsoft.com/office/drawing/2014/main" id="{D61D8828-5B07-430F-9EE0-C2D0EE5276A6}"/>
              </a:ext>
            </a:extLst>
          </p:cNvPr>
          <p:cNvSpPr>
            <a:spLocks noGrp="1"/>
          </p:cNvSpPr>
          <p:nvPr>
            <p:ph type="body" sz="quarter" idx="27" hasCustomPrompt="1"/>
          </p:nvPr>
        </p:nvSpPr>
        <p:spPr>
          <a:xfrm>
            <a:off x="5821416" y="2997510"/>
            <a:ext cx="1661229"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102" name="Textplatzhalter 51">
            <a:extLst>
              <a:ext uri="{FF2B5EF4-FFF2-40B4-BE49-F238E27FC236}">
                <a16:creationId xmlns:a16="http://schemas.microsoft.com/office/drawing/2014/main" id="{EBD096F8-D6CD-4DE3-B3FF-A5AE412561F0}"/>
              </a:ext>
            </a:extLst>
          </p:cNvPr>
          <p:cNvSpPr>
            <a:spLocks noGrp="1"/>
          </p:cNvSpPr>
          <p:nvPr>
            <p:ph type="body" sz="quarter" idx="28" hasCustomPrompt="1"/>
          </p:nvPr>
        </p:nvSpPr>
        <p:spPr>
          <a:xfrm>
            <a:off x="5821416" y="3776086"/>
            <a:ext cx="1659256"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103" name="Textplatzhalter 54">
            <a:extLst>
              <a:ext uri="{FF2B5EF4-FFF2-40B4-BE49-F238E27FC236}">
                <a16:creationId xmlns:a16="http://schemas.microsoft.com/office/drawing/2014/main" id="{5369ED43-8EEE-472B-AAB5-A84FC8C6E80D}"/>
              </a:ext>
            </a:extLst>
          </p:cNvPr>
          <p:cNvSpPr>
            <a:spLocks noGrp="1"/>
          </p:cNvSpPr>
          <p:nvPr>
            <p:ph type="body" sz="quarter" idx="29" hasCustomPrompt="1"/>
          </p:nvPr>
        </p:nvSpPr>
        <p:spPr>
          <a:xfrm>
            <a:off x="5821416" y="4512686"/>
            <a:ext cx="1659256"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104" name="Text Box 7">
            <a:extLst>
              <a:ext uri="{FF2B5EF4-FFF2-40B4-BE49-F238E27FC236}">
                <a16:creationId xmlns:a16="http://schemas.microsoft.com/office/drawing/2014/main" id="{E5F94A50-7E8D-4131-B942-E6DBE3276BD7}"/>
              </a:ext>
            </a:extLst>
          </p:cNvPr>
          <p:cNvSpPr txBox="1">
            <a:spLocks noChangeArrowheads="1"/>
          </p:cNvSpPr>
          <p:nvPr userDrawn="1">
            <p:custDataLst>
              <p:tags r:id="rId19"/>
            </p:custDataLst>
          </p:nvPr>
        </p:nvSpPr>
        <p:spPr bwMode="auto">
          <a:xfrm>
            <a:off x="7646441" y="3775302"/>
            <a:ext cx="1660126"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05" name="Text Box 7">
            <a:extLst>
              <a:ext uri="{FF2B5EF4-FFF2-40B4-BE49-F238E27FC236}">
                <a16:creationId xmlns:a16="http://schemas.microsoft.com/office/drawing/2014/main" id="{69640446-96EB-43CD-8EB1-6D4B97085F3F}"/>
              </a:ext>
            </a:extLst>
          </p:cNvPr>
          <p:cNvSpPr txBox="1">
            <a:spLocks noChangeArrowheads="1"/>
          </p:cNvSpPr>
          <p:nvPr userDrawn="1">
            <p:custDataLst>
              <p:tags r:id="rId20"/>
            </p:custDataLst>
          </p:nvPr>
        </p:nvSpPr>
        <p:spPr bwMode="auto">
          <a:xfrm>
            <a:off x="7646441" y="4511533"/>
            <a:ext cx="1660126"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106" name="Textfeld 105">
            <a:extLst>
              <a:ext uri="{FF2B5EF4-FFF2-40B4-BE49-F238E27FC236}">
                <a16:creationId xmlns:a16="http://schemas.microsoft.com/office/drawing/2014/main" id="{DB37B7D9-C99D-46C0-9C84-BD474CE6EF80}"/>
              </a:ext>
            </a:extLst>
          </p:cNvPr>
          <p:cNvSpPr txBox="1"/>
          <p:nvPr userDrawn="1">
            <p:custDataLst>
              <p:tags r:id="rId21"/>
            </p:custDataLst>
          </p:nvPr>
        </p:nvSpPr>
        <p:spPr>
          <a:xfrm>
            <a:off x="7646440" y="2997140"/>
            <a:ext cx="1660126"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07" name="Text Box 7">
            <a:extLst>
              <a:ext uri="{FF2B5EF4-FFF2-40B4-BE49-F238E27FC236}">
                <a16:creationId xmlns:a16="http://schemas.microsoft.com/office/drawing/2014/main" id="{31D3B456-E0DD-4CC0-9F24-FF0FB05B9D26}"/>
              </a:ext>
            </a:extLst>
          </p:cNvPr>
          <p:cNvSpPr txBox="1">
            <a:spLocks noChangeArrowheads="1"/>
          </p:cNvSpPr>
          <p:nvPr userDrawn="1">
            <p:custDataLst>
              <p:tags r:id="rId22"/>
            </p:custDataLst>
          </p:nvPr>
        </p:nvSpPr>
        <p:spPr bwMode="auto">
          <a:xfrm>
            <a:off x="7646440" y="4511532"/>
            <a:ext cx="1660126"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108" name="Textplatzhalter 37">
            <a:extLst>
              <a:ext uri="{FF2B5EF4-FFF2-40B4-BE49-F238E27FC236}">
                <a16:creationId xmlns:a16="http://schemas.microsoft.com/office/drawing/2014/main" id="{C822D886-C5E7-437F-B519-1F56DBCFE298}"/>
              </a:ext>
            </a:extLst>
          </p:cNvPr>
          <p:cNvSpPr>
            <a:spLocks noGrp="1"/>
          </p:cNvSpPr>
          <p:nvPr>
            <p:ph type="body" sz="quarter" idx="30" hasCustomPrompt="1"/>
          </p:nvPr>
        </p:nvSpPr>
        <p:spPr>
          <a:xfrm>
            <a:off x="7645862" y="2996933"/>
            <a:ext cx="1661229"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109" name="Textplatzhalter 51">
            <a:extLst>
              <a:ext uri="{FF2B5EF4-FFF2-40B4-BE49-F238E27FC236}">
                <a16:creationId xmlns:a16="http://schemas.microsoft.com/office/drawing/2014/main" id="{2CD443C0-90E3-49D7-B6F9-3AEE4196E936}"/>
              </a:ext>
            </a:extLst>
          </p:cNvPr>
          <p:cNvSpPr>
            <a:spLocks noGrp="1"/>
          </p:cNvSpPr>
          <p:nvPr>
            <p:ph type="body" sz="quarter" idx="31" hasCustomPrompt="1"/>
          </p:nvPr>
        </p:nvSpPr>
        <p:spPr>
          <a:xfrm>
            <a:off x="7645862" y="3775509"/>
            <a:ext cx="1659256"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110" name="Textplatzhalter 54">
            <a:extLst>
              <a:ext uri="{FF2B5EF4-FFF2-40B4-BE49-F238E27FC236}">
                <a16:creationId xmlns:a16="http://schemas.microsoft.com/office/drawing/2014/main" id="{07DAE3FB-8AD7-4A09-ABB7-845EE1EA5EB7}"/>
              </a:ext>
            </a:extLst>
          </p:cNvPr>
          <p:cNvSpPr>
            <a:spLocks noGrp="1"/>
          </p:cNvSpPr>
          <p:nvPr>
            <p:ph type="body" sz="quarter" idx="32" hasCustomPrompt="1"/>
          </p:nvPr>
        </p:nvSpPr>
        <p:spPr>
          <a:xfrm>
            <a:off x="7645862" y="4512109"/>
            <a:ext cx="1659256"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111" name="Text Box 7">
            <a:extLst>
              <a:ext uri="{FF2B5EF4-FFF2-40B4-BE49-F238E27FC236}">
                <a16:creationId xmlns:a16="http://schemas.microsoft.com/office/drawing/2014/main" id="{F4119F2C-CD06-40D6-BE69-89582BC876EA}"/>
              </a:ext>
            </a:extLst>
          </p:cNvPr>
          <p:cNvSpPr txBox="1">
            <a:spLocks noChangeArrowheads="1"/>
          </p:cNvSpPr>
          <p:nvPr userDrawn="1">
            <p:custDataLst>
              <p:tags r:id="rId23"/>
            </p:custDataLst>
          </p:nvPr>
        </p:nvSpPr>
        <p:spPr bwMode="auto">
          <a:xfrm>
            <a:off x="9469438" y="3761996"/>
            <a:ext cx="1660126"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12" name="Text Box 7">
            <a:extLst>
              <a:ext uri="{FF2B5EF4-FFF2-40B4-BE49-F238E27FC236}">
                <a16:creationId xmlns:a16="http://schemas.microsoft.com/office/drawing/2014/main" id="{3CDD353E-42DB-4262-8F82-449809315B8B}"/>
              </a:ext>
            </a:extLst>
          </p:cNvPr>
          <p:cNvSpPr txBox="1">
            <a:spLocks noChangeArrowheads="1"/>
          </p:cNvSpPr>
          <p:nvPr userDrawn="1">
            <p:custDataLst>
              <p:tags r:id="rId24"/>
            </p:custDataLst>
          </p:nvPr>
        </p:nvSpPr>
        <p:spPr bwMode="auto">
          <a:xfrm>
            <a:off x="9469438" y="4498227"/>
            <a:ext cx="1660126"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113" name="Textfeld 112">
            <a:extLst>
              <a:ext uri="{FF2B5EF4-FFF2-40B4-BE49-F238E27FC236}">
                <a16:creationId xmlns:a16="http://schemas.microsoft.com/office/drawing/2014/main" id="{714534FC-0B23-476D-B5A5-B8950FDFE9D1}"/>
              </a:ext>
            </a:extLst>
          </p:cNvPr>
          <p:cNvSpPr txBox="1"/>
          <p:nvPr userDrawn="1">
            <p:custDataLst>
              <p:tags r:id="rId25"/>
            </p:custDataLst>
          </p:nvPr>
        </p:nvSpPr>
        <p:spPr>
          <a:xfrm>
            <a:off x="9469437" y="2983834"/>
            <a:ext cx="1660126"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14" name="Text Box 7">
            <a:extLst>
              <a:ext uri="{FF2B5EF4-FFF2-40B4-BE49-F238E27FC236}">
                <a16:creationId xmlns:a16="http://schemas.microsoft.com/office/drawing/2014/main" id="{1384E08A-F6F8-4AAE-B207-736EC105B061}"/>
              </a:ext>
            </a:extLst>
          </p:cNvPr>
          <p:cNvSpPr txBox="1">
            <a:spLocks noChangeArrowheads="1"/>
          </p:cNvSpPr>
          <p:nvPr userDrawn="1">
            <p:custDataLst>
              <p:tags r:id="rId26"/>
            </p:custDataLst>
          </p:nvPr>
        </p:nvSpPr>
        <p:spPr bwMode="auto">
          <a:xfrm>
            <a:off x="9469437" y="4498226"/>
            <a:ext cx="1660126"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115" name="Textplatzhalter 37">
            <a:extLst>
              <a:ext uri="{FF2B5EF4-FFF2-40B4-BE49-F238E27FC236}">
                <a16:creationId xmlns:a16="http://schemas.microsoft.com/office/drawing/2014/main" id="{88D2E2C2-6B23-43B7-A5D2-3761FB16077D}"/>
              </a:ext>
            </a:extLst>
          </p:cNvPr>
          <p:cNvSpPr>
            <a:spLocks noGrp="1"/>
          </p:cNvSpPr>
          <p:nvPr>
            <p:ph type="body" sz="quarter" idx="33" hasCustomPrompt="1"/>
          </p:nvPr>
        </p:nvSpPr>
        <p:spPr>
          <a:xfrm>
            <a:off x="9468859" y="2983627"/>
            <a:ext cx="1661229"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116" name="Textplatzhalter 51">
            <a:extLst>
              <a:ext uri="{FF2B5EF4-FFF2-40B4-BE49-F238E27FC236}">
                <a16:creationId xmlns:a16="http://schemas.microsoft.com/office/drawing/2014/main" id="{01D3002D-1F04-4487-B07C-E26D594B5774}"/>
              </a:ext>
            </a:extLst>
          </p:cNvPr>
          <p:cNvSpPr>
            <a:spLocks noGrp="1"/>
          </p:cNvSpPr>
          <p:nvPr>
            <p:ph type="body" sz="quarter" idx="34" hasCustomPrompt="1"/>
          </p:nvPr>
        </p:nvSpPr>
        <p:spPr>
          <a:xfrm>
            <a:off x="9468859" y="3762203"/>
            <a:ext cx="1659256"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117" name="Textplatzhalter 54">
            <a:extLst>
              <a:ext uri="{FF2B5EF4-FFF2-40B4-BE49-F238E27FC236}">
                <a16:creationId xmlns:a16="http://schemas.microsoft.com/office/drawing/2014/main" id="{07BCEF3C-EC47-40C8-97E6-839EC3D17097}"/>
              </a:ext>
            </a:extLst>
          </p:cNvPr>
          <p:cNvSpPr>
            <a:spLocks noGrp="1"/>
          </p:cNvSpPr>
          <p:nvPr>
            <p:ph type="body" sz="quarter" idx="35" hasCustomPrompt="1"/>
          </p:nvPr>
        </p:nvSpPr>
        <p:spPr>
          <a:xfrm>
            <a:off x="9468859" y="4498803"/>
            <a:ext cx="1659256"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Tree>
    <p:extLst>
      <p:ext uri="{BB962C8B-B14F-4D97-AF65-F5344CB8AC3E}">
        <p14:creationId xmlns:p14="http://schemas.microsoft.com/office/powerpoint/2010/main" val="160142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rojektkoordination, 7 Teilprojekte">
    <p:spTree>
      <p:nvGrpSpPr>
        <p:cNvPr id="1" name=""/>
        <p:cNvGrpSpPr/>
        <p:nvPr/>
      </p:nvGrpSpPr>
      <p:grpSpPr>
        <a:xfrm>
          <a:off x="0" y="0"/>
          <a:ext cx="0" cy="0"/>
          <a:chOff x="0" y="0"/>
          <a:chExt cx="0" cy="0"/>
        </a:xfrm>
      </p:grpSpPr>
      <p:sp>
        <p:nvSpPr>
          <p:cNvPr id="29" name="Textfeld 28">
            <a:extLst>
              <a:ext uri="{FF2B5EF4-FFF2-40B4-BE49-F238E27FC236}">
                <a16:creationId xmlns:a16="http://schemas.microsoft.com/office/drawing/2014/main" id="{04894325-E569-4954-94FE-D8ADB8BBB0AC}"/>
              </a:ext>
            </a:extLst>
          </p:cNvPr>
          <p:cNvSpPr txBox="1"/>
          <p:nvPr userDrawn="1">
            <p:custDataLst>
              <p:tags r:id="rId1"/>
            </p:custDataLst>
          </p:nvPr>
        </p:nvSpPr>
        <p:spPr>
          <a:xfrm>
            <a:off x="4526994" y="2133332"/>
            <a:ext cx="2397576" cy="629743"/>
          </a:xfrm>
          <a:prstGeom prst="rect">
            <a:avLst/>
          </a:prstGeom>
          <a:solidFill>
            <a:schemeClr val="tx1">
              <a:lumMod val="50000"/>
              <a:lumOff val="50000"/>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6" name="Textfeld 76">
            <a:extLst>
              <a:ext uri="{FF2B5EF4-FFF2-40B4-BE49-F238E27FC236}">
                <a16:creationId xmlns:a16="http://schemas.microsoft.com/office/drawing/2014/main" id="{381043CA-1501-49B1-BC27-D7EAA8F1435E}"/>
              </a:ext>
            </a:extLst>
          </p:cNvPr>
          <p:cNvSpPr txBox="1"/>
          <p:nvPr userDrawn="1">
            <p:custDataLst>
              <p:tags r:id="rId2"/>
            </p:custDataLst>
          </p:nvPr>
        </p:nvSpPr>
        <p:spPr>
          <a:xfrm>
            <a:off x="4526995" y="1301419"/>
            <a:ext cx="2397575" cy="669924"/>
          </a:xfrm>
          <a:prstGeom prst="rect">
            <a:avLst/>
          </a:prstGeom>
          <a:solidFill>
            <a:srgbClr val="E10019"/>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969"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4" name="Text Box 7">
            <a:extLst>
              <a:ext uri="{FF2B5EF4-FFF2-40B4-BE49-F238E27FC236}">
                <a16:creationId xmlns:a16="http://schemas.microsoft.com/office/drawing/2014/main" id="{E02160C4-5188-446B-A903-ACAEEC0F95EF}"/>
              </a:ext>
            </a:extLst>
          </p:cNvPr>
          <p:cNvSpPr txBox="1">
            <a:spLocks noChangeArrowheads="1"/>
          </p:cNvSpPr>
          <p:nvPr userDrawn="1">
            <p:custDataLst>
              <p:tags r:id="rId3"/>
            </p:custDataLst>
          </p:nvPr>
        </p:nvSpPr>
        <p:spPr bwMode="auto">
          <a:xfrm>
            <a:off x="353004" y="3776456"/>
            <a:ext cx="1335789"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5" name="Text Box 7">
            <a:extLst>
              <a:ext uri="{FF2B5EF4-FFF2-40B4-BE49-F238E27FC236}">
                <a16:creationId xmlns:a16="http://schemas.microsoft.com/office/drawing/2014/main" id="{E573B263-CD6A-4816-9B24-D52397B64E6E}"/>
              </a:ext>
            </a:extLst>
          </p:cNvPr>
          <p:cNvSpPr txBox="1">
            <a:spLocks noChangeArrowheads="1"/>
          </p:cNvSpPr>
          <p:nvPr userDrawn="1">
            <p:custDataLst>
              <p:tags r:id="rId4"/>
            </p:custDataLst>
          </p:nvPr>
        </p:nvSpPr>
        <p:spPr bwMode="auto">
          <a:xfrm>
            <a:off x="353004" y="4512687"/>
            <a:ext cx="1335789"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16" name="Textfeld 15">
            <a:extLst>
              <a:ext uri="{FF2B5EF4-FFF2-40B4-BE49-F238E27FC236}">
                <a16:creationId xmlns:a16="http://schemas.microsoft.com/office/drawing/2014/main" id="{E096CF86-AB58-42BA-8104-5409FF17D8B7}"/>
              </a:ext>
            </a:extLst>
          </p:cNvPr>
          <p:cNvSpPr txBox="1"/>
          <p:nvPr userDrawn="1">
            <p:custDataLst>
              <p:tags r:id="rId5"/>
            </p:custDataLst>
          </p:nvPr>
        </p:nvSpPr>
        <p:spPr>
          <a:xfrm>
            <a:off x="353003" y="2998294"/>
            <a:ext cx="1335789"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22" name="Text Box 7">
            <a:extLst>
              <a:ext uri="{FF2B5EF4-FFF2-40B4-BE49-F238E27FC236}">
                <a16:creationId xmlns:a16="http://schemas.microsoft.com/office/drawing/2014/main" id="{3490CB3E-BA02-4F42-90DD-FDED82103D1E}"/>
              </a:ext>
            </a:extLst>
          </p:cNvPr>
          <p:cNvSpPr txBox="1">
            <a:spLocks noChangeArrowheads="1"/>
          </p:cNvSpPr>
          <p:nvPr userDrawn="1">
            <p:custDataLst>
              <p:tags r:id="rId6"/>
            </p:custDataLst>
          </p:nvPr>
        </p:nvSpPr>
        <p:spPr bwMode="auto">
          <a:xfrm>
            <a:off x="353003" y="4512686"/>
            <a:ext cx="1335789"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33" name="Textplatzhalter 32">
            <a:extLst>
              <a:ext uri="{FF2B5EF4-FFF2-40B4-BE49-F238E27FC236}">
                <a16:creationId xmlns:a16="http://schemas.microsoft.com/office/drawing/2014/main" id="{93E4C263-056D-497F-A8B7-02C562A9C642}"/>
              </a:ext>
            </a:extLst>
          </p:cNvPr>
          <p:cNvSpPr>
            <a:spLocks noGrp="1"/>
          </p:cNvSpPr>
          <p:nvPr>
            <p:ph type="body" sz="quarter" idx="14" hasCustomPrompt="1"/>
          </p:nvPr>
        </p:nvSpPr>
        <p:spPr>
          <a:xfrm>
            <a:off x="4526989" y="1402550"/>
            <a:ext cx="2397576" cy="234661"/>
          </a:xfrm>
          <a:prstGeom prst="rect">
            <a:avLst/>
          </a:prstGeom>
        </p:spPr>
        <p:txBody>
          <a:bodyPr/>
          <a:lstStyle>
            <a:lvl1pPr marL="0" indent="0" algn="ctr">
              <a:buNone/>
              <a:defRPr sz="1000">
                <a:solidFill>
                  <a:schemeClr val="bg1"/>
                </a:solidFill>
                <a:latin typeface="M05 Text Office Bold" panose="020B0804040000000004" pitchFamily="34" charset="0"/>
              </a:defRPr>
            </a:lvl1pPr>
          </a:lstStyle>
          <a:p>
            <a:pPr lvl="0"/>
            <a:r>
              <a:rPr lang="de-DE"/>
              <a:t>Funktion</a:t>
            </a:r>
          </a:p>
          <a:p>
            <a:pPr lvl="0"/>
            <a:endParaRPr lang="de-DE"/>
          </a:p>
        </p:txBody>
      </p:sp>
      <p:sp>
        <p:nvSpPr>
          <p:cNvPr id="34" name="Textplatzhalter 32">
            <a:extLst>
              <a:ext uri="{FF2B5EF4-FFF2-40B4-BE49-F238E27FC236}">
                <a16:creationId xmlns:a16="http://schemas.microsoft.com/office/drawing/2014/main" id="{1EB63678-1DD9-4521-8683-32FA325B42C4}"/>
              </a:ext>
            </a:extLst>
          </p:cNvPr>
          <p:cNvSpPr>
            <a:spLocks noGrp="1"/>
          </p:cNvSpPr>
          <p:nvPr>
            <p:ph type="body" sz="quarter" idx="15" hasCustomPrompt="1"/>
          </p:nvPr>
        </p:nvSpPr>
        <p:spPr>
          <a:xfrm>
            <a:off x="4526989" y="1632907"/>
            <a:ext cx="2397576" cy="234661"/>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Name</a:t>
            </a:r>
          </a:p>
          <a:p>
            <a:pPr lvl="0"/>
            <a:endParaRPr lang="de-DE"/>
          </a:p>
        </p:txBody>
      </p:sp>
      <p:sp>
        <p:nvSpPr>
          <p:cNvPr id="35" name="Textplatzhalter 32">
            <a:extLst>
              <a:ext uri="{FF2B5EF4-FFF2-40B4-BE49-F238E27FC236}">
                <a16:creationId xmlns:a16="http://schemas.microsoft.com/office/drawing/2014/main" id="{4D84E7D6-D986-4316-85B1-188231379A4A}"/>
              </a:ext>
            </a:extLst>
          </p:cNvPr>
          <p:cNvSpPr>
            <a:spLocks noGrp="1"/>
          </p:cNvSpPr>
          <p:nvPr>
            <p:ph type="body" sz="quarter" idx="16" hasCustomPrompt="1"/>
          </p:nvPr>
        </p:nvSpPr>
        <p:spPr>
          <a:xfrm>
            <a:off x="4526989" y="2199399"/>
            <a:ext cx="2397576" cy="234661"/>
          </a:xfrm>
          <a:prstGeom prst="rect">
            <a:avLst/>
          </a:prstGeom>
        </p:spPr>
        <p:txBody>
          <a:bodyPr/>
          <a:lstStyle>
            <a:lvl1pPr marL="0" indent="0" algn="ctr">
              <a:buNone/>
              <a:defRPr sz="1000">
                <a:solidFill>
                  <a:schemeClr val="bg1"/>
                </a:solidFill>
                <a:latin typeface="M05 Text Office Bold" panose="020B0804040000000004" pitchFamily="34" charset="0"/>
              </a:defRPr>
            </a:lvl1pPr>
          </a:lstStyle>
          <a:p>
            <a:pPr lvl="0"/>
            <a:r>
              <a:rPr lang="de-DE"/>
              <a:t>Funktion</a:t>
            </a:r>
          </a:p>
          <a:p>
            <a:pPr lvl="0"/>
            <a:endParaRPr lang="de-DE"/>
          </a:p>
        </p:txBody>
      </p:sp>
      <p:sp>
        <p:nvSpPr>
          <p:cNvPr id="36" name="Textplatzhalter 32">
            <a:extLst>
              <a:ext uri="{FF2B5EF4-FFF2-40B4-BE49-F238E27FC236}">
                <a16:creationId xmlns:a16="http://schemas.microsoft.com/office/drawing/2014/main" id="{9D17E861-364D-4D03-83F7-AF5785D91E73}"/>
              </a:ext>
            </a:extLst>
          </p:cNvPr>
          <p:cNvSpPr>
            <a:spLocks noGrp="1"/>
          </p:cNvSpPr>
          <p:nvPr>
            <p:ph type="body" sz="quarter" idx="17" hasCustomPrompt="1"/>
          </p:nvPr>
        </p:nvSpPr>
        <p:spPr>
          <a:xfrm>
            <a:off x="4526989" y="2429756"/>
            <a:ext cx="2397576" cy="234661"/>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Name</a:t>
            </a:r>
          </a:p>
          <a:p>
            <a:pPr lvl="0"/>
            <a:endParaRPr lang="de-DE"/>
          </a:p>
        </p:txBody>
      </p:sp>
      <p:sp>
        <p:nvSpPr>
          <p:cNvPr id="38" name="Textplatzhalter 37">
            <a:extLst>
              <a:ext uri="{FF2B5EF4-FFF2-40B4-BE49-F238E27FC236}">
                <a16:creationId xmlns:a16="http://schemas.microsoft.com/office/drawing/2014/main" id="{97704318-A427-4694-B932-7DCBDDD25A1A}"/>
              </a:ext>
            </a:extLst>
          </p:cNvPr>
          <p:cNvSpPr>
            <a:spLocks noGrp="1"/>
          </p:cNvSpPr>
          <p:nvPr>
            <p:ph type="body" sz="quarter" idx="18" hasCustomPrompt="1"/>
          </p:nvPr>
        </p:nvSpPr>
        <p:spPr>
          <a:xfrm>
            <a:off x="352425" y="2998087"/>
            <a:ext cx="1336675"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52" name="Textplatzhalter 51">
            <a:extLst>
              <a:ext uri="{FF2B5EF4-FFF2-40B4-BE49-F238E27FC236}">
                <a16:creationId xmlns:a16="http://schemas.microsoft.com/office/drawing/2014/main" id="{AE2C8D09-5D6D-4B55-A74E-CD67B581B9D0}"/>
              </a:ext>
            </a:extLst>
          </p:cNvPr>
          <p:cNvSpPr>
            <a:spLocks noGrp="1"/>
          </p:cNvSpPr>
          <p:nvPr>
            <p:ph type="body" sz="quarter" idx="19" hasCustomPrompt="1"/>
          </p:nvPr>
        </p:nvSpPr>
        <p:spPr>
          <a:xfrm>
            <a:off x="352425" y="3776663"/>
            <a:ext cx="1335088"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55" name="Textplatzhalter 54">
            <a:extLst>
              <a:ext uri="{FF2B5EF4-FFF2-40B4-BE49-F238E27FC236}">
                <a16:creationId xmlns:a16="http://schemas.microsoft.com/office/drawing/2014/main" id="{407E4E95-FDD9-4F3A-A952-0AC917F88366}"/>
              </a:ext>
            </a:extLst>
          </p:cNvPr>
          <p:cNvSpPr>
            <a:spLocks noGrp="1"/>
          </p:cNvSpPr>
          <p:nvPr>
            <p:ph type="body" sz="quarter" idx="20" hasCustomPrompt="1"/>
          </p:nvPr>
        </p:nvSpPr>
        <p:spPr>
          <a:xfrm>
            <a:off x="352425" y="4513263"/>
            <a:ext cx="1335088"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56" name="Text Box 7">
            <a:extLst>
              <a:ext uri="{FF2B5EF4-FFF2-40B4-BE49-F238E27FC236}">
                <a16:creationId xmlns:a16="http://schemas.microsoft.com/office/drawing/2014/main" id="{44BE618E-1BBF-42A0-9BBB-367327C1D191}"/>
              </a:ext>
            </a:extLst>
          </p:cNvPr>
          <p:cNvSpPr txBox="1">
            <a:spLocks noChangeArrowheads="1"/>
          </p:cNvSpPr>
          <p:nvPr userDrawn="1">
            <p:custDataLst>
              <p:tags r:id="rId7"/>
            </p:custDataLst>
          </p:nvPr>
        </p:nvSpPr>
        <p:spPr bwMode="auto">
          <a:xfrm>
            <a:off x="1920426" y="3775879"/>
            <a:ext cx="1335789"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57" name="Text Box 7">
            <a:extLst>
              <a:ext uri="{FF2B5EF4-FFF2-40B4-BE49-F238E27FC236}">
                <a16:creationId xmlns:a16="http://schemas.microsoft.com/office/drawing/2014/main" id="{A542A3DB-7F77-426A-A788-95DA047924F7}"/>
              </a:ext>
            </a:extLst>
          </p:cNvPr>
          <p:cNvSpPr txBox="1">
            <a:spLocks noChangeArrowheads="1"/>
          </p:cNvSpPr>
          <p:nvPr userDrawn="1">
            <p:custDataLst>
              <p:tags r:id="rId8"/>
            </p:custDataLst>
          </p:nvPr>
        </p:nvSpPr>
        <p:spPr bwMode="auto">
          <a:xfrm>
            <a:off x="1920426" y="4512110"/>
            <a:ext cx="1335789"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58" name="Textfeld 57">
            <a:extLst>
              <a:ext uri="{FF2B5EF4-FFF2-40B4-BE49-F238E27FC236}">
                <a16:creationId xmlns:a16="http://schemas.microsoft.com/office/drawing/2014/main" id="{8F548BA8-4B95-4C87-9F96-3BEE92669C15}"/>
              </a:ext>
            </a:extLst>
          </p:cNvPr>
          <p:cNvSpPr txBox="1"/>
          <p:nvPr userDrawn="1">
            <p:custDataLst>
              <p:tags r:id="rId9"/>
            </p:custDataLst>
          </p:nvPr>
        </p:nvSpPr>
        <p:spPr>
          <a:xfrm>
            <a:off x="1920425" y="2997717"/>
            <a:ext cx="1335789"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59" name="Text Box 7">
            <a:extLst>
              <a:ext uri="{FF2B5EF4-FFF2-40B4-BE49-F238E27FC236}">
                <a16:creationId xmlns:a16="http://schemas.microsoft.com/office/drawing/2014/main" id="{A65150FB-D516-4835-B242-A7EDFE78B06C}"/>
              </a:ext>
            </a:extLst>
          </p:cNvPr>
          <p:cNvSpPr txBox="1">
            <a:spLocks noChangeArrowheads="1"/>
          </p:cNvSpPr>
          <p:nvPr userDrawn="1">
            <p:custDataLst>
              <p:tags r:id="rId10"/>
            </p:custDataLst>
          </p:nvPr>
        </p:nvSpPr>
        <p:spPr bwMode="auto">
          <a:xfrm>
            <a:off x="1920425" y="4512109"/>
            <a:ext cx="1335789"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60" name="Textplatzhalter 37">
            <a:extLst>
              <a:ext uri="{FF2B5EF4-FFF2-40B4-BE49-F238E27FC236}">
                <a16:creationId xmlns:a16="http://schemas.microsoft.com/office/drawing/2014/main" id="{116EF5BC-5CED-4995-91D1-2705225F58C7}"/>
              </a:ext>
            </a:extLst>
          </p:cNvPr>
          <p:cNvSpPr>
            <a:spLocks noGrp="1"/>
          </p:cNvSpPr>
          <p:nvPr>
            <p:ph type="body" sz="quarter" idx="21" hasCustomPrompt="1"/>
          </p:nvPr>
        </p:nvSpPr>
        <p:spPr>
          <a:xfrm>
            <a:off x="1919847" y="2997510"/>
            <a:ext cx="1336675"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61" name="Textplatzhalter 51">
            <a:extLst>
              <a:ext uri="{FF2B5EF4-FFF2-40B4-BE49-F238E27FC236}">
                <a16:creationId xmlns:a16="http://schemas.microsoft.com/office/drawing/2014/main" id="{2463A603-E43B-4B9C-861A-4C54EAAE31CC}"/>
              </a:ext>
            </a:extLst>
          </p:cNvPr>
          <p:cNvSpPr>
            <a:spLocks noGrp="1"/>
          </p:cNvSpPr>
          <p:nvPr>
            <p:ph type="body" sz="quarter" idx="22" hasCustomPrompt="1"/>
          </p:nvPr>
        </p:nvSpPr>
        <p:spPr>
          <a:xfrm>
            <a:off x="1919847" y="3776086"/>
            <a:ext cx="1335088"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62" name="Textplatzhalter 54">
            <a:extLst>
              <a:ext uri="{FF2B5EF4-FFF2-40B4-BE49-F238E27FC236}">
                <a16:creationId xmlns:a16="http://schemas.microsoft.com/office/drawing/2014/main" id="{57B6FB3F-81E6-4EEF-B1F8-510DE4A5517F}"/>
              </a:ext>
            </a:extLst>
          </p:cNvPr>
          <p:cNvSpPr>
            <a:spLocks noGrp="1"/>
          </p:cNvSpPr>
          <p:nvPr>
            <p:ph type="body" sz="quarter" idx="23" hasCustomPrompt="1"/>
          </p:nvPr>
        </p:nvSpPr>
        <p:spPr>
          <a:xfrm>
            <a:off x="1919847" y="4512686"/>
            <a:ext cx="1335088"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63" name="Text Box 7">
            <a:extLst>
              <a:ext uri="{FF2B5EF4-FFF2-40B4-BE49-F238E27FC236}">
                <a16:creationId xmlns:a16="http://schemas.microsoft.com/office/drawing/2014/main" id="{406CE84B-B847-49CB-9EF1-7FCBFC12ADBF}"/>
              </a:ext>
            </a:extLst>
          </p:cNvPr>
          <p:cNvSpPr txBox="1">
            <a:spLocks noChangeArrowheads="1"/>
          </p:cNvSpPr>
          <p:nvPr userDrawn="1">
            <p:custDataLst>
              <p:tags r:id="rId11"/>
            </p:custDataLst>
          </p:nvPr>
        </p:nvSpPr>
        <p:spPr bwMode="auto">
          <a:xfrm>
            <a:off x="3485990" y="3768923"/>
            <a:ext cx="1335789"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64" name="Text Box 7">
            <a:extLst>
              <a:ext uri="{FF2B5EF4-FFF2-40B4-BE49-F238E27FC236}">
                <a16:creationId xmlns:a16="http://schemas.microsoft.com/office/drawing/2014/main" id="{CAFAF032-9B6F-4229-8FA9-1ED7BD492A57}"/>
              </a:ext>
            </a:extLst>
          </p:cNvPr>
          <p:cNvSpPr txBox="1">
            <a:spLocks noChangeArrowheads="1"/>
          </p:cNvSpPr>
          <p:nvPr userDrawn="1">
            <p:custDataLst>
              <p:tags r:id="rId12"/>
            </p:custDataLst>
          </p:nvPr>
        </p:nvSpPr>
        <p:spPr bwMode="auto">
          <a:xfrm>
            <a:off x="3485990" y="4505154"/>
            <a:ext cx="1335789"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65" name="Textfeld 64">
            <a:extLst>
              <a:ext uri="{FF2B5EF4-FFF2-40B4-BE49-F238E27FC236}">
                <a16:creationId xmlns:a16="http://schemas.microsoft.com/office/drawing/2014/main" id="{3FD16F13-A790-4510-8835-FA4316A791F9}"/>
              </a:ext>
            </a:extLst>
          </p:cNvPr>
          <p:cNvSpPr txBox="1"/>
          <p:nvPr userDrawn="1">
            <p:custDataLst>
              <p:tags r:id="rId13"/>
            </p:custDataLst>
          </p:nvPr>
        </p:nvSpPr>
        <p:spPr>
          <a:xfrm>
            <a:off x="3485989" y="2990761"/>
            <a:ext cx="1335789"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66" name="Text Box 7">
            <a:extLst>
              <a:ext uri="{FF2B5EF4-FFF2-40B4-BE49-F238E27FC236}">
                <a16:creationId xmlns:a16="http://schemas.microsoft.com/office/drawing/2014/main" id="{2914417E-00E4-4785-9277-3E690262500D}"/>
              </a:ext>
            </a:extLst>
          </p:cNvPr>
          <p:cNvSpPr txBox="1">
            <a:spLocks noChangeArrowheads="1"/>
          </p:cNvSpPr>
          <p:nvPr userDrawn="1">
            <p:custDataLst>
              <p:tags r:id="rId14"/>
            </p:custDataLst>
          </p:nvPr>
        </p:nvSpPr>
        <p:spPr bwMode="auto">
          <a:xfrm>
            <a:off x="3485989" y="4505153"/>
            <a:ext cx="1335789"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67" name="Textplatzhalter 37">
            <a:extLst>
              <a:ext uri="{FF2B5EF4-FFF2-40B4-BE49-F238E27FC236}">
                <a16:creationId xmlns:a16="http://schemas.microsoft.com/office/drawing/2014/main" id="{60A54AFC-7441-4111-BBFF-08D4F2168799}"/>
              </a:ext>
            </a:extLst>
          </p:cNvPr>
          <p:cNvSpPr>
            <a:spLocks noGrp="1"/>
          </p:cNvSpPr>
          <p:nvPr>
            <p:ph type="body" sz="quarter" idx="24" hasCustomPrompt="1"/>
          </p:nvPr>
        </p:nvSpPr>
        <p:spPr>
          <a:xfrm>
            <a:off x="3485411" y="2990554"/>
            <a:ext cx="1336675"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68" name="Textplatzhalter 51">
            <a:extLst>
              <a:ext uri="{FF2B5EF4-FFF2-40B4-BE49-F238E27FC236}">
                <a16:creationId xmlns:a16="http://schemas.microsoft.com/office/drawing/2014/main" id="{CE60E2B8-D572-4CCD-96FC-1D48EA459203}"/>
              </a:ext>
            </a:extLst>
          </p:cNvPr>
          <p:cNvSpPr>
            <a:spLocks noGrp="1"/>
          </p:cNvSpPr>
          <p:nvPr>
            <p:ph type="body" sz="quarter" idx="25" hasCustomPrompt="1"/>
          </p:nvPr>
        </p:nvSpPr>
        <p:spPr>
          <a:xfrm>
            <a:off x="3485411" y="3769130"/>
            <a:ext cx="1335088"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69" name="Textplatzhalter 54">
            <a:extLst>
              <a:ext uri="{FF2B5EF4-FFF2-40B4-BE49-F238E27FC236}">
                <a16:creationId xmlns:a16="http://schemas.microsoft.com/office/drawing/2014/main" id="{4F6A3D5A-6FAF-4689-B025-5E2254243776}"/>
              </a:ext>
            </a:extLst>
          </p:cNvPr>
          <p:cNvSpPr>
            <a:spLocks noGrp="1"/>
          </p:cNvSpPr>
          <p:nvPr>
            <p:ph type="body" sz="quarter" idx="26" hasCustomPrompt="1"/>
          </p:nvPr>
        </p:nvSpPr>
        <p:spPr>
          <a:xfrm>
            <a:off x="3485411" y="4505730"/>
            <a:ext cx="1335088"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70" name="Text Box 7">
            <a:extLst>
              <a:ext uri="{FF2B5EF4-FFF2-40B4-BE49-F238E27FC236}">
                <a16:creationId xmlns:a16="http://schemas.microsoft.com/office/drawing/2014/main" id="{DB149232-EDB2-4066-8408-D7CAC023DA62}"/>
              </a:ext>
            </a:extLst>
          </p:cNvPr>
          <p:cNvSpPr txBox="1">
            <a:spLocks noChangeArrowheads="1"/>
          </p:cNvSpPr>
          <p:nvPr userDrawn="1">
            <p:custDataLst>
              <p:tags r:id="rId15"/>
            </p:custDataLst>
          </p:nvPr>
        </p:nvSpPr>
        <p:spPr bwMode="auto">
          <a:xfrm>
            <a:off x="5050274" y="3768923"/>
            <a:ext cx="1335789"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71" name="Text Box 7">
            <a:extLst>
              <a:ext uri="{FF2B5EF4-FFF2-40B4-BE49-F238E27FC236}">
                <a16:creationId xmlns:a16="http://schemas.microsoft.com/office/drawing/2014/main" id="{819662C8-2D0C-4F86-9D84-1C8888A1D129}"/>
              </a:ext>
            </a:extLst>
          </p:cNvPr>
          <p:cNvSpPr txBox="1">
            <a:spLocks noChangeArrowheads="1"/>
          </p:cNvSpPr>
          <p:nvPr userDrawn="1">
            <p:custDataLst>
              <p:tags r:id="rId16"/>
            </p:custDataLst>
          </p:nvPr>
        </p:nvSpPr>
        <p:spPr bwMode="auto">
          <a:xfrm>
            <a:off x="5050274" y="4505154"/>
            <a:ext cx="1335789"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72" name="Textfeld 71">
            <a:extLst>
              <a:ext uri="{FF2B5EF4-FFF2-40B4-BE49-F238E27FC236}">
                <a16:creationId xmlns:a16="http://schemas.microsoft.com/office/drawing/2014/main" id="{0499121B-5E83-4A68-B1AB-630910642CC7}"/>
              </a:ext>
            </a:extLst>
          </p:cNvPr>
          <p:cNvSpPr txBox="1"/>
          <p:nvPr userDrawn="1">
            <p:custDataLst>
              <p:tags r:id="rId17"/>
            </p:custDataLst>
          </p:nvPr>
        </p:nvSpPr>
        <p:spPr>
          <a:xfrm>
            <a:off x="5050273" y="2990761"/>
            <a:ext cx="1335789"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73" name="Text Box 7">
            <a:extLst>
              <a:ext uri="{FF2B5EF4-FFF2-40B4-BE49-F238E27FC236}">
                <a16:creationId xmlns:a16="http://schemas.microsoft.com/office/drawing/2014/main" id="{8DB854D0-6731-4F10-BF60-15112BCF6A3C}"/>
              </a:ext>
            </a:extLst>
          </p:cNvPr>
          <p:cNvSpPr txBox="1">
            <a:spLocks noChangeArrowheads="1"/>
          </p:cNvSpPr>
          <p:nvPr userDrawn="1">
            <p:custDataLst>
              <p:tags r:id="rId18"/>
            </p:custDataLst>
          </p:nvPr>
        </p:nvSpPr>
        <p:spPr bwMode="auto">
          <a:xfrm>
            <a:off x="5050273" y="4505153"/>
            <a:ext cx="1335789"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74" name="Textplatzhalter 37">
            <a:extLst>
              <a:ext uri="{FF2B5EF4-FFF2-40B4-BE49-F238E27FC236}">
                <a16:creationId xmlns:a16="http://schemas.microsoft.com/office/drawing/2014/main" id="{442F4D87-B8BE-4480-9A01-E3CA7B4C87CF}"/>
              </a:ext>
            </a:extLst>
          </p:cNvPr>
          <p:cNvSpPr>
            <a:spLocks noGrp="1"/>
          </p:cNvSpPr>
          <p:nvPr>
            <p:ph type="body" sz="quarter" idx="27" hasCustomPrompt="1"/>
          </p:nvPr>
        </p:nvSpPr>
        <p:spPr>
          <a:xfrm>
            <a:off x="5049695" y="2990554"/>
            <a:ext cx="1336675"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75" name="Textplatzhalter 51">
            <a:extLst>
              <a:ext uri="{FF2B5EF4-FFF2-40B4-BE49-F238E27FC236}">
                <a16:creationId xmlns:a16="http://schemas.microsoft.com/office/drawing/2014/main" id="{1EF19F8F-6CCA-43E2-B064-D32B56EEDC37}"/>
              </a:ext>
            </a:extLst>
          </p:cNvPr>
          <p:cNvSpPr>
            <a:spLocks noGrp="1"/>
          </p:cNvSpPr>
          <p:nvPr>
            <p:ph type="body" sz="quarter" idx="28" hasCustomPrompt="1"/>
          </p:nvPr>
        </p:nvSpPr>
        <p:spPr>
          <a:xfrm>
            <a:off x="5049695" y="3769130"/>
            <a:ext cx="1335088"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76" name="Textplatzhalter 54">
            <a:extLst>
              <a:ext uri="{FF2B5EF4-FFF2-40B4-BE49-F238E27FC236}">
                <a16:creationId xmlns:a16="http://schemas.microsoft.com/office/drawing/2014/main" id="{05D51F87-D606-46BC-95BB-86E27ABE37C5}"/>
              </a:ext>
            </a:extLst>
          </p:cNvPr>
          <p:cNvSpPr>
            <a:spLocks noGrp="1"/>
          </p:cNvSpPr>
          <p:nvPr>
            <p:ph type="body" sz="quarter" idx="29" hasCustomPrompt="1"/>
          </p:nvPr>
        </p:nvSpPr>
        <p:spPr>
          <a:xfrm>
            <a:off x="5049695" y="4505730"/>
            <a:ext cx="1335088"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77" name="Text Box 7">
            <a:extLst>
              <a:ext uri="{FF2B5EF4-FFF2-40B4-BE49-F238E27FC236}">
                <a16:creationId xmlns:a16="http://schemas.microsoft.com/office/drawing/2014/main" id="{1DAC52DF-4148-4ECD-BD7A-533C2A69B428}"/>
              </a:ext>
            </a:extLst>
          </p:cNvPr>
          <p:cNvSpPr txBox="1">
            <a:spLocks noChangeArrowheads="1"/>
          </p:cNvSpPr>
          <p:nvPr userDrawn="1">
            <p:custDataLst>
              <p:tags r:id="rId19"/>
            </p:custDataLst>
          </p:nvPr>
        </p:nvSpPr>
        <p:spPr bwMode="auto">
          <a:xfrm>
            <a:off x="6620563" y="3768923"/>
            <a:ext cx="1335789"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78" name="Text Box 7">
            <a:extLst>
              <a:ext uri="{FF2B5EF4-FFF2-40B4-BE49-F238E27FC236}">
                <a16:creationId xmlns:a16="http://schemas.microsoft.com/office/drawing/2014/main" id="{A5B82783-632E-4BE7-A367-62B90B0CB071}"/>
              </a:ext>
            </a:extLst>
          </p:cNvPr>
          <p:cNvSpPr txBox="1">
            <a:spLocks noChangeArrowheads="1"/>
          </p:cNvSpPr>
          <p:nvPr userDrawn="1">
            <p:custDataLst>
              <p:tags r:id="rId20"/>
            </p:custDataLst>
          </p:nvPr>
        </p:nvSpPr>
        <p:spPr bwMode="auto">
          <a:xfrm>
            <a:off x="6620563" y="4505154"/>
            <a:ext cx="1335789"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79" name="Textfeld 78">
            <a:extLst>
              <a:ext uri="{FF2B5EF4-FFF2-40B4-BE49-F238E27FC236}">
                <a16:creationId xmlns:a16="http://schemas.microsoft.com/office/drawing/2014/main" id="{8594935B-141B-46B3-8311-68EDE18E55BC}"/>
              </a:ext>
            </a:extLst>
          </p:cNvPr>
          <p:cNvSpPr txBox="1"/>
          <p:nvPr userDrawn="1">
            <p:custDataLst>
              <p:tags r:id="rId21"/>
            </p:custDataLst>
          </p:nvPr>
        </p:nvSpPr>
        <p:spPr>
          <a:xfrm>
            <a:off x="6620562" y="2990761"/>
            <a:ext cx="1335789"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80" name="Text Box 7">
            <a:extLst>
              <a:ext uri="{FF2B5EF4-FFF2-40B4-BE49-F238E27FC236}">
                <a16:creationId xmlns:a16="http://schemas.microsoft.com/office/drawing/2014/main" id="{19EFD9F9-4ACF-4DE8-BE57-95EE5D389077}"/>
              </a:ext>
            </a:extLst>
          </p:cNvPr>
          <p:cNvSpPr txBox="1">
            <a:spLocks noChangeArrowheads="1"/>
          </p:cNvSpPr>
          <p:nvPr userDrawn="1">
            <p:custDataLst>
              <p:tags r:id="rId22"/>
            </p:custDataLst>
          </p:nvPr>
        </p:nvSpPr>
        <p:spPr bwMode="auto">
          <a:xfrm>
            <a:off x="6620562" y="4505153"/>
            <a:ext cx="1335789"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81" name="Textplatzhalter 37">
            <a:extLst>
              <a:ext uri="{FF2B5EF4-FFF2-40B4-BE49-F238E27FC236}">
                <a16:creationId xmlns:a16="http://schemas.microsoft.com/office/drawing/2014/main" id="{4574D9C9-F1C3-4621-BAC4-5F3B42DDFD1B}"/>
              </a:ext>
            </a:extLst>
          </p:cNvPr>
          <p:cNvSpPr>
            <a:spLocks noGrp="1"/>
          </p:cNvSpPr>
          <p:nvPr>
            <p:ph type="body" sz="quarter" idx="30" hasCustomPrompt="1"/>
          </p:nvPr>
        </p:nvSpPr>
        <p:spPr>
          <a:xfrm>
            <a:off x="6619984" y="2990554"/>
            <a:ext cx="1336675"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82" name="Textplatzhalter 51">
            <a:extLst>
              <a:ext uri="{FF2B5EF4-FFF2-40B4-BE49-F238E27FC236}">
                <a16:creationId xmlns:a16="http://schemas.microsoft.com/office/drawing/2014/main" id="{9D840160-5D30-4CDB-A6C3-93A1AE043193}"/>
              </a:ext>
            </a:extLst>
          </p:cNvPr>
          <p:cNvSpPr>
            <a:spLocks noGrp="1"/>
          </p:cNvSpPr>
          <p:nvPr>
            <p:ph type="body" sz="quarter" idx="31" hasCustomPrompt="1"/>
          </p:nvPr>
        </p:nvSpPr>
        <p:spPr>
          <a:xfrm>
            <a:off x="6619984" y="3769130"/>
            <a:ext cx="1335088"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83" name="Textplatzhalter 54">
            <a:extLst>
              <a:ext uri="{FF2B5EF4-FFF2-40B4-BE49-F238E27FC236}">
                <a16:creationId xmlns:a16="http://schemas.microsoft.com/office/drawing/2014/main" id="{AE8C839B-A4EB-495B-AF3F-5A76BEF35CDF}"/>
              </a:ext>
            </a:extLst>
          </p:cNvPr>
          <p:cNvSpPr>
            <a:spLocks noGrp="1"/>
          </p:cNvSpPr>
          <p:nvPr>
            <p:ph type="body" sz="quarter" idx="32" hasCustomPrompt="1"/>
          </p:nvPr>
        </p:nvSpPr>
        <p:spPr>
          <a:xfrm>
            <a:off x="6619984" y="4505730"/>
            <a:ext cx="1335088"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91" name="Text Box 7">
            <a:extLst>
              <a:ext uri="{FF2B5EF4-FFF2-40B4-BE49-F238E27FC236}">
                <a16:creationId xmlns:a16="http://schemas.microsoft.com/office/drawing/2014/main" id="{33B14321-115B-4404-96FB-ABAF60263BE8}"/>
              </a:ext>
            </a:extLst>
          </p:cNvPr>
          <p:cNvSpPr txBox="1">
            <a:spLocks noChangeArrowheads="1"/>
          </p:cNvSpPr>
          <p:nvPr userDrawn="1">
            <p:custDataLst>
              <p:tags r:id="rId23"/>
            </p:custDataLst>
          </p:nvPr>
        </p:nvSpPr>
        <p:spPr bwMode="auto">
          <a:xfrm>
            <a:off x="8189572" y="3779413"/>
            <a:ext cx="1335789"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92" name="Text Box 7">
            <a:extLst>
              <a:ext uri="{FF2B5EF4-FFF2-40B4-BE49-F238E27FC236}">
                <a16:creationId xmlns:a16="http://schemas.microsoft.com/office/drawing/2014/main" id="{A799C214-647A-4062-9AEC-57B2742E8C97}"/>
              </a:ext>
            </a:extLst>
          </p:cNvPr>
          <p:cNvSpPr txBox="1">
            <a:spLocks noChangeArrowheads="1"/>
          </p:cNvSpPr>
          <p:nvPr userDrawn="1">
            <p:custDataLst>
              <p:tags r:id="rId24"/>
            </p:custDataLst>
          </p:nvPr>
        </p:nvSpPr>
        <p:spPr bwMode="auto">
          <a:xfrm>
            <a:off x="8189572" y="4515644"/>
            <a:ext cx="1335789"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93" name="Textfeld 92">
            <a:extLst>
              <a:ext uri="{FF2B5EF4-FFF2-40B4-BE49-F238E27FC236}">
                <a16:creationId xmlns:a16="http://schemas.microsoft.com/office/drawing/2014/main" id="{50C15AA5-13DE-4360-A992-A2DE0354C0E8}"/>
              </a:ext>
            </a:extLst>
          </p:cNvPr>
          <p:cNvSpPr txBox="1"/>
          <p:nvPr userDrawn="1">
            <p:custDataLst>
              <p:tags r:id="rId25"/>
            </p:custDataLst>
          </p:nvPr>
        </p:nvSpPr>
        <p:spPr>
          <a:xfrm>
            <a:off x="8189571" y="3001251"/>
            <a:ext cx="1335789"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94" name="Text Box 7">
            <a:extLst>
              <a:ext uri="{FF2B5EF4-FFF2-40B4-BE49-F238E27FC236}">
                <a16:creationId xmlns:a16="http://schemas.microsoft.com/office/drawing/2014/main" id="{CF467CEB-E609-429C-AF8F-56C898AF9C4E}"/>
              </a:ext>
            </a:extLst>
          </p:cNvPr>
          <p:cNvSpPr txBox="1">
            <a:spLocks noChangeArrowheads="1"/>
          </p:cNvSpPr>
          <p:nvPr userDrawn="1">
            <p:custDataLst>
              <p:tags r:id="rId26"/>
            </p:custDataLst>
          </p:nvPr>
        </p:nvSpPr>
        <p:spPr bwMode="auto">
          <a:xfrm>
            <a:off x="8189571" y="4515643"/>
            <a:ext cx="1335789"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95" name="Textplatzhalter 37">
            <a:extLst>
              <a:ext uri="{FF2B5EF4-FFF2-40B4-BE49-F238E27FC236}">
                <a16:creationId xmlns:a16="http://schemas.microsoft.com/office/drawing/2014/main" id="{DC6C850E-9EEC-4FB6-98D7-8736218869B6}"/>
              </a:ext>
            </a:extLst>
          </p:cNvPr>
          <p:cNvSpPr>
            <a:spLocks noGrp="1"/>
          </p:cNvSpPr>
          <p:nvPr>
            <p:ph type="body" sz="quarter" idx="33" hasCustomPrompt="1"/>
          </p:nvPr>
        </p:nvSpPr>
        <p:spPr>
          <a:xfrm>
            <a:off x="8188993" y="3001044"/>
            <a:ext cx="1336675"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96" name="Textplatzhalter 51">
            <a:extLst>
              <a:ext uri="{FF2B5EF4-FFF2-40B4-BE49-F238E27FC236}">
                <a16:creationId xmlns:a16="http://schemas.microsoft.com/office/drawing/2014/main" id="{05217C03-4C4F-4894-A4C4-A31FC7AA061F}"/>
              </a:ext>
            </a:extLst>
          </p:cNvPr>
          <p:cNvSpPr>
            <a:spLocks noGrp="1"/>
          </p:cNvSpPr>
          <p:nvPr>
            <p:ph type="body" sz="quarter" idx="34" hasCustomPrompt="1"/>
          </p:nvPr>
        </p:nvSpPr>
        <p:spPr>
          <a:xfrm>
            <a:off x="8188993" y="3779620"/>
            <a:ext cx="1335088"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97" name="Textplatzhalter 54">
            <a:extLst>
              <a:ext uri="{FF2B5EF4-FFF2-40B4-BE49-F238E27FC236}">
                <a16:creationId xmlns:a16="http://schemas.microsoft.com/office/drawing/2014/main" id="{E1BAF3A3-59E7-43CB-8826-7405EE69499B}"/>
              </a:ext>
            </a:extLst>
          </p:cNvPr>
          <p:cNvSpPr>
            <a:spLocks noGrp="1"/>
          </p:cNvSpPr>
          <p:nvPr>
            <p:ph type="body" sz="quarter" idx="35" hasCustomPrompt="1"/>
          </p:nvPr>
        </p:nvSpPr>
        <p:spPr>
          <a:xfrm>
            <a:off x="8188993" y="4516220"/>
            <a:ext cx="1335088"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
        <p:nvSpPr>
          <p:cNvPr id="98" name="Text Box 7">
            <a:extLst>
              <a:ext uri="{FF2B5EF4-FFF2-40B4-BE49-F238E27FC236}">
                <a16:creationId xmlns:a16="http://schemas.microsoft.com/office/drawing/2014/main" id="{ACA6E4B1-F421-420E-B7AF-82402C3CD1A6}"/>
              </a:ext>
            </a:extLst>
          </p:cNvPr>
          <p:cNvSpPr txBox="1">
            <a:spLocks noChangeArrowheads="1"/>
          </p:cNvSpPr>
          <p:nvPr userDrawn="1">
            <p:custDataLst>
              <p:tags r:id="rId27"/>
            </p:custDataLst>
          </p:nvPr>
        </p:nvSpPr>
        <p:spPr bwMode="auto">
          <a:xfrm>
            <a:off x="9753669" y="3788122"/>
            <a:ext cx="1335789" cy="627763"/>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endParaRPr kumimoji="0" lang="de-DE" sz="9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99" name="Text Box 7">
            <a:extLst>
              <a:ext uri="{FF2B5EF4-FFF2-40B4-BE49-F238E27FC236}">
                <a16:creationId xmlns:a16="http://schemas.microsoft.com/office/drawing/2014/main" id="{92CF23A7-3337-4103-9298-24DCB1FA2F4D}"/>
              </a:ext>
            </a:extLst>
          </p:cNvPr>
          <p:cNvSpPr txBox="1">
            <a:spLocks noChangeArrowheads="1"/>
          </p:cNvSpPr>
          <p:nvPr userDrawn="1">
            <p:custDataLst>
              <p:tags r:id="rId28"/>
            </p:custDataLst>
          </p:nvPr>
        </p:nvSpPr>
        <p:spPr bwMode="auto">
          <a:xfrm>
            <a:off x="9753669" y="4524353"/>
            <a:ext cx="1335789" cy="443378"/>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ctr">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554"/>
              </a:spcBef>
              <a:spcAft>
                <a:spcPct val="0"/>
              </a:spcAft>
              <a:buClrTx/>
              <a:buSzTx/>
              <a:buFont typeface="Wingdings" pitchFamily="2" charset="2"/>
              <a:buNone/>
              <a:tabLst/>
              <a:defRPr/>
            </a:pPr>
            <a:r>
              <a:rPr kumimoji="0" lang="de-DE" sz="900" b="1" i="0" u="none" strike="noStrike" kern="1200" cap="none" spc="0" normalizeH="0" baseline="0" noProof="0">
                <a:ln>
                  <a:noFill/>
                </a:ln>
                <a:solidFill>
                  <a:prstClr val="black"/>
                </a:solidFill>
                <a:effectLst/>
                <a:uLnTx/>
                <a:uFillTx/>
                <a:latin typeface="M05 Text Office Bold" panose="020B0504040000000004" pitchFamily="34" charset="0"/>
                <a:ea typeface="Segoe UI" panose="020B0502040204020203" pitchFamily="34" charset="0"/>
                <a:cs typeface="Arial" panose="020B0604020202020204" pitchFamily="34" charset="0"/>
              </a:rPr>
              <a:t>Merchandising</a:t>
            </a: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Vera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Maschler</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ggf. Rosario </a:t>
            </a:r>
            <a:r>
              <a:rPr kumimoji="0" lang="de-DE" sz="800" b="0" i="0" u="none" strike="noStrike" kern="1200" cap="none" spc="0" normalizeH="0" baseline="0" noProof="0" err="1">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Sirb</a:t>
            </a: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a:t>
            </a:r>
          </a:p>
        </p:txBody>
      </p:sp>
      <p:sp>
        <p:nvSpPr>
          <p:cNvPr id="100" name="Textfeld 99">
            <a:extLst>
              <a:ext uri="{FF2B5EF4-FFF2-40B4-BE49-F238E27FC236}">
                <a16:creationId xmlns:a16="http://schemas.microsoft.com/office/drawing/2014/main" id="{DAB2C35A-2A16-41E6-AA5E-F855EBDCC9EE}"/>
              </a:ext>
            </a:extLst>
          </p:cNvPr>
          <p:cNvSpPr txBox="1"/>
          <p:nvPr userDrawn="1">
            <p:custDataLst>
              <p:tags r:id="rId29"/>
            </p:custDataLst>
          </p:nvPr>
        </p:nvSpPr>
        <p:spPr>
          <a:xfrm>
            <a:off x="9753668" y="3009960"/>
            <a:ext cx="1335789" cy="627763"/>
          </a:xfrm>
          <a:prstGeom prst="rect">
            <a:avLst/>
          </a:prstGeom>
          <a:solidFill>
            <a:schemeClr val="accent1">
              <a:alpha val="80000"/>
            </a:schemeClr>
          </a:solidFill>
          <a:ln w="9525" cap="flat" cmpd="sng" algn="ctr">
            <a:solidFill>
              <a:srgbClr val="414042"/>
            </a:solidFill>
            <a:prstDash val="solid"/>
            <a:headEnd/>
            <a:tailEnd/>
          </a:ln>
          <a:effectLst>
            <a:outerShdw blurRad="40000" dist="23000" dir="5400000" rotWithShape="0">
              <a:srgbClr val="000000">
                <a:alpha val="35000"/>
              </a:srgbClr>
            </a:outerShdw>
          </a:effectLst>
        </p:spPr>
        <p:txBody>
          <a:bodyPr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base" latinLnBrk="0" hangingPunct="1">
              <a:lnSpc>
                <a:spcPct val="100000"/>
              </a:lnSpc>
              <a:spcBef>
                <a:spcPct val="0"/>
              </a:spcBef>
              <a:spcAft>
                <a:spcPts val="554"/>
              </a:spcAft>
              <a:buClrTx/>
              <a:buSzTx/>
              <a:buFontTx/>
              <a:buNone/>
              <a:tabLst/>
              <a:defRPr/>
            </a:pPr>
            <a:endParaRPr kumimoji="0" lang="de-DE" sz="1000" b="0" i="0" u="none" strike="noStrike" kern="1200" cap="none" spc="0" normalizeH="0" baseline="0" noProof="0">
              <a:ln>
                <a:noFill/>
              </a:ln>
              <a:solidFill>
                <a:srgbClr val="FFFFFF"/>
              </a:solidFill>
              <a:effectLst/>
              <a:uLnTx/>
              <a:uFillTx/>
              <a:latin typeface="M05 Text Office" panose="020B0504040000000004" pitchFamily="34" charset="0"/>
              <a:ea typeface="Segoe UI" panose="020B0502040204020203" pitchFamily="34" charset="0"/>
              <a:cs typeface="Arial" panose="020B0604020202020204" pitchFamily="34" charset="0"/>
            </a:endParaRPr>
          </a:p>
        </p:txBody>
      </p:sp>
      <p:sp>
        <p:nvSpPr>
          <p:cNvPr id="101" name="Text Box 7">
            <a:extLst>
              <a:ext uri="{FF2B5EF4-FFF2-40B4-BE49-F238E27FC236}">
                <a16:creationId xmlns:a16="http://schemas.microsoft.com/office/drawing/2014/main" id="{E4239A20-8591-40D3-A706-24A1AF1F17F1}"/>
              </a:ext>
            </a:extLst>
          </p:cNvPr>
          <p:cNvSpPr txBox="1">
            <a:spLocks noChangeArrowheads="1"/>
          </p:cNvSpPr>
          <p:nvPr userDrawn="1">
            <p:custDataLst>
              <p:tags r:id="rId30"/>
            </p:custDataLst>
          </p:nvPr>
        </p:nvSpPr>
        <p:spPr bwMode="auto">
          <a:xfrm>
            <a:off x="9753668" y="4524352"/>
            <a:ext cx="1335789" cy="1881764"/>
          </a:xfrm>
          <a:prstGeom prst="rect">
            <a:avLst/>
          </a:prstGeom>
          <a:solidFill>
            <a:schemeClr val="bg1"/>
          </a:solidFill>
          <a:ln w="12700">
            <a:solidFill>
              <a:srgbClr val="414042"/>
            </a:solidFill>
          </a:ln>
          <a:effectLst>
            <a:outerShdw blurRad="50800" dist="38100" dir="2700000" algn="tl" rotWithShape="0">
              <a:prstClr val="black">
                <a:alpha val="40000"/>
              </a:prstClr>
            </a:outerShdw>
          </a:effectLst>
        </p:spPr>
        <p:txBody>
          <a:bodyPr wrap="square" lIns="83077" tIns="43200" rIns="83077" bIns="43200" anchor="t">
            <a:noAutofit/>
          </a:bodyPr>
          <a:lstStyle>
            <a:defPPr>
              <a:defRPr lang="de-DE"/>
            </a:defPPr>
            <a:lvl1pPr marL="285750" indent="-285750">
              <a:spcBef>
                <a:spcPts val="300"/>
              </a:spcBef>
              <a:spcAft>
                <a:spcPts val="100"/>
              </a:spcAft>
              <a:buClr>
                <a:schemeClr val="accent1"/>
              </a:buClr>
              <a:buSzPct val="110000"/>
              <a:buFont typeface="Wingdings" pitchFamily="2" charset="2"/>
              <a:buChar char="§"/>
              <a:defRPr sz="1200" b="0">
                <a:latin typeface="Segoe UI Light" pitchFamily="34" charset="0"/>
              </a:defRPr>
            </a:lvl1pPr>
            <a:lvl2pPr marL="742950" indent="-285750">
              <a:defRPr b="1"/>
            </a:lvl2pPr>
            <a:lvl3pPr marL="1143000" indent="-228600">
              <a:defRPr b="1"/>
            </a:lvl3pPr>
            <a:lvl4pPr marL="1600200" indent="-228600">
              <a:defRPr b="1"/>
            </a:lvl4pPr>
            <a:lvl5pPr marL="2057400" indent="-228600">
              <a:defRPr b="1"/>
            </a:lvl5pPr>
            <a:lvl6pPr marL="2514600" indent="-228600" algn="ctr" eaLnBrk="0" fontAlgn="base" hangingPunct="0">
              <a:lnSpc>
                <a:spcPct val="110000"/>
              </a:lnSpc>
              <a:spcBef>
                <a:spcPct val="50000"/>
              </a:spcBef>
              <a:spcAft>
                <a:spcPct val="10000"/>
              </a:spcAft>
              <a:buClr>
                <a:srgbClr val="003258"/>
              </a:buClr>
              <a:buFont typeface="Wingdings" pitchFamily="2" charset="2"/>
              <a:defRPr b="1"/>
            </a:lvl6pPr>
            <a:lvl7pPr marL="2971800" indent="-228600" algn="ctr" eaLnBrk="0" fontAlgn="base" hangingPunct="0">
              <a:lnSpc>
                <a:spcPct val="110000"/>
              </a:lnSpc>
              <a:spcBef>
                <a:spcPct val="50000"/>
              </a:spcBef>
              <a:spcAft>
                <a:spcPct val="10000"/>
              </a:spcAft>
              <a:buClr>
                <a:srgbClr val="003258"/>
              </a:buClr>
              <a:buFont typeface="Wingdings" pitchFamily="2" charset="2"/>
              <a:defRPr b="1"/>
            </a:lvl7pPr>
            <a:lvl8pPr marL="3429000" indent="-228600" algn="ctr" eaLnBrk="0" fontAlgn="base" hangingPunct="0">
              <a:lnSpc>
                <a:spcPct val="110000"/>
              </a:lnSpc>
              <a:spcBef>
                <a:spcPct val="50000"/>
              </a:spcBef>
              <a:spcAft>
                <a:spcPct val="10000"/>
              </a:spcAft>
              <a:buClr>
                <a:srgbClr val="003258"/>
              </a:buClr>
              <a:buFont typeface="Wingdings" pitchFamily="2" charset="2"/>
              <a:defRPr b="1"/>
            </a:lvl8pPr>
            <a:lvl9pPr marL="3886200" indent="-228600" algn="ctr" eaLnBrk="0" fontAlgn="base" hangingPunct="0">
              <a:lnSpc>
                <a:spcPct val="110000"/>
              </a:lnSpc>
              <a:spcBef>
                <a:spcPct val="50000"/>
              </a:spcBef>
              <a:spcAft>
                <a:spcPct val="10000"/>
              </a:spcAft>
              <a:buClr>
                <a:srgbClr val="003258"/>
              </a:buClr>
              <a:buFont typeface="Wingdings" pitchFamily="2" charset="2"/>
              <a:defRPr b="1"/>
            </a:lvl9pPr>
          </a:lstStyle>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endPar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Tx/>
              <a:buSzTx/>
              <a:buFont typeface="Wingdings" pitchFamily="2" charset="2"/>
              <a:buNone/>
              <a:tabLst/>
              <a:defRPr/>
            </a:pPr>
            <a:r>
              <a:rPr kumimoji="0" lang="de-DE" sz="800" b="0" i="0" u="none" strike="noStrike" kern="1200" cap="none" spc="0" normalizeH="0" baseline="0" noProof="0">
                <a:ln>
                  <a:noFill/>
                </a:ln>
                <a:solidFill>
                  <a:prstClr val="black"/>
                </a:solidFill>
                <a:effectLst/>
                <a:uLnTx/>
                <a:uFillTx/>
                <a:latin typeface="M05 Text Office" panose="020B0504040000000004" pitchFamily="34" charset="0"/>
                <a:ea typeface="Segoe UI" panose="020B0502040204020203" pitchFamily="34" charset="0"/>
                <a:cs typeface="Arial" panose="020B0604020202020204" pitchFamily="34" charset="0"/>
              </a:rPr>
              <a:t> </a:t>
            </a:r>
          </a:p>
        </p:txBody>
      </p:sp>
      <p:sp>
        <p:nvSpPr>
          <p:cNvPr id="102" name="Textplatzhalter 37">
            <a:extLst>
              <a:ext uri="{FF2B5EF4-FFF2-40B4-BE49-F238E27FC236}">
                <a16:creationId xmlns:a16="http://schemas.microsoft.com/office/drawing/2014/main" id="{795E546C-E080-4DCA-A082-EE9FC029A534}"/>
              </a:ext>
            </a:extLst>
          </p:cNvPr>
          <p:cNvSpPr>
            <a:spLocks noGrp="1"/>
          </p:cNvSpPr>
          <p:nvPr>
            <p:ph type="body" sz="quarter" idx="36" hasCustomPrompt="1"/>
          </p:nvPr>
        </p:nvSpPr>
        <p:spPr>
          <a:xfrm>
            <a:off x="9753090" y="3009753"/>
            <a:ext cx="1336675" cy="627763"/>
          </a:xfrm>
          <a:prstGeom prst="rect">
            <a:avLst/>
          </a:prstGeom>
        </p:spPr>
        <p:txBody>
          <a:bodyPr/>
          <a:lstStyle>
            <a:lvl1pPr marL="0" indent="0" algn="ctr">
              <a:buNone/>
              <a:defRPr sz="1000">
                <a:solidFill>
                  <a:schemeClr val="bg1"/>
                </a:solidFill>
                <a:latin typeface="M05 Text Office" panose="020B0504040000000004" pitchFamily="34" charset="0"/>
              </a:defRPr>
            </a:lvl1pPr>
          </a:lstStyle>
          <a:p>
            <a:pPr lvl="0"/>
            <a:r>
              <a:rPr lang="de-DE"/>
              <a:t>Teilprojekt</a:t>
            </a:r>
          </a:p>
        </p:txBody>
      </p:sp>
      <p:sp>
        <p:nvSpPr>
          <p:cNvPr id="103" name="Textplatzhalter 51">
            <a:extLst>
              <a:ext uri="{FF2B5EF4-FFF2-40B4-BE49-F238E27FC236}">
                <a16:creationId xmlns:a16="http://schemas.microsoft.com/office/drawing/2014/main" id="{1CD48103-D3F7-4B39-BC38-B1BE4C3858B4}"/>
              </a:ext>
            </a:extLst>
          </p:cNvPr>
          <p:cNvSpPr>
            <a:spLocks noGrp="1"/>
          </p:cNvSpPr>
          <p:nvPr>
            <p:ph type="body" sz="quarter" idx="37" hasCustomPrompt="1"/>
          </p:nvPr>
        </p:nvSpPr>
        <p:spPr>
          <a:xfrm>
            <a:off x="9753090" y="3788329"/>
            <a:ext cx="1335088" cy="627062"/>
          </a:xfrm>
          <a:prstGeom prst="rect">
            <a:avLst/>
          </a:prstGeom>
        </p:spPr>
        <p:txBody>
          <a:bodyPr/>
          <a:lstStyle>
            <a:lvl1pPr marL="0" indent="0" algn="ctr">
              <a:buNone/>
              <a:defRPr sz="1050">
                <a:latin typeface="M05 Text Office" panose="020B0504040000000004" pitchFamily="34" charset="0"/>
              </a:defRPr>
            </a:lvl1pPr>
          </a:lstStyle>
          <a:p>
            <a:pPr lvl="0"/>
            <a:r>
              <a:rPr lang="de-DE"/>
              <a:t>Mitwirkende</a:t>
            </a:r>
          </a:p>
        </p:txBody>
      </p:sp>
      <p:sp>
        <p:nvSpPr>
          <p:cNvPr id="104" name="Textplatzhalter 54">
            <a:extLst>
              <a:ext uri="{FF2B5EF4-FFF2-40B4-BE49-F238E27FC236}">
                <a16:creationId xmlns:a16="http://schemas.microsoft.com/office/drawing/2014/main" id="{CF92ABC7-63AA-4579-9C88-ED4A00BAF51B}"/>
              </a:ext>
            </a:extLst>
          </p:cNvPr>
          <p:cNvSpPr>
            <a:spLocks noGrp="1"/>
          </p:cNvSpPr>
          <p:nvPr>
            <p:ph type="body" sz="quarter" idx="38" hasCustomPrompt="1"/>
          </p:nvPr>
        </p:nvSpPr>
        <p:spPr>
          <a:xfrm>
            <a:off x="9753090" y="4524929"/>
            <a:ext cx="1335088" cy="1881187"/>
          </a:xfrm>
          <a:prstGeom prst="rect">
            <a:avLst/>
          </a:prstGeom>
        </p:spPr>
        <p:txBody>
          <a:bodyPr/>
          <a:lstStyle>
            <a:lvl1pPr marL="0" indent="0" algn="ctr">
              <a:buNone/>
              <a:defRPr sz="1000">
                <a:latin typeface="M05 Text Office" panose="020B0504040000000004" pitchFamily="34" charset="0"/>
              </a:defRPr>
            </a:lvl1pPr>
          </a:lstStyle>
          <a:p>
            <a:pPr lvl="0"/>
            <a:r>
              <a:rPr lang="de-DE"/>
              <a:t>Kurzbeschreibung</a:t>
            </a:r>
          </a:p>
        </p:txBody>
      </p:sp>
    </p:spTree>
    <p:extLst>
      <p:ext uri="{BB962C8B-B14F-4D97-AF65-F5344CB8AC3E}">
        <p14:creationId xmlns:p14="http://schemas.microsoft.com/office/powerpoint/2010/main" val="5451121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eiskalkulatio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84" name="Rechteck: eine Ecke abgeschnitten 83">
            <a:extLst>
              <a:ext uri="{FF2B5EF4-FFF2-40B4-BE49-F238E27FC236}">
                <a16:creationId xmlns:a16="http://schemas.microsoft.com/office/drawing/2014/main" id="{BAAA962F-EEA2-4276-B6EC-31F69F79B4AD}"/>
              </a:ext>
            </a:extLst>
          </p:cNvPr>
          <p:cNvSpPr/>
          <p:nvPr userDrawn="1"/>
        </p:nvSpPr>
        <p:spPr>
          <a:xfrm flipV="1">
            <a:off x="330201" y="1529892"/>
            <a:ext cx="10728000" cy="431770"/>
          </a:xfrm>
          <a:prstGeom prst="snip1Rect">
            <a:avLst>
              <a:gd name="adj" fmla="val 2948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5" name="Rechteck 84">
            <a:extLst>
              <a:ext uri="{FF2B5EF4-FFF2-40B4-BE49-F238E27FC236}">
                <a16:creationId xmlns:a16="http://schemas.microsoft.com/office/drawing/2014/main" id="{EA45A1BF-1C36-401E-8A7F-253BD0DF5403}"/>
              </a:ext>
            </a:extLst>
          </p:cNvPr>
          <p:cNvSpPr/>
          <p:nvPr userDrawn="1"/>
        </p:nvSpPr>
        <p:spPr>
          <a:xfrm>
            <a:off x="330200" y="2064460"/>
            <a:ext cx="529491" cy="5302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tx1"/>
              </a:solidFill>
              <a:latin typeface="M05 Headline Office Bold" panose="020B0804040000000001" pitchFamily="34" charset="0"/>
            </a:endParaRPr>
          </a:p>
        </p:txBody>
      </p:sp>
      <p:sp>
        <p:nvSpPr>
          <p:cNvPr id="87" name="Rechteck 86">
            <a:extLst>
              <a:ext uri="{FF2B5EF4-FFF2-40B4-BE49-F238E27FC236}">
                <a16:creationId xmlns:a16="http://schemas.microsoft.com/office/drawing/2014/main" id="{8592A95A-8C98-43DD-A3EB-5E569B441AFA}"/>
              </a:ext>
            </a:extLst>
          </p:cNvPr>
          <p:cNvSpPr/>
          <p:nvPr userDrawn="1"/>
        </p:nvSpPr>
        <p:spPr>
          <a:xfrm>
            <a:off x="967154" y="2064460"/>
            <a:ext cx="10088355" cy="5302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tx1"/>
              </a:solidFill>
              <a:latin typeface="M05 Headline Office Bold" panose="020B0804040000000001" pitchFamily="34" charset="0"/>
            </a:endParaRPr>
          </a:p>
        </p:txBody>
      </p:sp>
      <p:sp>
        <p:nvSpPr>
          <p:cNvPr id="88" name="Rechteck: eine Ecke abgeschnitten 87">
            <a:extLst>
              <a:ext uri="{FF2B5EF4-FFF2-40B4-BE49-F238E27FC236}">
                <a16:creationId xmlns:a16="http://schemas.microsoft.com/office/drawing/2014/main" id="{CAF06C0F-20BD-4A21-938C-81345E35C1CA}"/>
              </a:ext>
            </a:extLst>
          </p:cNvPr>
          <p:cNvSpPr/>
          <p:nvPr userDrawn="1"/>
        </p:nvSpPr>
        <p:spPr>
          <a:xfrm flipV="1">
            <a:off x="1045308" y="2133596"/>
            <a:ext cx="7319105" cy="375139"/>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9" name="Rechteck: eine Ecke abgeschnitten 88">
            <a:extLst>
              <a:ext uri="{FF2B5EF4-FFF2-40B4-BE49-F238E27FC236}">
                <a16:creationId xmlns:a16="http://schemas.microsoft.com/office/drawing/2014/main" id="{1EAEEE1B-047F-4116-B27F-6FFBBCC056CE}"/>
              </a:ext>
            </a:extLst>
          </p:cNvPr>
          <p:cNvSpPr/>
          <p:nvPr userDrawn="1"/>
        </p:nvSpPr>
        <p:spPr>
          <a:xfrm flipV="1">
            <a:off x="8471877" y="2134198"/>
            <a:ext cx="2508738" cy="375139"/>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D4705AF6-C04B-46FE-B22A-DE7C64E6B357}"/>
              </a:ext>
            </a:extLst>
          </p:cNvPr>
          <p:cNvSpPr>
            <a:spLocks noGrp="1"/>
          </p:cNvSpPr>
          <p:nvPr>
            <p:ph type="body" sz="quarter" idx="14" hasCustomPrompt="1"/>
          </p:nvPr>
        </p:nvSpPr>
        <p:spPr>
          <a:xfrm>
            <a:off x="330200" y="2063750"/>
            <a:ext cx="530225" cy="530225"/>
          </a:xfrm>
          <a:prstGeom prst="rect">
            <a:avLst/>
          </a:prstGeom>
        </p:spPr>
        <p:txBody>
          <a:bodyPr anchor="ctr"/>
          <a:lstStyle>
            <a:lvl1pPr marL="0" indent="0" algn="ctr">
              <a:buNone/>
              <a:defRPr sz="2000">
                <a:latin typeface="M05 Headline Office Bold" panose="020B0804040000000001" pitchFamily="34" charset="0"/>
              </a:defRPr>
            </a:lvl1pPr>
          </a:lstStyle>
          <a:p>
            <a:pPr lvl="0"/>
            <a:r>
              <a:rPr lang="de-DE"/>
              <a:t>1</a:t>
            </a:r>
          </a:p>
        </p:txBody>
      </p:sp>
      <p:sp>
        <p:nvSpPr>
          <p:cNvPr id="8" name="Textplatzhalter 7">
            <a:extLst>
              <a:ext uri="{FF2B5EF4-FFF2-40B4-BE49-F238E27FC236}">
                <a16:creationId xmlns:a16="http://schemas.microsoft.com/office/drawing/2014/main" id="{1A175D60-FE2D-4BF3-AD0B-27CAC572D289}"/>
              </a:ext>
            </a:extLst>
          </p:cNvPr>
          <p:cNvSpPr>
            <a:spLocks noGrp="1"/>
          </p:cNvSpPr>
          <p:nvPr>
            <p:ph type="body" sz="quarter" idx="15" hasCustomPrompt="1"/>
          </p:nvPr>
        </p:nvSpPr>
        <p:spPr>
          <a:xfrm>
            <a:off x="1044575" y="2133600"/>
            <a:ext cx="7246938" cy="374650"/>
          </a:xfrm>
          <a:prstGeom prst="rect">
            <a:avLst/>
          </a:prstGeom>
        </p:spPr>
        <p:txBody>
          <a:bodyPr anchor="ctr"/>
          <a:lstStyle>
            <a:lvl1pPr marL="0" indent="0">
              <a:buNone/>
              <a:defRPr sz="1600"/>
            </a:lvl1pPr>
          </a:lstStyle>
          <a:p>
            <a:pPr lvl="0"/>
            <a:r>
              <a:rPr lang="de-DE"/>
              <a:t>Kostenpunkt 1</a:t>
            </a:r>
          </a:p>
        </p:txBody>
      </p:sp>
      <p:sp>
        <p:nvSpPr>
          <p:cNvPr id="90" name="Textplatzhalter 7">
            <a:extLst>
              <a:ext uri="{FF2B5EF4-FFF2-40B4-BE49-F238E27FC236}">
                <a16:creationId xmlns:a16="http://schemas.microsoft.com/office/drawing/2014/main" id="{3A7D4CF9-AC9D-48BE-A27F-906BF412E9A6}"/>
              </a:ext>
            </a:extLst>
          </p:cNvPr>
          <p:cNvSpPr>
            <a:spLocks noGrp="1"/>
          </p:cNvSpPr>
          <p:nvPr>
            <p:ph type="body" sz="quarter" idx="16" hasCustomPrompt="1"/>
          </p:nvPr>
        </p:nvSpPr>
        <p:spPr>
          <a:xfrm>
            <a:off x="8471142" y="2141537"/>
            <a:ext cx="2423504" cy="374650"/>
          </a:xfrm>
          <a:prstGeom prst="rect">
            <a:avLst/>
          </a:prstGeom>
        </p:spPr>
        <p:txBody>
          <a:bodyPr anchor="ctr"/>
          <a:lstStyle>
            <a:lvl1pPr marL="0" indent="0">
              <a:buNone/>
              <a:defRPr sz="1600"/>
            </a:lvl1pPr>
          </a:lstStyle>
          <a:p>
            <a:pPr lvl="0"/>
            <a:r>
              <a:rPr lang="de-DE"/>
              <a:t>XXXX Euro</a:t>
            </a:r>
          </a:p>
        </p:txBody>
      </p:sp>
      <p:sp>
        <p:nvSpPr>
          <p:cNvPr id="105" name="Rechteck 104">
            <a:extLst>
              <a:ext uri="{FF2B5EF4-FFF2-40B4-BE49-F238E27FC236}">
                <a16:creationId xmlns:a16="http://schemas.microsoft.com/office/drawing/2014/main" id="{817886A9-0B54-4B74-8E15-3CD61046AF25}"/>
              </a:ext>
            </a:extLst>
          </p:cNvPr>
          <p:cNvSpPr/>
          <p:nvPr userDrawn="1"/>
        </p:nvSpPr>
        <p:spPr>
          <a:xfrm>
            <a:off x="330200" y="2696063"/>
            <a:ext cx="529491" cy="5302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tx1"/>
              </a:solidFill>
              <a:latin typeface="M05 Headline Office Bold" panose="020B0804040000000001" pitchFamily="34" charset="0"/>
            </a:endParaRPr>
          </a:p>
        </p:txBody>
      </p:sp>
      <p:sp>
        <p:nvSpPr>
          <p:cNvPr id="106" name="Rechteck 105">
            <a:extLst>
              <a:ext uri="{FF2B5EF4-FFF2-40B4-BE49-F238E27FC236}">
                <a16:creationId xmlns:a16="http://schemas.microsoft.com/office/drawing/2014/main" id="{0B874F50-B2D1-4625-91CE-529A899C440C}"/>
              </a:ext>
            </a:extLst>
          </p:cNvPr>
          <p:cNvSpPr/>
          <p:nvPr userDrawn="1"/>
        </p:nvSpPr>
        <p:spPr>
          <a:xfrm>
            <a:off x="967154" y="2696063"/>
            <a:ext cx="10088355" cy="5302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tx1"/>
              </a:solidFill>
              <a:latin typeface="M05 Headline Office Bold" panose="020B0804040000000001" pitchFamily="34" charset="0"/>
            </a:endParaRPr>
          </a:p>
        </p:txBody>
      </p:sp>
      <p:sp>
        <p:nvSpPr>
          <p:cNvPr id="107" name="Rechteck: eine Ecke abgeschnitten 106">
            <a:extLst>
              <a:ext uri="{FF2B5EF4-FFF2-40B4-BE49-F238E27FC236}">
                <a16:creationId xmlns:a16="http://schemas.microsoft.com/office/drawing/2014/main" id="{9B4F3D19-816C-469A-9CB0-A6353070FA71}"/>
              </a:ext>
            </a:extLst>
          </p:cNvPr>
          <p:cNvSpPr/>
          <p:nvPr userDrawn="1"/>
        </p:nvSpPr>
        <p:spPr>
          <a:xfrm flipV="1">
            <a:off x="1045308" y="2765199"/>
            <a:ext cx="7319105" cy="375139"/>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8" name="Rechteck: eine Ecke abgeschnitten 107">
            <a:extLst>
              <a:ext uri="{FF2B5EF4-FFF2-40B4-BE49-F238E27FC236}">
                <a16:creationId xmlns:a16="http://schemas.microsoft.com/office/drawing/2014/main" id="{97F49941-5911-4F20-BEE1-BDAAFE9A09BE}"/>
              </a:ext>
            </a:extLst>
          </p:cNvPr>
          <p:cNvSpPr/>
          <p:nvPr userDrawn="1"/>
        </p:nvSpPr>
        <p:spPr>
          <a:xfrm flipV="1">
            <a:off x="8471877" y="2765801"/>
            <a:ext cx="2508738" cy="375139"/>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9" name="Textplatzhalter 4">
            <a:extLst>
              <a:ext uri="{FF2B5EF4-FFF2-40B4-BE49-F238E27FC236}">
                <a16:creationId xmlns:a16="http://schemas.microsoft.com/office/drawing/2014/main" id="{E7DD18BD-A66F-455A-A560-323DB3405075}"/>
              </a:ext>
            </a:extLst>
          </p:cNvPr>
          <p:cNvSpPr>
            <a:spLocks noGrp="1"/>
          </p:cNvSpPr>
          <p:nvPr>
            <p:ph type="body" sz="quarter" idx="17" hasCustomPrompt="1"/>
          </p:nvPr>
        </p:nvSpPr>
        <p:spPr>
          <a:xfrm>
            <a:off x="330200" y="2695353"/>
            <a:ext cx="530225" cy="530225"/>
          </a:xfrm>
          <a:prstGeom prst="rect">
            <a:avLst/>
          </a:prstGeom>
        </p:spPr>
        <p:txBody>
          <a:bodyPr anchor="ctr"/>
          <a:lstStyle>
            <a:lvl1pPr marL="0" indent="0" algn="ctr">
              <a:buNone/>
              <a:defRPr sz="2000">
                <a:latin typeface="M05 Headline Office Bold" panose="020B0804040000000001" pitchFamily="34" charset="0"/>
              </a:defRPr>
            </a:lvl1pPr>
          </a:lstStyle>
          <a:p>
            <a:pPr lvl="0"/>
            <a:r>
              <a:rPr lang="de-DE"/>
              <a:t>2</a:t>
            </a:r>
          </a:p>
        </p:txBody>
      </p:sp>
      <p:sp>
        <p:nvSpPr>
          <p:cNvPr id="110" name="Textplatzhalter 7">
            <a:extLst>
              <a:ext uri="{FF2B5EF4-FFF2-40B4-BE49-F238E27FC236}">
                <a16:creationId xmlns:a16="http://schemas.microsoft.com/office/drawing/2014/main" id="{CD8A052B-69BB-408A-9711-2A45787B8279}"/>
              </a:ext>
            </a:extLst>
          </p:cNvPr>
          <p:cNvSpPr>
            <a:spLocks noGrp="1"/>
          </p:cNvSpPr>
          <p:nvPr>
            <p:ph type="body" sz="quarter" idx="18" hasCustomPrompt="1"/>
          </p:nvPr>
        </p:nvSpPr>
        <p:spPr>
          <a:xfrm>
            <a:off x="1044575" y="2765203"/>
            <a:ext cx="7246938" cy="374650"/>
          </a:xfrm>
          <a:prstGeom prst="rect">
            <a:avLst/>
          </a:prstGeom>
        </p:spPr>
        <p:txBody>
          <a:bodyPr anchor="ctr"/>
          <a:lstStyle>
            <a:lvl1pPr marL="0" indent="0">
              <a:buNone/>
              <a:defRPr sz="1600"/>
            </a:lvl1pPr>
          </a:lstStyle>
          <a:p>
            <a:pPr lvl="0"/>
            <a:r>
              <a:rPr lang="de-DE"/>
              <a:t>Kostenpunkt 2</a:t>
            </a:r>
          </a:p>
        </p:txBody>
      </p:sp>
      <p:sp>
        <p:nvSpPr>
          <p:cNvPr id="111" name="Textplatzhalter 7">
            <a:extLst>
              <a:ext uri="{FF2B5EF4-FFF2-40B4-BE49-F238E27FC236}">
                <a16:creationId xmlns:a16="http://schemas.microsoft.com/office/drawing/2014/main" id="{B1AF22FE-28B9-4DE1-9B95-92D35CFB103E}"/>
              </a:ext>
            </a:extLst>
          </p:cNvPr>
          <p:cNvSpPr>
            <a:spLocks noGrp="1"/>
          </p:cNvSpPr>
          <p:nvPr>
            <p:ph type="body" sz="quarter" idx="19" hasCustomPrompt="1"/>
          </p:nvPr>
        </p:nvSpPr>
        <p:spPr>
          <a:xfrm>
            <a:off x="8471142" y="2773140"/>
            <a:ext cx="2423504" cy="374650"/>
          </a:xfrm>
          <a:prstGeom prst="rect">
            <a:avLst/>
          </a:prstGeom>
        </p:spPr>
        <p:txBody>
          <a:bodyPr anchor="ctr"/>
          <a:lstStyle>
            <a:lvl1pPr marL="0" indent="0">
              <a:buNone/>
              <a:defRPr sz="1600"/>
            </a:lvl1pPr>
          </a:lstStyle>
          <a:p>
            <a:pPr lvl="0"/>
            <a:r>
              <a:rPr lang="de-DE"/>
              <a:t>XXXX Euro</a:t>
            </a:r>
          </a:p>
        </p:txBody>
      </p:sp>
      <p:sp>
        <p:nvSpPr>
          <p:cNvPr id="112" name="Rechteck 111">
            <a:extLst>
              <a:ext uri="{FF2B5EF4-FFF2-40B4-BE49-F238E27FC236}">
                <a16:creationId xmlns:a16="http://schemas.microsoft.com/office/drawing/2014/main" id="{5DE0F85C-40FC-4D8E-B642-3F3242D40859}"/>
              </a:ext>
            </a:extLst>
          </p:cNvPr>
          <p:cNvSpPr/>
          <p:nvPr userDrawn="1"/>
        </p:nvSpPr>
        <p:spPr>
          <a:xfrm>
            <a:off x="330200" y="3309121"/>
            <a:ext cx="529491" cy="5302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tx1"/>
              </a:solidFill>
              <a:latin typeface="M05 Headline Office Bold" panose="020B0804040000000001" pitchFamily="34" charset="0"/>
            </a:endParaRPr>
          </a:p>
        </p:txBody>
      </p:sp>
      <p:sp>
        <p:nvSpPr>
          <p:cNvPr id="113" name="Rechteck 112">
            <a:extLst>
              <a:ext uri="{FF2B5EF4-FFF2-40B4-BE49-F238E27FC236}">
                <a16:creationId xmlns:a16="http://schemas.microsoft.com/office/drawing/2014/main" id="{B49A51BB-27C8-4691-BED2-B194C7F25E39}"/>
              </a:ext>
            </a:extLst>
          </p:cNvPr>
          <p:cNvSpPr/>
          <p:nvPr userDrawn="1"/>
        </p:nvSpPr>
        <p:spPr>
          <a:xfrm>
            <a:off x="967154" y="3309121"/>
            <a:ext cx="10088355" cy="5302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tx1"/>
              </a:solidFill>
              <a:latin typeface="M05 Headline Office Bold" panose="020B0804040000000001" pitchFamily="34" charset="0"/>
            </a:endParaRPr>
          </a:p>
        </p:txBody>
      </p:sp>
      <p:sp>
        <p:nvSpPr>
          <p:cNvPr id="114" name="Rechteck: eine Ecke abgeschnitten 113">
            <a:extLst>
              <a:ext uri="{FF2B5EF4-FFF2-40B4-BE49-F238E27FC236}">
                <a16:creationId xmlns:a16="http://schemas.microsoft.com/office/drawing/2014/main" id="{E6E6C20C-7536-40F7-8D68-7A8CD9275937}"/>
              </a:ext>
            </a:extLst>
          </p:cNvPr>
          <p:cNvSpPr/>
          <p:nvPr userDrawn="1"/>
        </p:nvSpPr>
        <p:spPr>
          <a:xfrm flipV="1">
            <a:off x="1045308" y="3378257"/>
            <a:ext cx="7319105" cy="375139"/>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5" name="Rechteck: eine Ecke abgeschnitten 114">
            <a:extLst>
              <a:ext uri="{FF2B5EF4-FFF2-40B4-BE49-F238E27FC236}">
                <a16:creationId xmlns:a16="http://schemas.microsoft.com/office/drawing/2014/main" id="{823EE3D2-E9B1-476A-8269-4A6990BBA3FB}"/>
              </a:ext>
            </a:extLst>
          </p:cNvPr>
          <p:cNvSpPr/>
          <p:nvPr userDrawn="1"/>
        </p:nvSpPr>
        <p:spPr>
          <a:xfrm flipV="1">
            <a:off x="8471877" y="3378859"/>
            <a:ext cx="2508738" cy="375139"/>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6" name="Textplatzhalter 4">
            <a:extLst>
              <a:ext uri="{FF2B5EF4-FFF2-40B4-BE49-F238E27FC236}">
                <a16:creationId xmlns:a16="http://schemas.microsoft.com/office/drawing/2014/main" id="{83402DE3-0851-4353-BFE8-E6227E728B2F}"/>
              </a:ext>
            </a:extLst>
          </p:cNvPr>
          <p:cNvSpPr>
            <a:spLocks noGrp="1"/>
          </p:cNvSpPr>
          <p:nvPr>
            <p:ph type="body" sz="quarter" idx="20" hasCustomPrompt="1"/>
          </p:nvPr>
        </p:nvSpPr>
        <p:spPr>
          <a:xfrm>
            <a:off x="330200" y="3308411"/>
            <a:ext cx="530225" cy="530225"/>
          </a:xfrm>
          <a:prstGeom prst="rect">
            <a:avLst/>
          </a:prstGeom>
        </p:spPr>
        <p:txBody>
          <a:bodyPr anchor="ctr"/>
          <a:lstStyle>
            <a:lvl1pPr marL="0" indent="0" algn="ctr">
              <a:buNone/>
              <a:defRPr sz="2000">
                <a:latin typeface="M05 Headline Office Bold" panose="020B0804040000000001" pitchFamily="34" charset="0"/>
              </a:defRPr>
            </a:lvl1pPr>
          </a:lstStyle>
          <a:p>
            <a:pPr lvl="0"/>
            <a:r>
              <a:rPr lang="de-DE"/>
              <a:t>3</a:t>
            </a:r>
          </a:p>
        </p:txBody>
      </p:sp>
      <p:sp>
        <p:nvSpPr>
          <p:cNvPr id="117" name="Textplatzhalter 7">
            <a:extLst>
              <a:ext uri="{FF2B5EF4-FFF2-40B4-BE49-F238E27FC236}">
                <a16:creationId xmlns:a16="http://schemas.microsoft.com/office/drawing/2014/main" id="{BED60F38-C222-4548-B605-E17A7472342E}"/>
              </a:ext>
            </a:extLst>
          </p:cNvPr>
          <p:cNvSpPr>
            <a:spLocks noGrp="1"/>
          </p:cNvSpPr>
          <p:nvPr>
            <p:ph type="body" sz="quarter" idx="21" hasCustomPrompt="1"/>
          </p:nvPr>
        </p:nvSpPr>
        <p:spPr>
          <a:xfrm>
            <a:off x="1044575" y="3378261"/>
            <a:ext cx="7246938" cy="374650"/>
          </a:xfrm>
          <a:prstGeom prst="rect">
            <a:avLst/>
          </a:prstGeom>
        </p:spPr>
        <p:txBody>
          <a:bodyPr anchor="ctr"/>
          <a:lstStyle>
            <a:lvl1pPr marL="0" indent="0">
              <a:buNone/>
              <a:defRPr sz="1600"/>
            </a:lvl1pPr>
          </a:lstStyle>
          <a:p>
            <a:pPr lvl="0"/>
            <a:r>
              <a:rPr lang="de-DE"/>
              <a:t>Kostenpunkt 3</a:t>
            </a:r>
          </a:p>
        </p:txBody>
      </p:sp>
      <p:sp>
        <p:nvSpPr>
          <p:cNvPr id="118" name="Textplatzhalter 7">
            <a:extLst>
              <a:ext uri="{FF2B5EF4-FFF2-40B4-BE49-F238E27FC236}">
                <a16:creationId xmlns:a16="http://schemas.microsoft.com/office/drawing/2014/main" id="{3C977172-1338-4FDA-AC6A-922608EDBA33}"/>
              </a:ext>
            </a:extLst>
          </p:cNvPr>
          <p:cNvSpPr>
            <a:spLocks noGrp="1"/>
          </p:cNvSpPr>
          <p:nvPr>
            <p:ph type="body" sz="quarter" idx="22" hasCustomPrompt="1"/>
          </p:nvPr>
        </p:nvSpPr>
        <p:spPr>
          <a:xfrm>
            <a:off x="8471142" y="3386198"/>
            <a:ext cx="2423504" cy="374650"/>
          </a:xfrm>
          <a:prstGeom prst="rect">
            <a:avLst/>
          </a:prstGeom>
        </p:spPr>
        <p:txBody>
          <a:bodyPr anchor="ctr"/>
          <a:lstStyle>
            <a:lvl1pPr marL="0" indent="0">
              <a:buNone/>
              <a:defRPr sz="1600"/>
            </a:lvl1pPr>
          </a:lstStyle>
          <a:p>
            <a:pPr lvl="0"/>
            <a:r>
              <a:rPr lang="de-DE"/>
              <a:t>XXXX Euro</a:t>
            </a:r>
          </a:p>
        </p:txBody>
      </p:sp>
      <p:sp>
        <p:nvSpPr>
          <p:cNvPr id="119" name="Rechteck 118">
            <a:extLst>
              <a:ext uri="{FF2B5EF4-FFF2-40B4-BE49-F238E27FC236}">
                <a16:creationId xmlns:a16="http://schemas.microsoft.com/office/drawing/2014/main" id="{CB8E09EF-15B6-4E28-96E7-F1E7574CEE30}"/>
              </a:ext>
            </a:extLst>
          </p:cNvPr>
          <p:cNvSpPr/>
          <p:nvPr userDrawn="1"/>
        </p:nvSpPr>
        <p:spPr>
          <a:xfrm>
            <a:off x="330200" y="3940724"/>
            <a:ext cx="529491" cy="5302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tx1"/>
              </a:solidFill>
              <a:latin typeface="M05 Headline Office Bold" panose="020B0804040000000001" pitchFamily="34" charset="0"/>
            </a:endParaRPr>
          </a:p>
        </p:txBody>
      </p:sp>
      <p:sp>
        <p:nvSpPr>
          <p:cNvPr id="120" name="Rechteck 119">
            <a:extLst>
              <a:ext uri="{FF2B5EF4-FFF2-40B4-BE49-F238E27FC236}">
                <a16:creationId xmlns:a16="http://schemas.microsoft.com/office/drawing/2014/main" id="{66AD1550-84FC-42C0-B5DF-B3622B4D7719}"/>
              </a:ext>
            </a:extLst>
          </p:cNvPr>
          <p:cNvSpPr/>
          <p:nvPr userDrawn="1"/>
        </p:nvSpPr>
        <p:spPr>
          <a:xfrm>
            <a:off x="967154" y="3940724"/>
            <a:ext cx="10088355" cy="5302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tx1"/>
              </a:solidFill>
              <a:latin typeface="M05 Headline Office Bold" panose="020B0804040000000001" pitchFamily="34" charset="0"/>
            </a:endParaRPr>
          </a:p>
        </p:txBody>
      </p:sp>
      <p:sp>
        <p:nvSpPr>
          <p:cNvPr id="121" name="Rechteck: eine Ecke abgeschnitten 120">
            <a:extLst>
              <a:ext uri="{FF2B5EF4-FFF2-40B4-BE49-F238E27FC236}">
                <a16:creationId xmlns:a16="http://schemas.microsoft.com/office/drawing/2014/main" id="{EC79187D-BAB4-46DE-9632-2C46FC3F9D5D}"/>
              </a:ext>
            </a:extLst>
          </p:cNvPr>
          <p:cNvSpPr/>
          <p:nvPr userDrawn="1"/>
        </p:nvSpPr>
        <p:spPr>
          <a:xfrm flipV="1">
            <a:off x="1045308" y="4009860"/>
            <a:ext cx="7319105" cy="375139"/>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2" name="Rechteck: eine Ecke abgeschnitten 121">
            <a:extLst>
              <a:ext uri="{FF2B5EF4-FFF2-40B4-BE49-F238E27FC236}">
                <a16:creationId xmlns:a16="http://schemas.microsoft.com/office/drawing/2014/main" id="{5F4D8B34-039F-4E21-9666-592961C02382}"/>
              </a:ext>
            </a:extLst>
          </p:cNvPr>
          <p:cNvSpPr/>
          <p:nvPr userDrawn="1"/>
        </p:nvSpPr>
        <p:spPr>
          <a:xfrm flipV="1">
            <a:off x="8471877" y="4010462"/>
            <a:ext cx="2508738" cy="375139"/>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3" name="Textplatzhalter 4">
            <a:extLst>
              <a:ext uri="{FF2B5EF4-FFF2-40B4-BE49-F238E27FC236}">
                <a16:creationId xmlns:a16="http://schemas.microsoft.com/office/drawing/2014/main" id="{5BD7043C-D642-49B3-9B76-AF672805251D}"/>
              </a:ext>
            </a:extLst>
          </p:cNvPr>
          <p:cNvSpPr>
            <a:spLocks noGrp="1"/>
          </p:cNvSpPr>
          <p:nvPr>
            <p:ph type="body" sz="quarter" idx="23" hasCustomPrompt="1"/>
          </p:nvPr>
        </p:nvSpPr>
        <p:spPr>
          <a:xfrm>
            <a:off x="330200" y="3940014"/>
            <a:ext cx="530225" cy="530225"/>
          </a:xfrm>
          <a:prstGeom prst="rect">
            <a:avLst/>
          </a:prstGeom>
        </p:spPr>
        <p:txBody>
          <a:bodyPr anchor="ctr"/>
          <a:lstStyle>
            <a:lvl1pPr marL="0" indent="0" algn="ctr">
              <a:buNone/>
              <a:defRPr sz="2000">
                <a:latin typeface="M05 Headline Office Bold" panose="020B0804040000000001" pitchFamily="34" charset="0"/>
              </a:defRPr>
            </a:lvl1pPr>
          </a:lstStyle>
          <a:p>
            <a:pPr lvl="0"/>
            <a:r>
              <a:rPr lang="de-DE"/>
              <a:t>4</a:t>
            </a:r>
          </a:p>
        </p:txBody>
      </p:sp>
      <p:sp>
        <p:nvSpPr>
          <p:cNvPr id="124" name="Textplatzhalter 7">
            <a:extLst>
              <a:ext uri="{FF2B5EF4-FFF2-40B4-BE49-F238E27FC236}">
                <a16:creationId xmlns:a16="http://schemas.microsoft.com/office/drawing/2014/main" id="{9908264A-3E0C-4D6B-A4A0-621B04BF41B2}"/>
              </a:ext>
            </a:extLst>
          </p:cNvPr>
          <p:cNvSpPr>
            <a:spLocks noGrp="1"/>
          </p:cNvSpPr>
          <p:nvPr>
            <p:ph type="body" sz="quarter" idx="24" hasCustomPrompt="1"/>
          </p:nvPr>
        </p:nvSpPr>
        <p:spPr>
          <a:xfrm>
            <a:off x="1044575" y="4009864"/>
            <a:ext cx="7246938" cy="374650"/>
          </a:xfrm>
          <a:prstGeom prst="rect">
            <a:avLst/>
          </a:prstGeom>
        </p:spPr>
        <p:txBody>
          <a:bodyPr anchor="ctr"/>
          <a:lstStyle>
            <a:lvl1pPr marL="0" indent="0">
              <a:buNone/>
              <a:defRPr sz="1600"/>
            </a:lvl1pPr>
          </a:lstStyle>
          <a:p>
            <a:pPr lvl="0"/>
            <a:r>
              <a:rPr lang="de-DE"/>
              <a:t>Kostenpunkt 4</a:t>
            </a:r>
          </a:p>
        </p:txBody>
      </p:sp>
      <p:sp>
        <p:nvSpPr>
          <p:cNvPr id="125" name="Textplatzhalter 7">
            <a:extLst>
              <a:ext uri="{FF2B5EF4-FFF2-40B4-BE49-F238E27FC236}">
                <a16:creationId xmlns:a16="http://schemas.microsoft.com/office/drawing/2014/main" id="{E990FA6E-7674-42C3-8DC6-F762D3B33567}"/>
              </a:ext>
            </a:extLst>
          </p:cNvPr>
          <p:cNvSpPr>
            <a:spLocks noGrp="1"/>
          </p:cNvSpPr>
          <p:nvPr>
            <p:ph type="body" sz="quarter" idx="25" hasCustomPrompt="1"/>
          </p:nvPr>
        </p:nvSpPr>
        <p:spPr>
          <a:xfrm>
            <a:off x="8471142" y="4017801"/>
            <a:ext cx="2423504" cy="374650"/>
          </a:xfrm>
          <a:prstGeom prst="rect">
            <a:avLst/>
          </a:prstGeom>
        </p:spPr>
        <p:txBody>
          <a:bodyPr anchor="ctr"/>
          <a:lstStyle>
            <a:lvl1pPr marL="0" indent="0">
              <a:buNone/>
              <a:defRPr sz="1600"/>
            </a:lvl1pPr>
          </a:lstStyle>
          <a:p>
            <a:pPr lvl="0"/>
            <a:r>
              <a:rPr lang="de-DE"/>
              <a:t>XXXX Euro</a:t>
            </a:r>
          </a:p>
        </p:txBody>
      </p:sp>
      <p:sp>
        <p:nvSpPr>
          <p:cNvPr id="126" name="Rechteck 125">
            <a:extLst>
              <a:ext uri="{FF2B5EF4-FFF2-40B4-BE49-F238E27FC236}">
                <a16:creationId xmlns:a16="http://schemas.microsoft.com/office/drawing/2014/main" id="{A04206C7-E4CF-45F7-A3FD-9ACF72CBD1D0}"/>
              </a:ext>
            </a:extLst>
          </p:cNvPr>
          <p:cNvSpPr/>
          <p:nvPr userDrawn="1"/>
        </p:nvSpPr>
        <p:spPr>
          <a:xfrm>
            <a:off x="330200" y="4548026"/>
            <a:ext cx="529491" cy="5302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tx1"/>
              </a:solidFill>
              <a:latin typeface="M05 Headline Office Bold" panose="020B0804040000000001" pitchFamily="34" charset="0"/>
            </a:endParaRPr>
          </a:p>
        </p:txBody>
      </p:sp>
      <p:sp>
        <p:nvSpPr>
          <p:cNvPr id="127" name="Rechteck 126">
            <a:extLst>
              <a:ext uri="{FF2B5EF4-FFF2-40B4-BE49-F238E27FC236}">
                <a16:creationId xmlns:a16="http://schemas.microsoft.com/office/drawing/2014/main" id="{D12AB27C-95B3-4EED-885F-D538671483A7}"/>
              </a:ext>
            </a:extLst>
          </p:cNvPr>
          <p:cNvSpPr/>
          <p:nvPr userDrawn="1"/>
        </p:nvSpPr>
        <p:spPr>
          <a:xfrm>
            <a:off x="967154" y="4548026"/>
            <a:ext cx="10088355" cy="5302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tx1"/>
              </a:solidFill>
              <a:latin typeface="M05 Headline Office Bold" panose="020B0804040000000001" pitchFamily="34" charset="0"/>
            </a:endParaRPr>
          </a:p>
        </p:txBody>
      </p:sp>
      <p:sp>
        <p:nvSpPr>
          <p:cNvPr id="128" name="Rechteck: eine Ecke abgeschnitten 127">
            <a:extLst>
              <a:ext uri="{FF2B5EF4-FFF2-40B4-BE49-F238E27FC236}">
                <a16:creationId xmlns:a16="http://schemas.microsoft.com/office/drawing/2014/main" id="{F25D28D8-94A4-4340-A302-2087D61796EC}"/>
              </a:ext>
            </a:extLst>
          </p:cNvPr>
          <p:cNvSpPr/>
          <p:nvPr userDrawn="1"/>
        </p:nvSpPr>
        <p:spPr>
          <a:xfrm flipV="1">
            <a:off x="1045308" y="4617162"/>
            <a:ext cx="7319105" cy="375139"/>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9" name="Rechteck: eine Ecke abgeschnitten 128">
            <a:extLst>
              <a:ext uri="{FF2B5EF4-FFF2-40B4-BE49-F238E27FC236}">
                <a16:creationId xmlns:a16="http://schemas.microsoft.com/office/drawing/2014/main" id="{FF928040-4B8B-413B-9409-DE5734F791E5}"/>
              </a:ext>
            </a:extLst>
          </p:cNvPr>
          <p:cNvSpPr/>
          <p:nvPr userDrawn="1"/>
        </p:nvSpPr>
        <p:spPr>
          <a:xfrm flipV="1">
            <a:off x="8471877" y="4617764"/>
            <a:ext cx="2508738" cy="375139"/>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0" name="Textplatzhalter 4">
            <a:extLst>
              <a:ext uri="{FF2B5EF4-FFF2-40B4-BE49-F238E27FC236}">
                <a16:creationId xmlns:a16="http://schemas.microsoft.com/office/drawing/2014/main" id="{04AE026B-592D-42BF-A529-5CD0137E5E1F}"/>
              </a:ext>
            </a:extLst>
          </p:cNvPr>
          <p:cNvSpPr>
            <a:spLocks noGrp="1"/>
          </p:cNvSpPr>
          <p:nvPr>
            <p:ph type="body" sz="quarter" idx="26" hasCustomPrompt="1"/>
          </p:nvPr>
        </p:nvSpPr>
        <p:spPr>
          <a:xfrm>
            <a:off x="330200" y="4547316"/>
            <a:ext cx="530225" cy="530225"/>
          </a:xfrm>
          <a:prstGeom prst="rect">
            <a:avLst/>
          </a:prstGeom>
        </p:spPr>
        <p:txBody>
          <a:bodyPr anchor="ctr"/>
          <a:lstStyle>
            <a:lvl1pPr marL="0" indent="0" algn="ctr">
              <a:buNone/>
              <a:defRPr sz="2000">
                <a:latin typeface="M05 Headline Office Bold" panose="020B0804040000000001" pitchFamily="34" charset="0"/>
              </a:defRPr>
            </a:lvl1pPr>
          </a:lstStyle>
          <a:p>
            <a:pPr lvl="0"/>
            <a:r>
              <a:rPr lang="de-DE"/>
              <a:t>5</a:t>
            </a:r>
          </a:p>
        </p:txBody>
      </p:sp>
      <p:sp>
        <p:nvSpPr>
          <p:cNvPr id="131" name="Textplatzhalter 7">
            <a:extLst>
              <a:ext uri="{FF2B5EF4-FFF2-40B4-BE49-F238E27FC236}">
                <a16:creationId xmlns:a16="http://schemas.microsoft.com/office/drawing/2014/main" id="{51068CE6-7E7D-495D-AA08-AB13594125D8}"/>
              </a:ext>
            </a:extLst>
          </p:cNvPr>
          <p:cNvSpPr>
            <a:spLocks noGrp="1"/>
          </p:cNvSpPr>
          <p:nvPr>
            <p:ph type="body" sz="quarter" idx="27" hasCustomPrompt="1"/>
          </p:nvPr>
        </p:nvSpPr>
        <p:spPr>
          <a:xfrm>
            <a:off x="1044575" y="4617166"/>
            <a:ext cx="7246938" cy="374650"/>
          </a:xfrm>
          <a:prstGeom prst="rect">
            <a:avLst/>
          </a:prstGeom>
        </p:spPr>
        <p:txBody>
          <a:bodyPr anchor="ctr"/>
          <a:lstStyle>
            <a:lvl1pPr marL="0" indent="0">
              <a:buNone/>
              <a:defRPr sz="1600"/>
            </a:lvl1pPr>
          </a:lstStyle>
          <a:p>
            <a:pPr lvl="0"/>
            <a:r>
              <a:rPr lang="de-DE"/>
              <a:t>Kostenpunkt 5</a:t>
            </a:r>
          </a:p>
        </p:txBody>
      </p:sp>
      <p:sp>
        <p:nvSpPr>
          <p:cNvPr id="132" name="Textplatzhalter 7">
            <a:extLst>
              <a:ext uri="{FF2B5EF4-FFF2-40B4-BE49-F238E27FC236}">
                <a16:creationId xmlns:a16="http://schemas.microsoft.com/office/drawing/2014/main" id="{C11DF062-806E-4931-9475-EA9006278E7D}"/>
              </a:ext>
            </a:extLst>
          </p:cNvPr>
          <p:cNvSpPr>
            <a:spLocks noGrp="1"/>
          </p:cNvSpPr>
          <p:nvPr>
            <p:ph type="body" sz="quarter" idx="28" hasCustomPrompt="1"/>
          </p:nvPr>
        </p:nvSpPr>
        <p:spPr>
          <a:xfrm>
            <a:off x="8471142" y="4625103"/>
            <a:ext cx="2423504" cy="374650"/>
          </a:xfrm>
          <a:prstGeom prst="rect">
            <a:avLst/>
          </a:prstGeom>
        </p:spPr>
        <p:txBody>
          <a:bodyPr anchor="ctr"/>
          <a:lstStyle>
            <a:lvl1pPr marL="0" indent="0">
              <a:buNone/>
              <a:defRPr sz="1600"/>
            </a:lvl1pPr>
          </a:lstStyle>
          <a:p>
            <a:pPr lvl="0"/>
            <a:r>
              <a:rPr lang="de-DE"/>
              <a:t>XXXX Euro</a:t>
            </a:r>
          </a:p>
        </p:txBody>
      </p:sp>
      <p:sp>
        <p:nvSpPr>
          <p:cNvPr id="133" name="Rechteck 132">
            <a:extLst>
              <a:ext uri="{FF2B5EF4-FFF2-40B4-BE49-F238E27FC236}">
                <a16:creationId xmlns:a16="http://schemas.microsoft.com/office/drawing/2014/main" id="{EAC3AD9C-44D6-4CCD-B60B-3E0A8CA1293A}"/>
              </a:ext>
            </a:extLst>
          </p:cNvPr>
          <p:cNvSpPr/>
          <p:nvPr userDrawn="1"/>
        </p:nvSpPr>
        <p:spPr>
          <a:xfrm>
            <a:off x="330200" y="5179629"/>
            <a:ext cx="529491" cy="5302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tx1"/>
              </a:solidFill>
              <a:latin typeface="M05 Headline Office Bold" panose="020B0804040000000001" pitchFamily="34" charset="0"/>
            </a:endParaRPr>
          </a:p>
        </p:txBody>
      </p:sp>
      <p:sp>
        <p:nvSpPr>
          <p:cNvPr id="134" name="Rechteck 133">
            <a:extLst>
              <a:ext uri="{FF2B5EF4-FFF2-40B4-BE49-F238E27FC236}">
                <a16:creationId xmlns:a16="http://schemas.microsoft.com/office/drawing/2014/main" id="{0705C9F7-2B11-4A90-83C7-E00487EA4555}"/>
              </a:ext>
            </a:extLst>
          </p:cNvPr>
          <p:cNvSpPr/>
          <p:nvPr userDrawn="1"/>
        </p:nvSpPr>
        <p:spPr>
          <a:xfrm>
            <a:off x="967154" y="5179629"/>
            <a:ext cx="10088355" cy="5302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tx1"/>
              </a:solidFill>
              <a:latin typeface="M05 Headline Office Bold" panose="020B0804040000000001" pitchFamily="34" charset="0"/>
            </a:endParaRPr>
          </a:p>
        </p:txBody>
      </p:sp>
      <p:sp>
        <p:nvSpPr>
          <p:cNvPr id="135" name="Rechteck: eine Ecke abgeschnitten 134">
            <a:extLst>
              <a:ext uri="{FF2B5EF4-FFF2-40B4-BE49-F238E27FC236}">
                <a16:creationId xmlns:a16="http://schemas.microsoft.com/office/drawing/2014/main" id="{13E6D60B-3F23-4218-9F8B-625FF43C94AC}"/>
              </a:ext>
            </a:extLst>
          </p:cNvPr>
          <p:cNvSpPr/>
          <p:nvPr userDrawn="1"/>
        </p:nvSpPr>
        <p:spPr>
          <a:xfrm flipV="1">
            <a:off x="1045308" y="5248765"/>
            <a:ext cx="7319105" cy="375139"/>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6" name="Rechteck: eine Ecke abgeschnitten 135">
            <a:extLst>
              <a:ext uri="{FF2B5EF4-FFF2-40B4-BE49-F238E27FC236}">
                <a16:creationId xmlns:a16="http://schemas.microsoft.com/office/drawing/2014/main" id="{B5732A5C-5F08-4A87-A1E5-129910D82C7E}"/>
              </a:ext>
            </a:extLst>
          </p:cNvPr>
          <p:cNvSpPr/>
          <p:nvPr userDrawn="1"/>
        </p:nvSpPr>
        <p:spPr>
          <a:xfrm flipV="1">
            <a:off x="8471877" y="5249367"/>
            <a:ext cx="2508738" cy="375139"/>
          </a:xfrm>
          <a:prstGeom prst="snip1Rect">
            <a:avLst>
              <a:gd name="adj" fmla="val 294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7" name="Textplatzhalter 4">
            <a:extLst>
              <a:ext uri="{FF2B5EF4-FFF2-40B4-BE49-F238E27FC236}">
                <a16:creationId xmlns:a16="http://schemas.microsoft.com/office/drawing/2014/main" id="{F60411B0-B8AB-43D4-BCDF-6EDA79C33C3F}"/>
              </a:ext>
            </a:extLst>
          </p:cNvPr>
          <p:cNvSpPr>
            <a:spLocks noGrp="1"/>
          </p:cNvSpPr>
          <p:nvPr>
            <p:ph type="body" sz="quarter" idx="29" hasCustomPrompt="1"/>
          </p:nvPr>
        </p:nvSpPr>
        <p:spPr>
          <a:xfrm>
            <a:off x="330200" y="5178919"/>
            <a:ext cx="530225" cy="530225"/>
          </a:xfrm>
          <a:prstGeom prst="rect">
            <a:avLst/>
          </a:prstGeom>
        </p:spPr>
        <p:txBody>
          <a:bodyPr anchor="ctr"/>
          <a:lstStyle>
            <a:lvl1pPr marL="0" indent="0" algn="ctr">
              <a:buNone/>
              <a:defRPr sz="2000">
                <a:latin typeface="M05 Headline Office Bold" panose="020B0804040000000001" pitchFamily="34" charset="0"/>
              </a:defRPr>
            </a:lvl1pPr>
          </a:lstStyle>
          <a:p>
            <a:pPr lvl="0"/>
            <a:r>
              <a:rPr lang="de-DE"/>
              <a:t>6</a:t>
            </a:r>
          </a:p>
        </p:txBody>
      </p:sp>
      <p:sp>
        <p:nvSpPr>
          <p:cNvPr id="138" name="Textplatzhalter 7">
            <a:extLst>
              <a:ext uri="{FF2B5EF4-FFF2-40B4-BE49-F238E27FC236}">
                <a16:creationId xmlns:a16="http://schemas.microsoft.com/office/drawing/2014/main" id="{450CB975-3F57-4684-B570-26C42B594D53}"/>
              </a:ext>
            </a:extLst>
          </p:cNvPr>
          <p:cNvSpPr>
            <a:spLocks noGrp="1"/>
          </p:cNvSpPr>
          <p:nvPr>
            <p:ph type="body" sz="quarter" idx="30" hasCustomPrompt="1"/>
          </p:nvPr>
        </p:nvSpPr>
        <p:spPr>
          <a:xfrm>
            <a:off x="1044575" y="5248769"/>
            <a:ext cx="7246938" cy="374650"/>
          </a:xfrm>
          <a:prstGeom prst="rect">
            <a:avLst/>
          </a:prstGeom>
        </p:spPr>
        <p:txBody>
          <a:bodyPr anchor="ctr"/>
          <a:lstStyle>
            <a:lvl1pPr marL="0" indent="0">
              <a:buNone/>
              <a:defRPr sz="1600"/>
            </a:lvl1pPr>
          </a:lstStyle>
          <a:p>
            <a:pPr lvl="0"/>
            <a:r>
              <a:rPr lang="de-DE"/>
              <a:t>Kostenpunkt 6</a:t>
            </a:r>
          </a:p>
        </p:txBody>
      </p:sp>
      <p:sp>
        <p:nvSpPr>
          <p:cNvPr id="139" name="Textplatzhalter 7">
            <a:extLst>
              <a:ext uri="{FF2B5EF4-FFF2-40B4-BE49-F238E27FC236}">
                <a16:creationId xmlns:a16="http://schemas.microsoft.com/office/drawing/2014/main" id="{3B341DB6-7334-47F3-8167-0CF8E6C5ED35}"/>
              </a:ext>
            </a:extLst>
          </p:cNvPr>
          <p:cNvSpPr>
            <a:spLocks noGrp="1"/>
          </p:cNvSpPr>
          <p:nvPr>
            <p:ph type="body" sz="quarter" idx="31" hasCustomPrompt="1"/>
          </p:nvPr>
        </p:nvSpPr>
        <p:spPr>
          <a:xfrm>
            <a:off x="8471142" y="5256706"/>
            <a:ext cx="2423504" cy="374650"/>
          </a:xfrm>
          <a:prstGeom prst="rect">
            <a:avLst/>
          </a:prstGeom>
        </p:spPr>
        <p:txBody>
          <a:bodyPr anchor="ctr"/>
          <a:lstStyle>
            <a:lvl1pPr marL="0" indent="0">
              <a:buNone/>
              <a:defRPr sz="1600"/>
            </a:lvl1pPr>
          </a:lstStyle>
          <a:p>
            <a:pPr lvl="0"/>
            <a:r>
              <a:rPr lang="de-DE"/>
              <a:t>XXXX Euro</a:t>
            </a:r>
          </a:p>
        </p:txBody>
      </p:sp>
      <p:sp>
        <p:nvSpPr>
          <p:cNvPr id="140" name="Rechteck 139">
            <a:extLst>
              <a:ext uri="{FF2B5EF4-FFF2-40B4-BE49-F238E27FC236}">
                <a16:creationId xmlns:a16="http://schemas.microsoft.com/office/drawing/2014/main" id="{6A48F994-9E8A-4595-B7FD-048BC0C4EE26}"/>
              </a:ext>
            </a:extLst>
          </p:cNvPr>
          <p:cNvSpPr/>
          <p:nvPr userDrawn="1"/>
        </p:nvSpPr>
        <p:spPr>
          <a:xfrm>
            <a:off x="330200" y="5810499"/>
            <a:ext cx="529491" cy="5302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tx1"/>
              </a:solidFill>
              <a:latin typeface="M05 Headline Office Bold" panose="020B0804040000000001" pitchFamily="34" charset="0"/>
            </a:endParaRPr>
          </a:p>
        </p:txBody>
      </p:sp>
      <p:sp>
        <p:nvSpPr>
          <p:cNvPr id="141" name="Rechteck 140">
            <a:extLst>
              <a:ext uri="{FF2B5EF4-FFF2-40B4-BE49-F238E27FC236}">
                <a16:creationId xmlns:a16="http://schemas.microsoft.com/office/drawing/2014/main" id="{AD03334E-41A3-4BAA-95AB-31E0811A1E95}"/>
              </a:ext>
            </a:extLst>
          </p:cNvPr>
          <p:cNvSpPr/>
          <p:nvPr userDrawn="1"/>
        </p:nvSpPr>
        <p:spPr>
          <a:xfrm>
            <a:off x="967154" y="5810499"/>
            <a:ext cx="10088355" cy="530248"/>
          </a:xfrm>
          <a:prstGeom prst="rect">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800">
              <a:solidFill>
                <a:schemeClr val="tx1"/>
              </a:solidFill>
              <a:latin typeface="M05 Headline Office Bold" panose="020B0804040000000001" pitchFamily="34" charset="0"/>
            </a:endParaRPr>
          </a:p>
        </p:txBody>
      </p:sp>
      <p:sp>
        <p:nvSpPr>
          <p:cNvPr id="142" name="Rechteck: eine Ecke abgeschnitten 141">
            <a:extLst>
              <a:ext uri="{FF2B5EF4-FFF2-40B4-BE49-F238E27FC236}">
                <a16:creationId xmlns:a16="http://schemas.microsoft.com/office/drawing/2014/main" id="{B77F288E-C872-4CFE-B397-E1EC79532094}"/>
              </a:ext>
            </a:extLst>
          </p:cNvPr>
          <p:cNvSpPr/>
          <p:nvPr userDrawn="1"/>
        </p:nvSpPr>
        <p:spPr>
          <a:xfrm flipV="1">
            <a:off x="1045308" y="5879635"/>
            <a:ext cx="7319105" cy="375139"/>
          </a:xfrm>
          <a:prstGeom prst="snip1Rect">
            <a:avLst>
              <a:gd name="adj" fmla="val 2948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3" name="Rechteck: eine Ecke abgeschnitten 142">
            <a:extLst>
              <a:ext uri="{FF2B5EF4-FFF2-40B4-BE49-F238E27FC236}">
                <a16:creationId xmlns:a16="http://schemas.microsoft.com/office/drawing/2014/main" id="{CDA8D83D-D8F3-4B99-BB90-1AA80B647475}"/>
              </a:ext>
            </a:extLst>
          </p:cNvPr>
          <p:cNvSpPr/>
          <p:nvPr userDrawn="1"/>
        </p:nvSpPr>
        <p:spPr>
          <a:xfrm flipV="1">
            <a:off x="8471877" y="5880237"/>
            <a:ext cx="2508738" cy="375139"/>
          </a:xfrm>
          <a:prstGeom prst="snip1Rect">
            <a:avLst>
              <a:gd name="adj" fmla="val 2948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4" name="Textplatzhalter 4">
            <a:extLst>
              <a:ext uri="{FF2B5EF4-FFF2-40B4-BE49-F238E27FC236}">
                <a16:creationId xmlns:a16="http://schemas.microsoft.com/office/drawing/2014/main" id="{CDB7C9E0-7E37-4563-BA3E-B1FCE63ED005}"/>
              </a:ext>
            </a:extLst>
          </p:cNvPr>
          <p:cNvSpPr>
            <a:spLocks noGrp="1"/>
          </p:cNvSpPr>
          <p:nvPr>
            <p:ph type="body" sz="quarter" idx="32" hasCustomPrompt="1"/>
          </p:nvPr>
        </p:nvSpPr>
        <p:spPr>
          <a:xfrm>
            <a:off x="330200" y="5809789"/>
            <a:ext cx="530225" cy="530225"/>
          </a:xfrm>
          <a:prstGeom prst="rect">
            <a:avLst/>
          </a:prstGeom>
        </p:spPr>
        <p:txBody>
          <a:bodyPr anchor="ctr"/>
          <a:lstStyle>
            <a:lvl1pPr marL="0" indent="0" algn="ctr">
              <a:buNone/>
              <a:defRPr sz="2000">
                <a:latin typeface="M05 Headline Office Bold" panose="020B0804040000000001" pitchFamily="34" charset="0"/>
              </a:defRPr>
            </a:lvl1pPr>
          </a:lstStyle>
          <a:p>
            <a:pPr lvl="0"/>
            <a:r>
              <a:rPr lang="de-DE"/>
              <a:t>7</a:t>
            </a:r>
          </a:p>
        </p:txBody>
      </p:sp>
      <p:sp>
        <p:nvSpPr>
          <p:cNvPr id="145" name="Textplatzhalter 7">
            <a:extLst>
              <a:ext uri="{FF2B5EF4-FFF2-40B4-BE49-F238E27FC236}">
                <a16:creationId xmlns:a16="http://schemas.microsoft.com/office/drawing/2014/main" id="{B664BAD8-6249-491D-AE34-52BCC2EA243A}"/>
              </a:ext>
            </a:extLst>
          </p:cNvPr>
          <p:cNvSpPr>
            <a:spLocks noGrp="1"/>
          </p:cNvSpPr>
          <p:nvPr>
            <p:ph type="body" sz="quarter" idx="33" hasCustomPrompt="1"/>
          </p:nvPr>
        </p:nvSpPr>
        <p:spPr>
          <a:xfrm>
            <a:off x="1044575" y="5879639"/>
            <a:ext cx="7246938" cy="374650"/>
          </a:xfrm>
          <a:prstGeom prst="rect">
            <a:avLst/>
          </a:prstGeom>
        </p:spPr>
        <p:txBody>
          <a:bodyPr anchor="ctr"/>
          <a:lstStyle>
            <a:lvl1pPr marL="0" indent="0">
              <a:buNone/>
              <a:defRPr sz="1600"/>
            </a:lvl1pPr>
          </a:lstStyle>
          <a:p>
            <a:pPr lvl="0"/>
            <a:r>
              <a:rPr lang="de-DE"/>
              <a:t>Gesamt</a:t>
            </a:r>
          </a:p>
        </p:txBody>
      </p:sp>
      <p:sp>
        <p:nvSpPr>
          <p:cNvPr id="146" name="Textplatzhalter 7">
            <a:extLst>
              <a:ext uri="{FF2B5EF4-FFF2-40B4-BE49-F238E27FC236}">
                <a16:creationId xmlns:a16="http://schemas.microsoft.com/office/drawing/2014/main" id="{6ABED3C9-E687-4532-8E4E-2B021649C5A1}"/>
              </a:ext>
            </a:extLst>
          </p:cNvPr>
          <p:cNvSpPr>
            <a:spLocks noGrp="1"/>
          </p:cNvSpPr>
          <p:nvPr>
            <p:ph type="body" sz="quarter" idx="34" hasCustomPrompt="1"/>
          </p:nvPr>
        </p:nvSpPr>
        <p:spPr>
          <a:xfrm>
            <a:off x="8471142" y="5887576"/>
            <a:ext cx="2423504" cy="374650"/>
          </a:xfrm>
          <a:prstGeom prst="rect">
            <a:avLst/>
          </a:prstGeom>
        </p:spPr>
        <p:txBody>
          <a:bodyPr anchor="ctr"/>
          <a:lstStyle>
            <a:lvl1pPr marL="0" indent="0">
              <a:buNone/>
              <a:defRPr sz="1600"/>
            </a:lvl1pPr>
          </a:lstStyle>
          <a:p>
            <a:pPr lvl="0"/>
            <a:r>
              <a:rPr lang="de-DE"/>
              <a:t>XXXX Euro</a:t>
            </a:r>
          </a:p>
        </p:txBody>
      </p:sp>
      <p:sp>
        <p:nvSpPr>
          <p:cNvPr id="11" name="Textplatzhalter 10">
            <a:extLst>
              <a:ext uri="{FF2B5EF4-FFF2-40B4-BE49-F238E27FC236}">
                <a16:creationId xmlns:a16="http://schemas.microsoft.com/office/drawing/2014/main" id="{2FA700D7-5E28-47A8-9603-AEA69987C4C3}"/>
              </a:ext>
            </a:extLst>
          </p:cNvPr>
          <p:cNvSpPr>
            <a:spLocks noGrp="1"/>
          </p:cNvSpPr>
          <p:nvPr>
            <p:ph type="body" sz="quarter" idx="35" hasCustomPrompt="1"/>
          </p:nvPr>
        </p:nvSpPr>
        <p:spPr>
          <a:xfrm>
            <a:off x="330200" y="1530350"/>
            <a:ext cx="10564813" cy="431800"/>
          </a:xfrm>
          <a:prstGeom prst="rect">
            <a:avLst/>
          </a:prstGeom>
        </p:spPr>
        <p:txBody>
          <a:bodyPr anchor="ctr"/>
          <a:lstStyle>
            <a:lvl1pPr marL="0" indent="0">
              <a:buNone/>
              <a:defRPr sz="1800">
                <a:latin typeface="M05 Text Office Bold" panose="020B0804040000000004" pitchFamily="34" charset="0"/>
              </a:defRPr>
            </a:lvl1pPr>
          </a:lstStyle>
          <a:p>
            <a:pPr lvl="0"/>
            <a:r>
              <a:rPr lang="de-DE"/>
              <a:t>Kostenübersicht</a:t>
            </a:r>
          </a:p>
        </p:txBody>
      </p:sp>
    </p:spTree>
    <p:extLst>
      <p:ext uri="{BB962C8B-B14F-4D97-AF65-F5344CB8AC3E}">
        <p14:creationId xmlns:p14="http://schemas.microsoft.com/office/powerpoint/2010/main" val="5711565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Bild &amp; Pro/Contra">
    <p:spTree>
      <p:nvGrpSpPr>
        <p:cNvPr id="1" name=""/>
        <p:cNvGrpSpPr/>
        <p:nvPr/>
      </p:nvGrpSpPr>
      <p:grpSpPr>
        <a:xfrm>
          <a:off x="0" y="0"/>
          <a:ext cx="0" cy="0"/>
          <a:chOff x="0" y="0"/>
          <a:chExt cx="0" cy="0"/>
        </a:xfrm>
      </p:grpSpPr>
      <p:pic>
        <p:nvPicPr>
          <p:cNvPr id="19" name="Grafik 18">
            <a:extLst>
              <a:ext uri="{FF2B5EF4-FFF2-40B4-BE49-F238E27FC236}">
                <a16:creationId xmlns:a16="http://schemas.microsoft.com/office/drawing/2014/main" id="{896E4327-2805-4B72-8B5A-F0F3C67250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427038" y="1777807"/>
            <a:ext cx="5668227" cy="319444"/>
          </a:xfrm>
          <a:prstGeom prst="rect">
            <a:avLst/>
          </a:prstGeom>
        </p:spPr>
      </p:pic>
      <p:sp>
        <p:nvSpPr>
          <p:cNvPr id="3" name="Foliennummernplatzhalter 2">
            <a:extLst>
              <a:ext uri="{FF2B5EF4-FFF2-40B4-BE49-F238E27FC236}">
                <a16:creationId xmlns:a16="http://schemas.microsoft.com/office/drawing/2014/main" id="{F470917F-44CE-4D97-98E7-00F6C22BF846}"/>
              </a:ext>
            </a:extLst>
          </p:cNvPr>
          <p:cNvSpPr>
            <a:spLocks noGrp="1"/>
          </p:cNvSpPr>
          <p:nvPr>
            <p:ph type="sldNum" sz="quarter" idx="10"/>
          </p:nvPr>
        </p:nvSpPr>
        <p:spPr/>
        <p:txBody>
          <a:bodyPr/>
          <a:lstStyle>
            <a:lvl1pPr>
              <a:defRPr>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3" name="Bildplatzhalter 12">
            <a:extLst>
              <a:ext uri="{FF2B5EF4-FFF2-40B4-BE49-F238E27FC236}">
                <a16:creationId xmlns:a16="http://schemas.microsoft.com/office/drawing/2014/main" id="{6922D3FA-8EFF-4DC2-B570-CF09AE60435A}"/>
              </a:ext>
            </a:extLst>
          </p:cNvPr>
          <p:cNvSpPr>
            <a:spLocks noGrp="1"/>
          </p:cNvSpPr>
          <p:nvPr>
            <p:ph type="pic" sz="quarter" idx="13"/>
          </p:nvPr>
        </p:nvSpPr>
        <p:spPr>
          <a:xfrm>
            <a:off x="7045484" y="1779300"/>
            <a:ext cx="4010025" cy="4529426"/>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6" name="Titel 5">
            <a:extLst>
              <a:ext uri="{FF2B5EF4-FFF2-40B4-BE49-F238E27FC236}">
                <a16:creationId xmlns:a16="http://schemas.microsoft.com/office/drawing/2014/main" id="{E792D233-76B7-4EE5-A7D3-B66CF21BBC32}"/>
              </a:ext>
            </a:extLst>
          </p:cNvPr>
          <p:cNvSpPr>
            <a:spLocks noGrp="1"/>
          </p:cNvSpPr>
          <p:nvPr>
            <p:ph type="title"/>
          </p:nvPr>
        </p:nvSpPr>
        <p:spPr/>
        <p:txBody>
          <a:bodyPr/>
          <a:lstStyle>
            <a:lvl1pPr>
              <a:defRPr>
                <a:latin typeface="M05 Text Office Bold" panose="020B0804040000000004" pitchFamily="34" charset="0"/>
              </a:defRPr>
            </a:lvl1pPr>
          </a:lstStyle>
          <a:p>
            <a:r>
              <a:rPr lang="de-DE"/>
              <a:t>Mastertitelformat bearbeiten</a:t>
            </a:r>
          </a:p>
        </p:txBody>
      </p:sp>
      <p:sp>
        <p:nvSpPr>
          <p:cNvPr id="8" name="Textplatzhalter 3">
            <a:extLst>
              <a:ext uri="{FF2B5EF4-FFF2-40B4-BE49-F238E27FC236}">
                <a16:creationId xmlns:a16="http://schemas.microsoft.com/office/drawing/2014/main" id="{9D383C4E-6AF0-487B-AA48-BB1435D56FB7}"/>
              </a:ext>
            </a:extLst>
          </p:cNvPr>
          <p:cNvSpPr>
            <a:spLocks noGrp="1"/>
          </p:cNvSpPr>
          <p:nvPr>
            <p:ph type="body" sz="quarter" idx="15"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grpSp>
        <p:nvGrpSpPr>
          <p:cNvPr id="11" name="Gruppieren 10">
            <a:extLst>
              <a:ext uri="{FF2B5EF4-FFF2-40B4-BE49-F238E27FC236}">
                <a16:creationId xmlns:a16="http://schemas.microsoft.com/office/drawing/2014/main" id="{8D625A3A-8542-44F9-82FF-6D7D73E333AD}"/>
              </a:ext>
            </a:extLst>
          </p:cNvPr>
          <p:cNvGrpSpPr/>
          <p:nvPr userDrawn="1"/>
        </p:nvGrpSpPr>
        <p:grpSpPr>
          <a:xfrm>
            <a:off x="427772" y="4917102"/>
            <a:ext cx="5923151" cy="1390747"/>
            <a:chOff x="3901439" y="1896885"/>
            <a:chExt cx="3585521" cy="4236676"/>
          </a:xfrm>
        </p:grpSpPr>
        <p:sp>
          <p:nvSpPr>
            <p:cNvPr id="12" name="Textplatzhalter 2">
              <a:extLst>
                <a:ext uri="{FF2B5EF4-FFF2-40B4-BE49-F238E27FC236}">
                  <a16:creationId xmlns:a16="http://schemas.microsoft.com/office/drawing/2014/main" id="{B37A3D9B-76A8-42C7-B76B-E4B439F94537}"/>
                </a:ext>
              </a:extLst>
            </p:cNvPr>
            <p:cNvSpPr txBox="1">
              <a:spLocks noChangeAspect="1"/>
            </p:cNvSpPr>
            <p:nvPr/>
          </p:nvSpPr>
          <p:spPr>
            <a:xfrm flipH="1">
              <a:off x="5694200" y="1907060"/>
              <a:ext cx="1792760" cy="4226501"/>
            </a:xfrm>
            <a:custGeom>
              <a:avLst/>
              <a:gdLst>
                <a:gd name="connsiteX0" fmla="*/ 0 w 10191750"/>
                <a:gd name="connsiteY0" fmla="*/ 0 h 6858000"/>
                <a:gd name="connsiteX1" fmla="*/ 6762750 w 10191750"/>
                <a:gd name="connsiteY1" fmla="*/ 0 h 6858000"/>
                <a:gd name="connsiteX2" fmla="*/ 10191750 w 10191750"/>
                <a:gd name="connsiteY2" fmla="*/ 3429000 h 6858000"/>
                <a:gd name="connsiteX3" fmla="*/ 10191750 w 10191750"/>
                <a:gd name="connsiteY3" fmla="*/ 6858000 h 6858000"/>
                <a:gd name="connsiteX4" fmla="*/ 0 w 10191750"/>
                <a:gd name="connsiteY4" fmla="*/ 6858000 h 6858000"/>
                <a:gd name="connsiteX5" fmla="*/ 0 w 10191750"/>
                <a:gd name="connsiteY5" fmla="*/ 0 h 6858000"/>
                <a:gd name="connsiteX0" fmla="*/ 0 w 10191750"/>
                <a:gd name="connsiteY0" fmla="*/ 9525 h 6867525"/>
                <a:gd name="connsiteX1" fmla="*/ 4410075 w 10191750"/>
                <a:gd name="connsiteY1" fmla="*/ 0 h 6867525"/>
                <a:gd name="connsiteX2" fmla="*/ 10191750 w 10191750"/>
                <a:gd name="connsiteY2" fmla="*/ 3438525 h 6867525"/>
                <a:gd name="connsiteX3" fmla="*/ 10191750 w 10191750"/>
                <a:gd name="connsiteY3" fmla="*/ 6867525 h 6867525"/>
                <a:gd name="connsiteX4" fmla="*/ 0 w 10191750"/>
                <a:gd name="connsiteY4" fmla="*/ 6867525 h 6867525"/>
                <a:gd name="connsiteX5" fmla="*/ 0 w 10191750"/>
                <a:gd name="connsiteY5" fmla="*/ 9525 h 6867525"/>
                <a:gd name="connsiteX0" fmla="*/ 0 w 10191750"/>
                <a:gd name="connsiteY0" fmla="*/ 9525 h 6867525"/>
                <a:gd name="connsiteX1" fmla="*/ 4410075 w 10191750"/>
                <a:gd name="connsiteY1" fmla="*/ 0 h 6867525"/>
                <a:gd name="connsiteX2" fmla="*/ 10172700 w 10191750"/>
                <a:gd name="connsiteY2" fmla="*/ 5781675 h 6867525"/>
                <a:gd name="connsiteX3" fmla="*/ 10191750 w 10191750"/>
                <a:gd name="connsiteY3" fmla="*/ 6867525 h 6867525"/>
                <a:gd name="connsiteX4" fmla="*/ 0 w 10191750"/>
                <a:gd name="connsiteY4" fmla="*/ 6867525 h 6867525"/>
                <a:gd name="connsiteX5" fmla="*/ 0 w 10191750"/>
                <a:gd name="connsiteY5" fmla="*/ 9525 h 6867525"/>
                <a:gd name="connsiteX0" fmla="*/ 0 w 10176285"/>
                <a:gd name="connsiteY0" fmla="*/ 9525 h 6867525"/>
                <a:gd name="connsiteX1" fmla="*/ 4410075 w 10176285"/>
                <a:gd name="connsiteY1" fmla="*/ 0 h 6867525"/>
                <a:gd name="connsiteX2" fmla="*/ 10172700 w 10176285"/>
                <a:gd name="connsiteY2" fmla="*/ 5781675 h 6867525"/>
                <a:gd name="connsiteX3" fmla="*/ 10176285 w 10176285"/>
                <a:gd name="connsiteY3" fmla="*/ 6867525 h 6867525"/>
                <a:gd name="connsiteX4" fmla="*/ 0 w 10176285"/>
                <a:gd name="connsiteY4" fmla="*/ 6867525 h 6867525"/>
                <a:gd name="connsiteX5" fmla="*/ 0 w 10176285"/>
                <a:gd name="connsiteY5" fmla="*/ 9525 h 6867525"/>
                <a:gd name="connsiteX0" fmla="*/ 0 w 10176285"/>
                <a:gd name="connsiteY0" fmla="*/ 9525 h 6867525"/>
                <a:gd name="connsiteX1" fmla="*/ 7590398 w 10176285"/>
                <a:gd name="connsiteY1" fmla="*/ 0 h 6867525"/>
                <a:gd name="connsiteX2" fmla="*/ 10172700 w 10176285"/>
                <a:gd name="connsiteY2" fmla="*/ 5781675 h 6867525"/>
                <a:gd name="connsiteX3" fmla="*/ 10176285 w 10176285"/>
                <a:gd name="connsiteY3" fmla="*/ 6867525 h 6867525"/>
                <a:gd name="connsiteX4" fmla="*/ 0 w 10176285"/>
                <a:gd name="connsiteY4" fmla="*/ 6867525 h 6867525"/>
                <a:gd name="connsiteX5" fmla="*/ 0 w 10176285"/>
                <a:gd name="connsiteY5" fmla="*/ 9525 h 6867525"/>
                <a:gd name="connsiteX0" fmla="*/ 0 w 10176285"/>
                <a:gd name="connsiteY0" fmla="*/ 9525 h 6867525"/>
                <a:gd name="connsiteX1" fmla="*/ 7590398 w 10176285"/>
                <a:gd name="connsiteY1" fmla="*/ 0 h 6867525"/>
                <a:gd name="connsiteX2" fmla="*/ 10154932 w 10176285"/>
                <a:gd name="connsiteY2" fmla="*/ 1994458 h 6867525"/>
                <a:gd name="connsiteX3" fmla="*/ 10176285 w 10176285"/>
                <a:gd name="connsiteY3" fmla="*/ 6867525 h 6867525"/>
                <a:gd name="connsiteX4" fmla="*/ 0 w 10176285"/>
                <a:gd name="connsiteY4" fmla="*/ 6867525 h 6867525"/>
                <a:gd name="connsiteX5" fmla="*/ 0 w 10176285"/>
                <a:gd name="connsiteY5" fmla="*/ 9525 h 6867525"/>
                <a:gd name="connsiteX0" fmla="*/ 0 w 10176285"/>
                <a:gd name="connsiteY0" fmla="*/ 9525 h 6867525"/>
                <a:gd name="connsiteX1" fmla="*/ 7590398 w 10176285"/>
                <a:gd name="connsiteY1" fmla="*/ 0 h 6867525"/>
                <a:gd name="connsiteX2" fmla="*/ 10154932 w 10176285"/>
                <a:gd name="connsiteY2" fmla="*/ 1994458 h 6867525"/>
                <a:gd name="connsiteX3" fmla="*/ 10176285 w 10176285"/>
                <a:gd name="connsiteY3" fmla="*/ 6867525 h 6867525"/>
                <a:gd name="connsiteX4" fmla="*/ 0 w 10176285"/>
                <a:gd name="connsiteY4" fmla="*/ 6867525 h 6867525"/>
                <a:gd name="connsiteX5" fmla="*/ 0 w 10176285"/>
                <a:gd name="connsiteY5" fmla="*/ 9525 h 6867525"/>
                <a:gd name="connsiteX0" fmla="*/ 0 w 10176285"/>
                <a:gd name="connsiteY0" fmla="*/ 1397 h 6859397"/>
                <a:gd name="connsiteX1" fmla="*/ 7590398 w 10176285"/>
                <a:gd name="connsiteY1" fmla="*/ 0 h 6859397"/>
                <a:gd name="connsiteX2" fmla="*/ 10154932 w 10176285"/>
                <a:gd name="connsiteY2" fmla="*/ 1986330 h 6859397"/>
                <a:gd name="connsiteX3" fmla="*/ 10176285 w 10176285"/>
                <a:gd name="connsiteY3" fmla="*/ 6859397 h 6859397"/>
                <a:gd name="connsiteX4" fmla="*/ 0 w 10176285"/>
                <a:gd name="connsiteY4" fmla="*/ 6859397 h 6859397"/>
                <a:gd name="connsiteX5" fmla="*/ 0 w 10176285"/>
                <a:gd name="connsiteY5" fmla="*/ 1397 h 6859397"/>
                <a:gd name="connsiteX0" fmla="*/ 0 w 10176285"/>
                <a:gd name="connsiteY0" fmla="*/ -1 h 6857999"/>
                <a:gd name="connsiteX1" fmla="*/ 7590398 w 10176285"/>
                <a:gd name="connsiteY1" fmla="*/ 6731 h 6857999"/>
                <a:gd name="connsiteX2" fmla="*/ 10154932 w 10176285"/>
                <a:gd name="connsiteY2" fmla="*/ 1984932 h 6857999"/>
                <a:gd name="connsiteX3" fmla="*/ 10176285 w 10176285"/>
                <a:gd name="connsiteY3" fmla="*/ 6857999 h 6857999"/>
                <a:gd name="connsiteX4" fmla="*/ 0 w 10176285"/>
                <a:gd name="connsiteY4" fmla="*/ 6857999 h 6857999"/>
                <a:gd name="connsiteX5" fmla="*/ 0 w 10176285"/>
                <a:gd name="connsiteY5" fmla="*/ -1 h 6857999"/>
                <a:gd name="connsiteX0" fmla="*/ 0 w 10176285"/>
                <a:gd name="connsiteY0" fmla="*/ 0 h 6853937"/>
                <a:gd name="connsiteX1" fmla="*/ 7590398 w 10176285"/>
                <a:gd name="connsiteY1" fmla="*/ 2669 h 6853937"/>
                <a:gd name="connsiteX2" fmla="*/ 10154932 w 10176285"/>
                <a:gd name="connsiteY2" fmla="*/ 1980870 h 6853937"/>
                <a:gd name="connsiteX3" fmla="*/ 10176285 w 10176285"/>
                <a:gd name="connsiteY3" fmla="*/ 6853937 h 6853937"/>
                <a:gd name="connsiteX4" fmla="*/ 0 w 10176285"/>
                <a:gd name="connsiteY4" fmla="*/ 6853937 h 6853937"/>
                <a:gd name="connsiteX5" fmla="*/ 0 w 10176285"/>
                <a:gd name="connsiteY5" fmla="*/ 0 h 6853937"/>
                <a:gd name="connsiteX0" fmla="*/ 0 w 10176285"/>
                <a:gd name="connsiteY0" fmla="*/ 0 h 6853937"/>
                <a:gd name="connsiteX1" fmla="*/ 7590398 w 10176285"/>
                <a:gd name="connsiteY1" fmla="*/ 2669 h 6853937"/>
                <a:gd name="connsiteX2" fmla="*/ 10159535 w 10176285"/>
                <a:gd name="connsiteY2" fmla="*/ 1992690 h 6853937"/>
                <a:gd name="connsiteX3" fmla="*/ 10176285 w 10176285"/>
                <a:gd name="connsiteY3" fmla="*/ 6853937 h 6853937"/>
                <a:gd name="connsiteX4" fmla="*/ 0 w 10176285"/>
                <a:gd name="connsiteY4" fmla="*/ 6853937 h 6853937"/>
                <a:gd name="connsiteX5" fmla="*/ 0 w 10176285"/>
                <a:gd name="connsiteY5" fmla="*/ 0 h 6853937"/>
                <a:gd name="connsiteX0" fmla="*/ 0 w 10176285"/>
                <a:gd name="connsiteY0" fmla="*/ 0 h 6853937"/>
                <a:gd name="connsiteX1" fmla="*/ 7590398 w 10176285"/>
                <a:gd name="connsiteY1" fmla="*/ 2669 h 6853937"/>
                <a:gd name="connsiteX2" fmla="*/ 10159535 w 10176285"/>
                <a:gd name="connsiteY2" fmla="*/ 1992690 h 6853937"/>
                <a:gd name="connsiteX3" fmla="*/ 10176285 w 10176285"/>
                <a:gd name="connsiteY3" fmla="*/ 6853937 h 6853937"/>
                <a:gd name="connsiteX4" fmla="*/ 0 w 10176285"/>
                <a:gd name="connsiteY4" fmla="*/ 6853937 h 6853937"/>
                <a:gd name="connsiteX5" fmla="*/ 0 w 10176285"/>
                <a:gd name="connsiteY5" fmla="*/ 0 h 6853937"/>
                <a:gd name="connsiteX0" fmla="*/ 0 w 10171682"/>
                <a:gd name="connsiteY0" fmla="*/ 0 h 6853937"/>
                <a:gd name="connsiteX1" fmla="*/ 7590398 w 10171682"/>
                <a:gd name="connsiteY1" fmla="*/ 2669 h 6853937"/>
                <a:gd name="connsiteX2" fmla="*/ 10159535 w 10171682"/>
                <a:gd name="connsiteY2" fmla="*/ 199269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1682"/>
                <a:gd name="connsiteY0" fmla="*/ 0 h 6853937"/>
                <a:gd name="connsiteX1" fmla="*/ 7590398 w 10171682"/>
                <a:gd name="connsiteY1" fmla="*/ 2669 h 6853937"/>
                <a:gd name="connsiteX2" fmla="*/ 10159536 w 10171682"/>
                <a:gd name="connsiteY2" fmla="*/ 198481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1682"/>
                <a:gd name="connsiteY0" fmla="*/ 0 h 6853937"/>
                <a:gd name="connsiteX1" fmla="*/ 7590398 w 10171682"/>
                <a:gd name="connsiteY1" fmla="*/ 2669 h 6853937"/>
                <a:gd name="connsiteX2" fmla="*/ 10164139 w 10171682"/>
                <a:gd name="connsiteY2" fmla="*/ 198481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1682"/>
                <a:gd name="connsiteY0" fmla="*/ 0 h 6853937"/>
                <a:gd name="connsiteX1" fmla="*/ 7590398 w 10171682"/>
                <a:gd name="connsiteY1" fmla="*/ 2669 h 6853937"/>
                <a:gd name="connsiteX2" fmla="*/ 10164139 w 10171682"/>
                <a:gd name="connsiteY2" fmla="*/ 198481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1682"/>
                <a:gd name="connsiteY0" fmla="*/ 0 h 6853937"/>
                <a:gd name="connsiteX1" fmla="*/ 7590398 w 10171682"/>
                <a:gd name="connsiteY1" fmla="*/ 2669 h 6853937"/>
                <a:gd name="connsiteX2" fmla="*/ 10164139 w 10171682"/>
                <a:gd name="connsiteY2" fmla="*/ 198481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2137"/>
                <a:gd name="connsiteY0" fmla="*/ 0 h 6853937"/>
                <a:gd name="connsiteX1" fmla="*/ 7590398 w 10172137"/>
                <a:gd name="connsiteY1" fmla="*/ 2669 h 6853937"/>
                <a:gd name="connsiteX2" fmla="*/ 10168741 w 10172137"/>
                <a:gd name="connsiteY2" fmla="*/ 1984810 h 6853937"/>
                <a:gd name="connsiteX3" fmla="*/ 10171682 w 10172137"/>
                <a:gd name="connsiteY3" fmla="*/ 6853937 h 6853937"/>
                <a:gd name="connsiteX4" fmla="*/ 0 w 10172137"/>
                <a:gd name="connsiteY4" fmla="*/ 6853937 h 6853937"/>
                <a:gd name="connsiteX5" fmla="*/ 0 w 10172137"/>
                <a:gd name="connsiteY5" fmla="*/ 0 h 6853937"/>
                <a:gd name="connsiteX0" fmla="*/ 0 w 10175589"/>
                <a:gd name="connsiteY0" fmla="*/ 0 h 6853937"/>
                <a:gd name="connsiteX1" fmla="*/ 7590398 w 10175589"/>
                <a:gd name="connsiteY1" fmla="*/ 2669 h 6853937"/>
                <a:gd name="connsiteX2" fmla="*/ 10173172 w 10175589"/>
                <a:gd name="connsiteY2" fmla="*/ 1984810 h 6853937"/>
                <a:gd name="connsiteX3" fmla="*/ 10171682 w 10175589"/>
                <a:gd name="connsiteY3" fmla="*/ 6853937 h 6853937"/>
                <a:gd name="connsiteX4" fmla="*/ 0 w 10175589"/>
                <a:gd name="connsiteY4" fmla="*/ 6853937 h 6853937"/>
                <a:gd name="connsiteX5" fmla="*/ 0 w 10175589"/>
                <a:gd name="connsiteY5" fmla="*/ 0 h 6853937"/>
                <a:gd name="connsiteX0" fmla="*/ 0 w 10176567"/>
                <a:gd name="connsiteY0" fmla="*/ 0 h 6853937"/>
                <a:gd name="connsiteX1" fmla="*/ 7590398 w 10176567"/>
                <a:gd name="connsiteY1" fmla="*/ 2669 h 6853937"/>
                <a:gd name="connsiteX2" fmla="*/ 10173172 w 10176567"/>
                <a:gd name="connsiteY2" fmla="*/ 1984810 h 6853937"/>
                <a:gd name="connsiteX3" fmla="*/ 10176113 w 10176567"/>
                <a:gd name="connsiteY3" fmla="*/ 6850145 h 6853937"/>
                <a:gd name="connsiteX4" fmla="*/ 0 w 10176567"/>
                <a:gd name="connsiteY4" fmla="*/ 6853937 h 6853937"/>
                <a:gd name="connsiteX5" fmla="*/ 0 w 10176567"/>
                <a:gd name="connsiteY5" fmla="*/ 0 h 6853937"/>
                <a:gd name="connsiteX0" fmla="*/ 0 w 10176112"/>
                <a:gd name="connsiteY0" fmla="*/ 0 h 6853937"/>
                <a:gd name="connsiteX1" fmla="*/ 7590398 w 10176112"/>
                <a:gd name="connsiteY1" fmla="*/ 2669 h 6853937"/>
                <a:gd name="connsiteX2" fmla="*/ 10168743 w 10176112"/>
                <a:gd name="connsiteY2" fmla="*/ 1992395 h 6853937"/>
                <a:gd name="connsiteX3" fmla="*/ 10176113 w 10176112"/>
                <a:gd name="connsiteY3" fmla="*/ 6850145 h 6853937"/>
                <a:gd name="connsiteX4" fmla="*/ 0 w 10176112"/>
                <a:gd name="connsiteY4" fmla="*/ 6853937 h 6853937"/>
                <a:gd name="connsiteX5" fmla="*/ 0 w 10176112"/>
                <a:gd name="connsiteY5" fmla="*/ 0 h 6853937"/>
                <a:gd name="connsiteX0" fmla="*/ 0 w 10176114"/>
                <a:gd name="connsiteY0" fmla="*/ 0 h 6853937"/>
                <a:gd name="connsiteX1" fmla="*/ 7590398 w 10176114"/>
                <a:gd name="connsiteY1" fmla="*/ 2669 h 6853937"/>
                <a:gd name="connsiteX2" fmla="*/ 10168744 w 10176114"/>
                <a:gd name="connsiteY2" fmla="*/ 1999783 h 6853937"/>
                <a:gd name="connsiteX3" fmla="*/ 10176113 w 10176114"/>
                <a:gd name="connsiteY3" fmla="*/ 6850145 h 6853937"/>
                <a:gd name="connsiteX4" fmla="*/ 0 w 10176114"/>
                <a:gd name="connsiteY4" fmla="*/ 6853937 h 6853937"/>
                <a:gd name="connsiteX5" fmla="*/ 0 w 10176114"/>
                <a:gd name="connsiteY5" fmla="*/ 0 h 6853937"/>
                <a:gd name="connsiteX0" fmla="*/ 0 w 10176112"/>
                <a:gd name="connsiteY0" fmla="*/ 4717 h 6858654"/>
                <a:gd name="connsiteX1" fmla="*/ 7590397 w 10176112"/>
                <a:gd name="connsiteY1" fmla="*/ 0 h 6858654"/>
                <a:gd name="connsiteX2" fmla="*/ 10168744 w 10176112"/>
                <a:gd name="connsiteY2" fmla="*/ 2004500 h 6858654"/>
                <a:gd name="connsiteX3" fmla="*/ 10176113 w 10176112"/>
                <a:gd name="connsiteY3" fmla="*/ 6854862 h 6858654"/>
                <a:gd name="connsiteX4" fmla="*/ 0 w 10176112"/>
                <a:gd name="connsiteY4" fmla="*/ 6858654 h 6858654"/>
                <a:gd name="connsiteX5" fmla="*/ 0 w 10176112"/>
                <a:gd name="connsiteY5" fmla="*/ 4717 h 6858654"/>
                <a:gd name="connsiteX0" fmla="*/ 0 w 10176114"/>
                <a:gd name="connsiteY0" fmla="*/ 0 h 6861325"/>
                <a:gd name="connsiteX1" fmla="*/ 7590397 w 10176114"/>
                <a:gd name="connsiteY1" fmla="*/ 2671 h 6861325"/>
                <a:gd name="connsiteX2" fmla="*/ 10168744 w 10176114"/>
                <a:gd name="connsiteY2" fmla="*/ 2007171 h 6861325"/>
                <a:gd name="connsiteX3" fmla="*/ 10176113 w 10176114"/>
                <a:gd name="connsiteY3" fmla="*/ 6857533 h 6861325"/>
                <a:gd name="connsiteX4" fmla="*/ 0 w 10176114"/>
                <a:gd name="connsiteY4" fmla="*/ 6861325 h 6861325"/>
                <a:gd name="connsiteX5" fmla="*/ 0 w 10176114"/>
                <a:gd name="connsiteY5" fmla="*/ 0 h 6861325"/>
                <a:gd name="connsiteX0" fmla="*/ 0 w 10176112"/>
                <a:gd name="connsiteY0" fmla="*/ 0 h 6861325"/>
                <a:gd name="connsiteX1" fmla="*/ 7590397 w 10176112"/>
                <a:gd name="connsiteY1" fmla="*/ 2671 h 6861325"/>
                <a:gd name="connsiteX2" fmla="*/ 10168744 w 10176112"/>
                <a:gd name="connsiteY2" fmla="*/ 2007171 h 6861325"/>
                <a:gd name="connsiteX3" fmla="*/ 10176113 w 10176112"/>
                <a:gd name="connsiteY3" fmla="*/ 6857533 h 6861325"/>
                <a:gd name="connsiteX4" fmla="*/ 0 w 10176112"/>
                <a:gd name="connsiteY4" fmla="*/ 6861325 h 6861325"/>
                <a:gd name="connsiteX5" fmla="*/ 0 w 10176112"/>
                <a:gd name="connsiteY5" fmla="*/ 0 h 6861325"/>
                <a:gd name="connsiteX0" fmla="*/ 0 w 10176114"/>
                <a:gd name="connsiteY0" fmla="*/ 0 h 6861325"/>
                <a:gd name="connsiteX1" fmla="*/ 7590397 w 10176114"/>
                <a:gd name="connsiteY1" fmla="*/ 2671 h 6861325"/>
                <a:gd name="connsiteX2" fmla="*/ 10168744 w 10176114"/>
                <a:gd name="connsiteY2" fmla="*/ 2007171 h 6861325"/>
                <a:gd name="connsiteX3" fmla="*/ 10176113 w 10176114"/>
                <a:gd name="connsiteY3" fmla="*/ 6857533 h 6861325"/>
                <a:gd name="connsiteX4" fmla="*/ 0 w 10176114"/>
                <a:gd name="connsiteY4" fmla="*/ 6861325 h 6861325"/>
                <a:gd name="connsiteX5" fmla="*/ 0 w 10176114"/>
                <a:gd name="connsiteY5" fmla="*/ 0 h 6861325"/>
                <a:gd name="connsiteX0" fmla="*/ 0 w 10176112"/>
                <a:gd name="connsiteY0" fmla="*/ 0 h 6861325"/>
                <a:gd name="connsiteX1" fmla="*/ 7590397 w 10176112"/>
                <a:gd name="connsiteY1" fmla="*/ 2671 h 6861325"/>
                <a:gd name="connsiteX2" fmla="*/ 10168744 w 10176112"/>
                <a:gd name="connsiteY2" fmla="*/ 2007171 h 6861325"/>
                <a:gd name="connsiteX3" fmla="*/ 10176113 w 10176112"/>
                <a:gd name="connsiteY3" fmla="*/ 6857533 h 6861325"/>
                <a:gd name="connsiteX4" fmla="*/ 0 w 10176112"/>
                <a:gd name="connsiteY4" fmla="*/ 6861325 h 6861325"/>
                <a:gd name="connsiteX5" fmla="*/ 0 w 10176112"/>
                <a:gd name="connsiteY5" fmla="*/ 0 h 6861325"/>
                <a:gd name="connsiteX0" fmla="*/ 0 w 10176114"/>
                <a:gd name="connsiteY0" fmla="*/ 0 h 6861325"/>
                <a:gd name="connsiteX1" fmla="*/ 7590397 w 10176114"/>
                <a:gd name="connsiteY1" fmla="*/ 2671 h 6861325"/>
                <a:gd name="connsiteX2" fmla="*/ 10168744 w 10176114"/>
                <a:gd name="connsiteY2" fmla="*/ 2007171 h 6861325"/>
                <a:gd name="connsiteX3" fmla="*/ 10176113 w 10176114"/>
                <a:gd name="connsiteY3" fmla="*/ 6857533 h 6861325"/>
                <a:gd name="connsiteX4" fmla="*/ 0 w 10176114"/>
                <a:gd name="connsiteY4" fmla="*/ 6861325 h 6861325"/>
                <a:gd name="connsiteX5" fmla="*/ 0 w 10176114"/>
                <a:gd name="connsiteY5" fmla="*/ 0 h 6861325"/>
                <a:gd name="connsiteX0" fmla="*/ 0 w 10176112"/>
                <a:gd name="connsiteY0" fmla="*/ 0 h 6861325"/>
                <a:gd name="connsiteX1" fmla="*/ 7590397 w 10176112"/>
                <a:gd name="connsiteY1" fmla="*/ 2671 h 6861325"/>
                <a:gd name="connsiteX2" fmla="*/ 10168744 w 10176112"/>
                <a:gd name="connsiteY2" fmla="*/ 2007171 h 6861325"/>
                <a:gd name="connsiteX3" fmla="*/ 10176113 w 10176112"/>
                <a:gd name="connsiteY3" fmla="*/ 6857533 h 6861325"/>
                <a:gd name="connsiteX4" fmla="*/ 0 w 10176112"/>
                <a:gd name="connsiteY4" fmla="*/ 6861325 h 6861325"/>
                <a:gd name="connsiteX5" fmla="*/ 0 w 10176112"/>
                <a:gd name="connsiteY5" fmla="*/ 0 h 6861325"/>
                <a:gd name="connsiteX0" fmla="*/ 0 w 10176114"/>
                <a:gd name="connsiteY0" fmla="*/ 0 h 6861325"/>
                <a:gd name="connsiteX1" fmla="*/ 7590397 w 10176114"/>
                <a:gd name="connsiteY1" fmla="*/ 2671 h 6861325"/>
                <a:gd name="connsiteX2" fmla="*/ 10168744 w 10176114"/>
                <a:gd name="connsiteY2" fmla="*/ 2007171 h 6861325"/>
                <a:gd name="connsiteX3" fmla="*/ 10176113 w 10176114"/>
                <a:gd name="connsiteY3" fmla="*/ 6857533 h 6861325"/>
                <a:gd name="connsiteX4" fmla="*/ 0 w 10176114"/>
                <a:gd name="connsiteY4" fmla="*/ 6861325 h 6861325"/>
                <a:gd name="connsiteX5" fmla="*/ 0 w 10176114"/>
                <a:gd name="connsiteY5" fmla="*/ 0 h 6861325"/>
                <a:gd name="connsiteX0" fmla="*/ 0 w 10176112"/>
                <a:gd name="connsiteY0" fmla="*/ 4715 h 6866040"/>
                <a:gd name="connsiteX1" fmla="*/ 7594712 w 10176112"/>
                <a:gd name="connsiteY1" fmla="*/ 0 h 6866040"/>
                <a:gd name="connsiteX2" fmla="*/ 10168744 w 10176112"/>
                <a:gd name="connsiteY2" fmla="*/ 2011886 h 6866040"/>
                <a:gd name="connsiteX3" fmla="*/ 10176113 w 10176112"/>
                <a:gd name="connsiteY3" fmla="*/ 6862248 h 6866040"/>
                <a:gd name="connsiteX4" fmla="*/ 0 w 10176112"/>
                <a:gd name="connsiteY4" fmla="*/ 6866040 h 6866040"/>
                <a:gd name="connsiteX5" fmla="*/ 0 w 10176112"/>
                <a:gd name="connsiteY5" fmla="*/ 4715 h 6866040"/>
                <a:gd name="connsiteX0" fmla="*/ 0 w 10176114"/>
                <a:gd name="connsiteY0" fmla="*/ 1 h 6861326"/>
                <a:gd name="connsiteX1" fmla="*/ 7485316 w 10176114"/>
                <a:gd name="connsiteY1" fmla="*/ 8664 h 6861326"/>
                <a:gd name="connsiteX2" fmla="*/ 10168744 w 10176114"/>
                <a:gd name="connsiteY2" fmla="*/ 2007172 h 6861326"/>
                <a:gd name="connsiteX3" fmla="*/ 10176113 w 10176114"/>
                <a:gd name="connsiteY3" fmla="*/ 6857534 h 6861326"/>
                <a:gd name="connsiteX4" fmla="*/ 0 w 10176114"/>
                <a:gd name="connsiteY4" fmla="*/ 6861326 h 6861326"/>
                <a:gd name="connsiteX5" fmla="*/ 0 w 10176114"/>
                <a:gd name="connsiteY5" fmla="*/ 1 h 6861326"/>
                <a:gd name="connsiteX0" fmla="*/ 0 w 10176112"/>
                <a:gd name="connsiteY0" fmla="*/ -1 h 6861324"/>
                <a:gd name="connsiteX1" fmla="*/ 7485316 w 10176112"/>
                <a:gd name="connsiteY1" fmla="*/ 8662 h 6861324"/>
                <a:gd name="connsiteX2" fmla="*/ 10168744 w 10176112"/>
                <a:gd name="connsiteY2" fmla="*/ 2080748 h 6861324"/>
                <a:gd name="connsiteX3" fmla="*/ 10176113 w 10176112"/>
                <a:gd name="connsiteY3" fmla="*/ 6857532 h 6861324"/>
                <a:gd name="connsiteX4" fmla="*/ 0 w 10176112"/>
                <a:gd name="connsiteY4" fmla="*/ 6861324 h 6861324"/>
                <a:gd name="connsiteX5" fmla="*/ 0 w 10176112"/>
                <a:gd name="connsiteY5" fmla="*/ -1 h 6861324"/>
                <a:gd name="connsiteX0" fmla="*/ 0 w 10179149"/>
                <a:gd name="connsiteY0" fmla="*/ 1 h 6861326"/>
                <a:gd name="connsiteX1" fmla="*/ 7485316 w 10179149"/>
                <a:gd name="connsiteY1" fmla="*/ 8664 h 6861326"/>
                <a:gd name="connsiteX2" fmla="*/ 10176558 w 10179149"/>
                <a:gd name="connsiteY2" fmla="*/ 2080750 h 6861326"/>
                <a:gd name="connsiteX3" fmla="*/ 10176113 w 10179149"/>
                <a:gd name="connsiteY3" fmla="*/ 6857534 h 6861326"/>
                <a:gd name="connsiteX4" fmla="*/ 0 w 10179149"/>
                <a:gd name="connsiteY4" fmla="*/ 6861326 h 6861326"/>
                <a:gd name="connsiteX5" fmla="*/ 0 w 10179149"/>
                <a:gd name="connsiteY5" fmla="*/ 1 h 6861326"/>
                <a:gd name="connsiteX0" fmla="*/ 0 w 10186056"/>
                <a:gd name="connsiteY0" fmla="*/ -1 h 6861324"/>
                <a:gd name="connsiteX1" fmla="*/ 7485316 w 10186056"/>
                <a:gd name="connsiteY1" fmla="*/ 8662 h 6861324"/>
                <a:gd name="connsiteX2" fmla="*/ 10184372 w 10186056"/>
                <a:gd name="connsiteY2" fmla="*/ 2080748 h 6861324"/>
                <a:gd name="connsiteX3" fmla="*/ 10176113 w 10186056"/>
                <a:gd name="connsiteY3" fmla="*/ 6857532 h 6861324"/>
                <a:gd name="connsiteX4" fmla="*/ 0 w 10186056"/>
                <a:gd name="connsiteY4" fmla="*/ 6861324 h 6861324"/>
                <a:gd name="connsiteX5" fmla="*/ 0 w 10186056"/>
                <a:gd name="connsiteY5" fmla="*/ -1 h 6861324"/>
                <a:gd name="connsiteX0" fmla="*/ 0 w 10179149"/>
                <a:gd name="connsiteY0" fmla="*/ 1 h 6861326"/>
                <a:gd name="connsiteX1" fmla="*/ 7485316 w 10179149"/>
                <a:gd name="connsiteY1" fmla="*/ 8664 h 6861326"/>
                <a:gd name="connsiteX2" fmla="*/ 10176559 w 10179149"/>
                <a:gd name="connsiteY2" fmla="*/ 2087437 h 6861326"/>
                <a:gd name="connsiteX3" fmla="*/ 10176113 w 10179149"/>
                <a:gd name="connsiteY3" fmla="*/ 6857534 h 6861326"/>
                <a:gd name="connsiteX4" fmla="*/ 0 w 10179149"/>
                <a:gd name="connsiteY4" fmla="*/ 6861326 h 6861326"/>
                <a:gd name="connsiteX5" fmla="*/ 0 w 10179149"/>
                <a:gd name="connsiteY5" fmla="*/ 1 h 6861326"/>
                <a:gd name="connsiteX0" fmla="*/ 0 w 10179149"/>
                <a:gd name="connsiteY0" fmla="*/ -1 h 6861324"/>
                <a:gd name="connsiteX1" fmla="*/ 7485316 w 10179149"/>
                <a:gd name="connsiteY1" fmla="*/ 8662 h 6861324"/>
                <a:gd name="connsiteX2" fmla="*/ 10176559 w 10179149"/>
                <a:gd name="connsiteY2" fmla="*/ 2087435 h 6861324"/>
                <a:gd name="connsiteX3" fmla="*/ 10176113 w 10179149"/>
                <a:gd name="connsiteY3" fmla="*/ 6857532 h 6861324"/>
                <a:gd name="connsiteX4" fmla="*/ 0 w 10179149"/>
                <a:gd name="connsiteY4" fmla="*/ 6861324 h 6861324"/>
                <a:gd name="connsiteX5" fmla="*/ 0 w 10179149"/>
                <a:gd name="connsiteY5" fmla="*/ -1 h 6861324"/>
                <a:gd name="connsiteX0" fmla="*/ 0 w 10179149"/>
                <a:gd name="connsiteY0" fmla="*/ 1 h 6861326"/>
                <a:gd name="connsiteX1" fmla="*/ 7485316 w 10179149"/>
                <a:gd name="connsiteY1" fmla="*/ 1975 h 6861326"/>
                <a:gd name="connsiteX2" fmla="*/ 10176559 w 10179149"/>
                <a:gd name="connsiteY2" fmla="*/ 2087437 h 6861326"/>
                <a:gd name="connsiteX3" fmla="*/ 10176113 w 10179149"/>
                <a:gd name="connsiteY3" fmla="*/ 6857534 h 6861326"/>
                <a:gd name="connsiteX4" fmla="*/ 0 w 10179149"/>
                <a:gd name="connsiteY4" fmla="*/ 6861326 h 6861326"/>
                <a:gd name="connsiteX5" fmla="*/ 0 w 10179149"/>
                <a:gd name="connsiteY5" fmla="*/ 1 h 6861326"/>
                <a:gd name="connsiteX0" fmla="*/ 0 w 10193438"/>
                <a:gd name="connsiteY0" fmla="*/ -1 h 6861324"/>
                <a:gd name="connsiteX1" fmla="*/ 7485316 w 10193438"/>
                <a:gd name="connsiteY1" fmla="*/ 1973 h 6861324"/>
                <a:gd name="connsiteX2" fmla="*/ 10192188 w 10193438"/>
                <a:gd name="connsiteY2" fmla="*/ 2087435 h 6861324"/>
                <a:gd name="connsiteX3" fmla="*/ 10176113 w 10193438"/>
                <a:gd name="connsiteY3" fmla="*/ 6857532 h 6861324"/>
                <a:gd name="connsiteX4" fmla="*/ 0 w 10193438"/>
                <a:gd name="connsiteY4" fmla="*/ 6861324 h 6861324"/>
                <a:gd name="connsiteX5" fmla="*/ 0 w 10193438"/>
                <a:gd name="connsiteY5" fmla="*/ -1 h 6861324"/>
                <a:gd name="connsiteX0" fmla="*/ 0 w 10179149"/>
                <a:gd name="connsiteY0" fmla="*/ 1 h 6861326"/>
                <a:gd name="connsiteX1" fmla="*/ 7485316 w 10179149"/>
                <a:gd name="connsiteY1" fmla="*/ 1975 h 6861326"/>
                <a:gd name="connsiteX2" fmla="*/ 10176559 w 10179149"/>
                <a:gd name="connsiteY2" fmla="*/ 2087437 h 6861326"/>
                <a:gd name="connsiteX3" fmla="*/ 10176113 w 10179149"/>
                <a:gd name="connsiteY3" fmla="*/ 6857534 h 6861326"/>
                <a:gd name="connsiteX4" fmla="*/ 0 w 10179149"/>
                <a:gd name="connsiteY4" fmla="*/ 6861326 h 6861326"/>
                <a:gd name="connsiteX5" fmla="*/ 0 w 10179149"/>
                <a:gd name="connsiteY5" fmla="*/ 1 h 6861326"/>
                <a:gd name="connsiteX0" fmla="*/ 0 w 10179149"/>
                <a:gd name="connsiteY0" fmla="*/ -1 h 6861324"/>
                <a:gd name="connsiteX1" fmla="*/ 7485316 w 10179149"/>
                <a:gd name="connsiteY1" fmla="*/ 1973 h 6861324"/>
                <a:gd name="connsiteX2" fmla="*/ 10176559 w 10179149"/>
                <a:gd name="connsiteY2" fmla="*/ 2087435 h 6861324"/>
                <a:gd name="connsiteX3" fmla="*/ 10176113 w 10179149"/>
                <a:gd name="connsiteY3" fmla="*/ 6857532 h 6861324"/>
                <a:gd name="connsiteX4" fmla="*/ 0 w 10179149"/>
                <a:gd name="connsiteY4" fmla="*/ 6861324 h 6861324"/>
                <a:gd name="connsiteX5" fmla="*/ 0 w 10179149"/>
                <a:gd name="connsiteY5" fmla="*/ -1 h 6861324"/>
                <a:gd name="connsiteX0" fmla="*/ 0 w 10183928"/>
                <a:gd name="connsiteY0" fmla="*/ 1 h 6861326"/>
                <a:gd name="connsiteX1" fmla="*/ 7485316 w 10183928"/>
                <a:gd name="connsiteY1" fmla="*/ 1975 h 6861326"/>
                <a:gd name="connsiteX2" fmla="*/ 10176559 w 10183928"/>
                <a:gd name="connsiteY2" fmla="*/ 2087437 h 6861326"/>
                <a:gd name="connsiteX3" fmla="*/ 10183928 w 10183928"/>
                <a:gd name="connsiteY3" fmla="*/ 6857534 h 6861326"/>
                <a:gd name="connsiteX4" fmla="*/ 0 w 10183928"/>
                <a:gd name="connsiteY4" fmla="*/ 6861326 h 6861326"/>
                <a:gd name="connsiteX5" fmla="*/ 0 w 10183928"/>
                <a:gd name="connsiteY5" fmla="*/ 1 h 6861326"/>
                <a:gd name="connsiteX0" fmla="*/ 0 w 10183928"/>
                <a:gd name="connsiteY0" fmla="*/ -1 h 6861324"/>
                <a:gd name="connsiteX1" fmla="*/ 7485316 w 10183928"/>
                <a:gd name="connsiteY1" fmla="*/ 1973 h 6861324"/>
                <a:gd name="connsiteX2" fmla="*/ 10176559 w 10183928"/>
                <a:gd name="connsiteY2" fmla="*/ 2087435 h 6861324"/>
                <a:gd name="connsiteX3" fmla="*/ 10183928 w 10183928"/>
                <a:gd name="connsiteY3" fmla="*/ 6857532 h 6861324"/>
                <a:gd name="connsiteX4" fmla="*/ 0 w 10183928"/>
                <a:gd name="connsiteY4" fmla="*/ 6861324 h 6861324"/>
                <a:gd name="connsiteX5" fmla="*/ 0 w 10183928"/>
                <a:gd name="connsiteY5" fmla="*/ -1 h 6861324"/>
                <a:gd name="connsiteX0" fmla="*/ 0 w 10186963"/>
                <a:gd name="connsiteY0" fmla="*/ 1 h 6861326"/>
                <a:gd name="connsiteX1" fmla="*/ 7485316 w 10186963"/>
                <a:gd name="connsiteY1" fmla="*/ 1975 h 6861326"/>
                <a:gd name="connsiteX2" fmla="*/ 10184374 w 10186963"/>
                <a:gd name="connsiteY2" fmla="*/ 2087437 h 6861326"/>
                <a:gd name="connsiteX3" fmla="*/ 10183928 w 10186963"/>
                <a:gd name="connsiteY3" fmla="*/ 6857534 h 6861326"/>
                <a:gd name="connsiteX4" fmla="*/ 0 w 10186963"/>
                <a:gd name="connsiteY4" fmla="*/ 6861326 h 6861326"/>
                <a:gd name="connsiteX5" fmla="*/ 0 w 10186963"/>
                <a:gd name="connsiteY5" fmla="*/ 1 h 6861326"/>
                <a:gd name="connsiteX0" fmla="*/ 0 w 10193874"/>
                <a:gd name="connsiteY0" fmla="*/ -1 h 6861324"/>
                <a:gd name="connsiteX1" fmla="*/ 7485316 w 10193874"/>
                <a:gd name="connsiteY1" fmla="*/ 1973 h 6861324"/>
                <a:gd name="connsiteX2" fmla="*/ 10192190 w 10193874"/>
                <a:gd name="connsiteY2" fmla="*/ 2094124 h 6861324"/>
                <a:gd name="connsiteX3" fmla="*/ 10183928 w 10193874"/>
                <a:gd name="connsiteY3" fmla="*/ 6857532 h 6861324"/>
                <a:gd name="connsiteX4" fmla="*/ 0 w 10193874"/>
                <a:gd name="connsiteY4" fmla="*/ 6861324 h 6861324"/>
                <a:gd name="connsiteX5" fmla="*/ 0 w 10193874"/>
                <a:gd name="connsiteY5" fmla="*/ -1 h 686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93874" h="6861324">
                  <a:moveTo>
                    <a:pt x="0" y="-1"/>
                  </a:moveTo>
                  <a:lnTo>
                    <a:pt x="7485316" y="1973"/>
                  </a:lnTo>
                  <a:lnTo>
                    <a:pt x="10192190" y="2094124"/>
                  </a:lnTo>
                  <a:cubicBezTo>
                    <a:pt x="10199308" y="3718480"/>
                    <a:pt x="10181413" y="6679074"/>
                    <a:pt x="10183928" y="6857532"/>
                  </a:cubicBezTo>
                  <a:lnTo>
                    <a:pt x="0" y="6861324"/>
                  </a:lnTo>
                  <a:lnTo>
                    <a:pt x="0" y="-1"/>
                  </a:lnTo>
                  <a:close/>
                </a:path>
              </a:pathLst>
            </a:custGeom>
            <a:ln>
              <a:solidFill>
                <a:schemeClr val="bg1">
                  <a:lumMod val="65000"/>
                </a:schemeClr>
              </a:solidFill>
            </a:ln>
          </p:spPr>
          <p:txBody>
            <a:bodyPr wrap="square" lIns="972000" tIns="360000" rIns="90000" bIns="90000">
              <a:noAutofit/>
            </a:bodyPr>
            <a:lst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400" kern="1200">
                  <a:solidFill>
                    <a:schemeClr val="tx1"/>
                  </a:solidFill>
                  <a:latin typeface="M05 Text Office" panose="020B0504040000000004" pitchFamily="34" charset="0"/>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sz="1200"/>
            </a:p>
          </p:txBody>
        </p:sp>
        <p:sp>
          <p:nvSpPr>
            <p:cNvPr id="14" name="Rechtwinkliges Dreieck 11">
              <a:extLst>
                <a:ext uri="{FF2B5EF4-FFF2-40B4-BE49-F238E27FC236}">
                  <a16:creationId xmlns:a16="http://schemas.microsoft.com/office/drawing/2014/main" id="{1929D491-186B-4D62-851D-F02463DF980F}"/>
                </a:ext>
              </a:extLst>
            </p:cNvPr>
            <p:cNvSpPr>
              <a:spLocks noChangeAspect="1"/>
            </p:cNvSpPr>
            <p:nvPr/>
          </p:nvSpPr>
          <p:spPr>
            <a:xfrm rot="10800000" flipH="1">
              <a:off x="5690278" y="1896885"/>
              <a:ext cx="1432915" cy="1284881"/>
            </a:xfrm>
            <a:custGeom>
              <a:avLst/>
              <a:gdLst>
                <a:gd name="connsiteX0" fmla="*/ 0 w 3153831"/>
                <a:gd name="connsiteY0" fmla="*/ 3729037 h 3729037"/>
                <a:gd name="connsiteX1" fmla="*/ 0 w 3153831"/>
                <a:gd name="connsiteY1" fmla="*/ 0 h 3729037"/>
                <a:gd name="connsiteX2" fmla="*/ 3153831 w 3153831"/>
                <a:gd name="connsiteY2" fmla="*/ 3729037 h 3729037"/>
                <a:gd name="connsiteX3" fmla="*/ 0 w 3153831"/>
                <a:gd name="connsiteY3" fmla="*/ 3729037 h 3729037"/>
                <a:gd name="connsiteX0" fmla="*/ 0 w 3187698"/>
                <a:gd name="connsiteY0" fmla="*/ 3729037 h 3729037"/>
                <a:gd name="connsiteX1" fmla="*/ 0 w 3187698"/>
                <a:gd name="connsiteY1" fmla="*/ 0 h 3729037"/>
                <a:gd name="connsiteX2" fmla="*/ 3187698 w 3187698"/>
                <a:gd name="connsiteY2" fmla="*/ 3729037 h 3729037"/>
                <a:gd name="connsiteX3" fmla="*/ 0 w 3187698"/>
                <a:gd name="connsiteY3" fmla="*/ 3729037 h 3729037"/>
                <a:gd name="connsiteX0" fmla="*/ 0 w 3204631"/>
                <a:gd name="connsiteY0" fmla="*/ 3729037 h 3737503"/>
                <a:gd name="connsiteX1" fmla="*/ 0 w 3204631"/>
                <a:gd name="connsiteY1" fmla="*/ 0 h 3737503"/>
                <a:gd name="connsiteX2" fmla="*/ 3204631 w 3204631"/>
                <a:gd name="connsiteY2" fmla="*/ 3737503 h 3737503"/>
                <a:gd name="connsiteX3" fmla="*/ 0 w 3204631"/>
                <a:gd name="connsiteY3" fmla="*/ 3729037 h 3737503"/>
                <a:gd name="connsiteX0" fmla="*/ 0 w 3204632"/>
                <a:gd name="connsiteY0" fmla="*/ 3729037 h 3734857"/>
                <a:gd name="connsiteX1" fmla="*/ 0 w 3204632"/>
                <a:gd name="connsiteY1" fmla="*/ 0 h 3734857"/>
                <a:gd name="connsiteX2" fmla="*/ 3204632 w 3204632"/>
                <a:gd name="connsiteY2" fmla="*/ 3734857 h 3734857"/>
                <a:gd name="connsiteX3" fmla="*/ 0 w 3204632"/>
                <a:gd name="connsiteY3" fmla="*/ 3729037 h 3734857"/>
                <a:gd name="connsiteX0" fmla="*/ 0 w 3201220"/>
                <a:gd name="connsiteY0" fmla="*/ 3729037 h 3731445"/>
                <a:gd name="connsiteX1" fmla="*/ 0 w 3201220"/>
                <a:gd name="connsiteY1" fmla="*/ 0 h 3731445"/>
                <a:gd name="connsiteX2" fmla="*/ 3201220 w 3201220"/>
                <a:gd name="connsiteY2" fmla="*/ 3731445 h 3731445"/>
                <a:gd name="connsiteX3" fmla="*/ 0 w 3201220"/>
                <a:gd name="connsiteY3" fmla="*/ 3729037 h 3731445"/>
              </a:gdLst>
              <a:ahLst/>
              <a:cxnLst>
                <a:cxn ang="0">
                  <a:pos x="connsiteX0" y="connsiteY0"/>
                </a:cxn>
                <a:cxn ang="0">
                  <a:pos x="connsiteX1" y="connsiteY1"/>
                </a:cxn>
                <a:cxn ang="0">
                  <a:pos x="connsiteX2" y="connsiteY2"/>
                </a:cxn>
                <a:cxn ang="0">
                  <a:pos x="connsiteX3" y="connsiteY3"/>
                </a:cxn>
              </a:cxnLst>
              <a:rect l="l" t="t" r="r" b="b"/>
              <a:pathLst>
                <a:path w="3201220" h="3731445">
                  <a:moveTo>
                    <a:pt x="0" y="3729037"/>
                  </a:moveTo>
                  <a:lnTo>
                    <a:pt x="0" y="0"/>
                  </a:lnTo>
                  <a:lnTo>
                    <a:pt x="3201220" y="3731445"/>
                  </a:lnTo>
                  <a:lnTo>
                    <a:pt x="0" y="3729037"/>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M05 Text Office" panose="020B0504040000000004" pitchFamily="34" charset="0"/>
              </a:endParaRPr>
            </a:p>
          </p:txBody>
        </p:sp>
        <p:sp>
          <p:nvSpPr>
            <p:cNvPr id="16" name="Textplatzhalter 2">
              <a:extLst>
                <a:ext uri="{FF2B5EF4-FFF2-40B4-BE49-F238E27FC236}">
                  <a16:creationId xmlns:a16="http://schemas.microsoft.com/office/drawing/2014/main" id="{468B6782-045A-4E63-B5DC-A1AAD589CFF5}"/>
                </a:ext>
              </a:extLst>
            </p:cNvPr>
            <p:cNvSpPr txBox="1">
              <a:spLocks noChangeAspect="1"/>
            </p:cNvSpPr>
            <p:nvPr/>
          </p:nvSpPr>
          <p:spPr>
            <a:xfrm>
              <a:off x="3901439" y="1905538"/>
              <a:ext cx="1792761" cy="4228023"/>
            </a:xfrm>
            <a:custGeom>
              <a:avLst/>
              <a:gdLst>
                <a:gd name="connsiteX0" fmla="*/ 0 w 10191750"/>
                <a:gd name="connsiteY0" fmla="*/ 0 h 6858000"/>
                <a:gd name="connsiteX1" fmla="*/ 6762750 w 10191750"/>
                <a:gd name="connsiteY1" fmla="*/ 0 h 6858000"/>
                <a:gd name="connsiteX2" fmla="*/ 10191750 w 10191750"/>
                <a:gd name="connsiteY2" fmla="*/ 3429000 h 6858000"/>
                <a:gd name="connsiteX3" fmla="*/ 10191750 w 10191750"/>
                <a:gd name="connsiteY3" fmla="*/ 6858000 h 6858000"/>
                <a:gd name="connsiteX4" fmla="*/ 0 w 10191750"/>
                <a:gd name="connsiteY4" fmla="*/ 6858000 h 6858000"/>
                <a:gd name="connsiteX5" fmla="*/ 0 w 10191750"/>
                <a:gd name="connsiteY5" fmla="*/ 0 h 6858000"/>
                <a:gd name="connsiteX0" fmla="*/ 0 w 10191750"/>
                <a:gd name="connsiteY0" fmla="*/ 9525 h 6867525"/>
                <a:gd name="connsiteX1" fmla="*/ 4410075 w 10191750"/>
                <a:gd name="connsiteY1" fmla="*/ 0 h 6867525"/>
                <a:gd name="connsiteX2" fmla="*/ 10191750 w 10191750"/>
                <a:gd name="connsiteY2" fmla="*/ 3438525 h 6867525"/>
                <a:gd name="connsiteX3" fmla="*/ 10191750 w 10191750"/>
                <a:gd name="connsiteY3" fmla="*/ 6867525 h 6867525"/>
                <a:gd name="connsiteX4" fmla="*/ 0 w 10191750"/>
                <a:gd name="connsiteY4" fmla="*/ 6867525 h 6867525"/>
                <a:gd name="connsiteX5" fmla="*/ 0 w 10191750"/>
                <a:gd name="connsiteY5" fmla="*/ 9525 h 6867525"/>
                <a:gd name="connsiteX0" fmla="*/ 0 w 10191750"/>
                <a:gd name="connsiteY0" fmla="*/ 9525 h 6867525"/>
                <a:gd name="connsiteX1" fmla="*/ 4410075 w 10191750"/>
                <a:gd name="connsiteY1" fmla="*/ 0 h 6867525"/>
                <a:gd name="connsiteX2" fmla="*/ 10172700 w 10191750"/>
                <a:gd name="connsiteY2" fmla="*/ 5781675 h 6867525"/>
                <a:gd name="connsiteX3" fmla="*/ 10191750 w 10191750"/>
                <a:gd name="connsiteY3" fmla="*/ 6867525 h 6867525"/>
                <a:gd name="connsiteX4" fmla="*/ 0 w 10191750"/>
                <a:gd name="connsiteY4" fmla="*/ 6867525 h 6867525"/>
                <a:gd name="connsiteX5" fmla="*/ 0 w 10191750"/>
                <a:gd name="connsiteY5" fmla="*/ 9525 h 6867525"/>
                <a:gd name="connsiteX0" fmla="*/ 0 w 10176285"/>
                <a:gd name="connsiteY0" fmla="*/ 9525 h 6867525"/>
                <a:gd name="connsiteX1" fmla="*/ 4410075 w 10176285"/>
                <a:gd name="connsiteY1" fmla="*/ 0 h 6867525"/>
                <a:gd name="connsiteX2" fmla="*/ 10172700 w 10176285"/>
                <a:gd name="connsiteY2" fmla="*/ 5781675 h 6867525"/>
                <a:gd name="connsiteX3" fmla="*/ 10176285 w 10176285"/>
                <a:gd name="connsiteY3" fmla="*/ 6867525 h 6867525"/>
                <a:gd name="connsiteX4" fmla="*/ 0 w 10176285"/>
                <a:gd name="connsiteY4" fmla="*/ 6867525 h 6867525"/>
                <a:gd name="connsiteX5" fmla="*/ 0 w 10176285"/>
                <a:gd name="connsiteY5" fmla="*/ 9525 h 6867525"/>
                <a:gd name="connsiteX0" fmla="*/ 0 w 10176285"/>
                <a:gd name="connsiteY0" fmla="*/ 9525 h 6867525"/>
                <a:gd name="connsiteX1" fmla="*/ 7590398 w 10176285"/>
                <a:gd name="connsiteY1" fmla="*/ 0 h 6867525"/>
                <a:gd name="connsiteX2" fmla="*/ 10172700 w 10176285"/>
                <a:gd name="connsiteY2" fmla="*/ 5781675 h 6867525"/>
                <a:gd name="connsiteX3" fmla="*/ 10176285 w 10176285"/>
                <a:gd name="connsiteY3" fmla="*/ 6867525 h 6867525"/>
                <a:gd name="connsiteX4" fmla="*/ 0 w 10176285"/>
                <a:gd name="connsiteY4" fmla="*/ 6867525 h 6867525"/>
                <a:gd name="connsiteX5" fmla="*/ 0 w 10176285"/>
                <a:gd name="connsiteY5" fmla="*/ 9525 h 6867525"/>
                <a:gd name="connsiteX0" fmla="*/ 0 w 10176285"/>
                <a:gd name="connsiteY0" fmla="*/ 9525 h 6867525"/>
                <a:gd name="connsiteX1" fmla="*/ 7590398 w 10176285"/>
                <a:gd name="connsiteY1" fmla="*/ 0 h 6867525"/>
                <a:gd name="connsiteX2" fmla="*/ 10154932 w 10176285"/>
                <a:gd name="connsiteY2" fmla="*/ 1994458 h 6867525"/>
                <a:gd name="connsiteX3" fmla="*/ 10176285 w 10176285"/>
                <a:gd name="connsiteY3" fmla="*/ 6867525 h 6867525"/>
                <a:gd name="connsiteX4" fmla="*/ 0 w 10176285"/>
                <a:gd name="connsiteY4" fmla="*/ 6867525 h 6867525"/>
                <a:gd name="connsiteX5" fmla="*/ 0 w 10176285"/>
                <a:gd name="connsiteY5" fmla="*/ 9525 h 6867525"/>
                <a:gd name="connsiteX0" fmla="*/ 0 w 10176285"/>
                <a:gd name="connsiteY0" fmla="*/ 9525 h 6867525"/>
                <a:gd name="connsiteX1" fmla="*/ 7590398 w 10176285"/>
                <a:gd name="connsiteY1" fmla="*/ 0 h 6867525"/>
                <a:gd name="connsiteX2" fmla="*/ 10154932 w 10176285"/>
                <a:gd name="connsiteY2" fmla="*/ 1994458 h 6867525"/>
                <a:gd name="connsiteX3" fmla="*/ 10176285 w 10176285"/>
                <a:gd name="connsiteY3" fmla="*/ 6867525 h 6867525"/>
                <a:gd name="connsiteX4" fmla="*/ 0 w 10176285"/>
                <a:gd name="connsiteY4" fmla="*/ 6867525 h 6867525"/>
                <a:gd name="connsiteX5" fmla="*/ 0 w 10176285"/>
                <a:gd name="connsiteY5" fmla="*/ 9525 h 6867525"/>
                <a:gd name="connsiteX0" fmla="*/ 0 w 10176285"/>
                <a:gd name="connsiteY0" fmla="*/ 1397 h 6859397"/>
                <a:gd name="connsiteX1" fmla="*/ 7590398 w 10176285"/>
                <a:gd name="connsiteY1" fmla="*/ 0 h 6859397"/>
                <a:gd name="connsiteX2" fmla="*/ 10154932 w 10176285"/>
                <a:gd name="connsiteY2" fmla="*/ 1986330 h 6859397"/>
                <a:gd name="connsiteX3" fmla="*/ 10176285 w 10176285"/>
                <a:gd name="connsiteY3" fmla="*/ 6859397 h 6859397"/>
                <a:gd name="connsiteX4" fmla="*/ 0 w 10176285"/>
                <a:gd name="connsiteY4" fmla="*/ 6859397 h 6859397"/>
                <a:gd name="connsiteX5" fmla="*/ 0 w 10176285"/>
                <a:gd name="connsiteY5" fmla="*/ 1397 h 6859397"/>
                <a:gd name="connsiteX0" fmla="*/ 0 w 10176285"/>
                <a:gd name="connsiteY0" fmla="*/ -1 h 6857999"/>
                <a:gd name="connsiteX1" fmla="*/ 7590398 w 10176285"/>
                <a:gd name="connsiteY1" fmla="*/ 6731 h 6857999"/>
                <a:gd name="connsiteX2" fmla="*/ 10154932 w 10176285"/>
                <a:gd name="connsiteY2" fmla="*/ 1984932 h 6857999"/>
                <a:gd name="connsiteX3" fmla="*/ 10176285 w 10176285"/>
                <a:gd name="connsiteY3" fmla="*/ 6857999 h 6857999"/>
                <a:gd name="connsiteX4" fmla="*/ 0 w 10176285"/>
                <a:gd name="connsiteY4" fmla="*/ 6857999 h 6857999"/>
                <a:gd name="connsiteX5" fmla="*/ 0 w 10176285"/>
                <a:gd name="connsiteY5" fmla="*/ -1 h 6857999"/>
                <a:gd name="connsiteX0" fmla="*/ 0 w 10176285"/>
                <a:gd name="connsiteY0" fmla="*/ 0 h 6853937"/>
                <a:gd name="connsiteX1" fmla="*/ 7590398 w 10176285"/>
                <a:gd name="connsiteY1" fmla="*/ 2669 h 6853937"/>
                <a:gd name="connsiteX2" fmla="*/ 10154932 w 10176285"/>
                <a:gd name="connsiteY2" fmla="*/ 1980870 h 6853937"/>
                <a:gd name="connsiteX3" fmla="*/ 10176285 w 10176285"/>
                <a:gd name="connsiteY3" fmla="*/ 6853937 h 6853937"/>
                <a:gd name="connsiteX4" fmla="*/ 0 w 10176285"/>
                <a:gd name="connsiteY4" fmla="*/ 6853937 h 6853937"/>
                <a:gd name="connsiteX5" fmla="*/ 0 w 10176285"/>
                <a:gd name="connsiteY5" fmla="*/ 0 h 6853937"/>
                <a:gd name="connsiteX0" fmla="*/ 0 w 10176285"/>
                <a:gd name="connsiteY0" fmla="*/ 0 h 6853937"/>
                <a:gd name="connsiteX1" fmla="*/ 7590398 w 10176285"/>
                <a:gd name="connsiteY1" fmla="*/ 2669 h 6853937"/>
                <a:gd name="connsiteX2" fmla="*/ 10159535 w 10176285"/>
                <a:gd name="connsiteY2" fmla="*/ 1992690 h 6853937"/>
                <a:gd name="connsiteX3" fmla="*/ 10176285 w 10176285"/>
                <a:gd name="connsiteY3" fmla="*/ 6853937 h 6853937"/>
                <a:gd name="connsiteX4" fmla="*/ 0 w 10176285"/>
                <a:gd name="connsiteY4" fmla="*/ 6853937 h 6853937"/>
                <a:gd name="connsiteX5" fmla="*/ 0 w 10176285"/>
                <a:gd name="connsiteY5" fmla="*/ 0 h 6853937"/>
                <a:gd name="connsiteX0" fmla="*/ 0 w 10176285"/>
                <a:gd name="connsiteY0" fmla="*/ 0 h 6853937"/>
                <a:gd name="connsiteX1" fmla="*/ 7590398 w 10176285"/>
                <a:gd name="connsiteY1" fmla="*/ 2669 h 6853937"/>
                <a:gd name="connsiteX2" fmla="*/ 10159535 w 10176285"/>
                <a:gd name="connsiteY2" fmla="*/ 1992690 h 6853937"/>
                <a:gd name="connsiteX3" fmla="*/ 10176285 w 10176285"/>
                <a:gd name="connsiteY3" fmla="*/ 6853937 h 6853937"/>
                <a:gd name="connsiteX4" fmla="*/ 0 w 10176285"/>
                <a:gd name="connsiteY4" fmla="*/ 6853937 h 6853937"/>
                <a:gd name="connsiteX5" fmla="*/ 0 w 10176285"/>
                <a:gd name="connsiteY5" fmla="*/ 0 h 6853937"/>
                <a:gd name="connsiteX0" fmla="*/ 0 w 10171682"/>
                <a:gd name="connsiteY0" fmla="*/ 0 h 6853937"/>
                <a:gd name="connsiteX1" fmla="*/ 7590398 w 10171682"/>
                <a:gd name="connsiteY1" fmla="*/ 2669 h 6853937"/>
                <a:gd name="connsiteX2" fmla="*/ 10159535 w 10171682"/>
                <a:gd name="connsiteY2" fmla="*/ 199269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1682"/>
                <a:gd name="connsiteY0" fmla="*/ 0 h 6853937"/>
                <a:gd name="connsiteX1" fmla="*/ 7590398 w 10171682"/>
                <a:gd name="connsiteY1" fmla="*/ 2669 h 6853937"/>
                <a:gd name="connsiteX2" fmla="*/ 10159536 w 10171682"/>
                <a:gd name="connsiteY2" fmla="*/ 198481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1682"/>
                <a:gd name="connsiteY0" fmla="*/ 0 h 6853937"/>
                <a:gd name="connsiteX1" fmla="*/ 7590398 w 10171682"/>
                <a:gd name="connsiteY1" fmla="*/ 2669 h 6853937"/>
                <a:gd name="connsiteX2" fmla="*/ 10164139 w 10171682"/>
                <a:gd name="connsiteY2" fmla="*/ 198481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1682"/>
                <a:gd name="connsiteY0" fmla="*/ 0 h 6853937"/>
                <a:gd name="connsiteX1" fmla="*/ 7590398 w 10171682"/>
                <a:gd name="connsiteY1" fmla="*/ 2669 h 6853937"/>
                <a:gd name="connsiteX2" fmla="*/ 10164139 w 10171682"/>
                <a:gd name="connsiteY2" fmla="*/ 198481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1682"/>
                <a:gd name="connsiteY0" fmla="*/ 0 h 6853937"/>
                <a:gd name="connsiteX1" fmla="*/ 7590398 w 10171682"/>
                <a:gd name="connsiteY1" fmla="*/ 2669 h 6853937"/>
                <a:gd name="connsiteX2" fmla="*/ 10164139 w 10171682"/>
                <a:gd name="connsiteY2" fmla="*/ 1984810 h 6853937"/>
                <a:gd name="connsiteX3" fmla="*/ 10171682 w 10171682"/>
                <a:gd name="connsiteY3" fmla="*/ 6853937 h 6853937"/>
                <a:gd name="connsiteX4" fmla="*/ 0 w 10171682"/>
                <a:gd name="connsiteY4" fmla="*/ 6853937 h 6853937"/>
                <a:gd name="connsiteX5" fmla="*/ 0 w 10171682"/>
                <a:gd name="connsiteY5" fmla="*/ 0 h 6853937"/>
                <a:gd name="connsiteX0" fmla="*/ 0 w 10172137"/>
                <a:gd name="connsiteY0" fmla="*/ 0 h 6853937"/>
                <a:gd name="connsiteX1" fmla="*/ 7590398 w 10172137"/>
                <a:gd name="connsiteY1" fmla="*/ 2669 h 6853937"/>
                <a:gd name="connsiteX2" fmla="*/ 10168741 w 10172137"/>
                <a:gd name="connsiteY2" fmla="*/ 1984810 h 6853937"/>
                <a:gd name="connsiteX3" fmla="*/ 10171682 w 10172137"/>
                <a:gd name="connsiteY3" fmla="*/ 6853937 h 6853937"/>
                <a:gd name="connsiteX4" fmla="*/ 0 w 10172137"/>
                <a:gd name="connsiteY4" fmla="*/ 6853937 h 6853937"/>
                <a:gd name="connsiteX5" fmla="*/ 0 w 10172137"/>
                <a:gd name="connsiteY5" fmla="*/ 0 h 6853937"/>
                <a:gd name="connsiteX0" fmla="*/ 0 w 10175589"/>
                <a:gd name="connsiteY0" fmla="*/ 0 h 6853937"/>
                <a:gd name="connsiteX1" fmla="*/ 7590398 w 10175589"/>
                <a:gd name="connsiteY1" fmla="*/ 2669 h 6853937"/>
                <a:gd name="connsiteX2" fmla="*/ 10173172 w 10175589"/>
                <a:gd name="connsiteY2" fmla="*/ 1984810 h 6853937"/>
                <a:gd name="connsiteX3" fmla="*/ 10171682 w 10175589"/>
                <a:gd name="connsiteY3" fmla="*/ 6853937 h 6853937"/>
                <a:gd name="connsiteX4" fmla="*/ 0 w 10175589"/>
                <a:gd name="connsiteY4" fmla="*/ 6853937 h 6853937"/>
                <a:gd name="connsiteX5" fmla="*/ 0 w 10175589"/>
                <a:gd name="connsiteY5" fmla="*/ 0 h 6853937"/>
                <a:gd name="connsiteX0" fmla="*/ 0 w 10176567"/>
                <a:gd name="connsiteY0" fmla="*/ 0 h 6853937"/>
                <a:gd name="connsiteX1" fmla="*/ 7590398 w 10176567"/>
                <a:gd name="connsiteY1" fmla="*/ 2669 h 6853937"/>
                <a:gd name="connsiteX2" fmla="*/ 10173172 w 10176567"/>
                <a:gd name="connsiteY2" fmla="*/ 1984810 h 6853937"/>
                <a:gd name="connsiteX3" fmla="*/ 10176113 w 10176567"/>
                <a:gd name="connsiteY3" fmla="*/ 6850145 h 6853937"/>
                <a:gd name="connsiteX4" fmla="*/ 0 w 10176567"/>
                <a:gd name="connsiteY4" fmla="*/ 6853937 h 6853937"/>
                <a:gd name="connsiteX5" fmla="*/ 0 w 10176567"/>
                <a:gd name="connsiteY5" fmla="*/ 0 h 6853937"/>
                <a:gd name="connsiteX0" fmla="*/ 0 w 10176112"/>
                <a:gd name="connsiteY0" fmla="*/ 0 h 6853937"/>
                <a:gd name="connsiteX1" fmla="*/ 7590398 w 10176112"/>
                <a:gd name="connsiteY1" fmla="*/ 2669 h 6853937"/>
                <a:gd name="connsiteX2" fmla="*/ 10168743 w 10176112"/>
                <a:gd name="connsiteY2" fmla="*/ 1992395 h 6853937"/>
                <a:gd name="connsiteX3" fmla="*/ 10176113 w 10176112"/>
                <a:gd name="connsiteY3" fmla="*/ 6850145 h 6853937"/>
                <a:gd name="connsiteX4" fmla="*/ 0 w 10176112"/>
                <a:gd name="connsiteY4" fmla="*/ 6853937 h 6853937"/>
                <a:gd name="connsiteX5" fmla="*/ 0 w 10176112"/>
                <a:gd name="connsiteY5" fmla="*/ 0 h 6853937"/>
                <a:gd name="connsiteX0" fmla="*/ 0 w 10176114"/>
                <a:gd name="connsiteY0" fmla="*/ 0 h 6853937"/>
                <a:gd name="connsiteX1" fmla="*/ 7590398 w 10176114"/>
                <a:gd name="connsiteY1" fmla="*/ 2669 h 6853937"/>
                <a:gd name="connsiteX2" fmla="*/ 10168744 w 10176114"/>
                <a:gd name="connsiteY2" fmla="*/ 1999783 h 6853937"/>
                <a:gd name="connsiteX3" fmla="*/ 10176113 w 10176114"/>
                <a:gd name="connsiteY3" fmla="*/ 6850145 h 6853937"/>
                <a:gd name="connsiteX4" fmla="*/ 0 w 10176114"/>
                <a:gd name="connsiteY4" fmla="*/ 6853937 h 6853937"/>
                <a:gd name="connsiteX5" fmla="*/ 0 w 10176114"/>
                <a:gd name="connsiteY5" fmla="*/ 0 h 6853937"/>
                <a:gd name="connsiteX0" fmla="*/ 0 w 10176112"/>
                <a:gd name="connsiteY0" fmla="*/ 4717 h 6858654"/>
                <a:gd name="connsiteX1" fmla="*/ 7590397 w 10176112"/>
                <a:gd name="connsiteY1" fmla="*/ 0 h 6858654"/>
                <a:gd name="connsiteX2" fmla="*/ 10168744 w 10176112"/>
                <a:gd name="connsiteY2" fmla="*/ 2004500 h 6858654"/>
                <a:gd name="connsiteX3" fmla="*/ 10176113 w 10176112"/>
                <a:gd name="connsiteY3" fmla="*/ 6854862 h 6858654"/>
                <a:gd name="connsiteX4" fmla="*/ 0 w 10176112"/>
                <a:gd name="connsiteY4" fmla="*/ 6858654 h 6858654"/>
                <a:gd name="connsiteX5" fmla="*/ 0 w 10176112"/>
                <a:gd name="connsiteY5" fmla="*/ 4717 h 6858654"/>
                <a:gd name="connsiteX0" fmla="*/ 0 w 10176114"/>
                <a:gd name="connsiteY0" fmla="*/ 0 h 6861325"/>
                <a:gd name="connsiteX1" fmla="*/ 7590397 w 10176114"/>
                <a:gd name="connsiteY1" fmla="*/ 2671 h 6861325"/>
                <a:gd name="connsiteX2" fmla="*/ 10168744 w 10176114"/>
                <a:gd name="connsiteY2" fmla="*/ 2007171 h 6861325"/>
                <a:gd name="connsiteX3" fmla="*/ 10176113 w 10176114"/>
                <a:gd name="connsiteY3" fmla="*/ 6857533 h 6861325"/>
                <a:gd name="connsiteX4" fmla="*/ 0 w 10176114"/>
                <a:gd name="connsiteY4" fmla="*/ 6861325 h 6861325"/>
                <a:gd name="connsiteX5" fmla="*/ 0 w 10176114"/>
                <a:gd name="connsiteY5" fmla="*/ 0 h 6861325"/>
                <a:gd name="connsiteX0" fmla="*/ 0 w 10176112"/>
                <a:gd name="connsiteY0" fmla="*/ 0 h 6861325"/>
                <a:gd name="connsiteX1" fmla="*/ 7590397 w 10176112"/>
                <a:gd name="connsiteY1" fmla="*/ 2671 h 6861325"/>
                <a:gd name="connsiteX2" fmla="*/ 10168744 w 10176112"/>
                <a:gd name="connsiteY2" fmla="*/ 2007171 h 6861325"/>
                <a:gd name="connsiteX3" fmla="*/ 10176113 w 10176112"/>
                <a:gd name="connsiteY3" fmla="*/ 6857533 h 6861325"/>
                <a:gd name="connsiteX4" fmla="*/ 0 w 10176112"/>
                <a:gd name="connsiteY4" fmla="*/ 6861325 h 6861325"/>
                <a:gd name="connsiteX5" fmla="*/ 0 w 10176112"/>
                <a:gd name="connsiteY5" fmla="*/ 0 h 6861325"/>
                <a:gd name="connsiteX0" fmla="*/ 0 w 10176114"/>
                <a:gd name="connsiteY0" fmla="*/ 0 h 6861325"/>
                <a:gd name="connsiteX1" fmla="*/ 7590397 w 10176114"/>
                <a:gd name="connsiteY1" fmla="*/ 2671 h 6861325"/>
                <a:gd name="connsiteX2" fmla="*/ 10168744 w 10176114"/>
                <a:gd name="connsiteY2" fmla="*/ 2007171 h 6861325"/>
                <a:gd name="connsiteX3" fmla="*/ 10176113 w 10176114"/>
                <a:gd name="connsiteY3" fmla="*/ 6857533 h 6861325"/>
                <a:gd name="connsiteX4" fmla="*/ 0 w 10176114"/>
                <a:gd name="connsiteY4" fmla="*/ 6861325 h 6861325"/>
                <a:gd name="connsiteX5" fmla="*/ 0 w 10176114"/>
                <a:gd name="connsiteY5" fmla="*/ 0 h 6861325"/>
                <a:gd name="connsiteX0" fmla="*/ 0 w 10176112"/>
                <a:gd name="connsiteY0" fmla="*/ 0 h 6861325"/>
                <a:gd name="connsiteX1" fmla="*/ 7590397 w 10176112"/>
                <a:gd name="connsiteY1" fmla="*/ 2671 h 6861325"/>
                <a:gd name="connsiteX2" fmla="*/ 10168744 w 10176112"/>
                <a:gd name="connsiteY2" fmla="*/ 2007171 h 6861325"/>
                <a:gd name="connsiteX3" fmla="*/ 10176113 w 10176112"/>
                <a:gd name="connsiteY3" fmla="*/ 6857533 h 6861325"/>
                <a:gd name="connsiteX4" fmla="*/ 0 w 10176112"/>
                <a:gd name="connsiteY4" fmla="*/ 6861325 h 6861325"/>
                <a:gd name="connsiteX5" fmla="*/ 0 w 10176112"/>
                <a:gd name="connsiteY5" fmla="*/ 0 h 6861325"/>
                <a:gd name="connsiteX0" fmla="*/ 0 w 10176114"/>
                <a:gd name="connsiteY0" fmla="*/ 0 h 6861325"/>
                <a:gd name="connsiteX1" fmla="*/ 7590397 w 10176114"/>
                <a:gd name="connsiteY1" fmla="*/ 2671 h 6861325"/>
                <a:gd name="connsiteX2" fmla="*/ 10168744 w 10176114"/>
                <a:gd name="connsiteY2" fmla="*/ 2007171 h 6861325"/>
                <a:gd name="connsiteX3" fmla="*/ 10176113 w 10176114"/>
                <a:gd name="connsiteY3" fmla="*/ 6857533 h 6861325"/>
                <a:gd name="connsiteX4" fmla="*/ 0 w 10176114"/>
                <a:gd name="connsiteY4" fmla="*/ 6861325 h 6861325"/>
                <a:gd name="connsiteX5" fmla="*/ 0 w 10176114"/>
                <a:gd name="connsiteY5" fmla="*/ 0 h 6861325"/>
                <a:gd name="connsiteX0" fmla="*/ 0 w 10176112"/>
                <a:gd name="connsiteY0" fmla="*/ 0 h 6861325"/>
                <a:gd name="connsiteX1" fmla="*/ 7590397 w 10176112"/>
                <a:gd name="connsiteY1" fmla="*/ 2671 h 6861325"/>
                <a:gd name="connsiteX2" fmla="*/ 10168744 w 10176112"/>
                <a:gd name="connsiteY2" fmla="*/ 2007171 h 6861325"/>
                <a:gd name="connsiteX3" fmla="*/ 10176113 w 10176112"/>
                <a:gd name="connsiteY3" fmla="*/ 6857533 h 6861325"/>
                <a:gd name="connsiteX4" fmla="*/ 0 w 10176112"/>
                <a:gd name="connsiteY4" fmla="*/ 6861325 h 6861325"/>
                <a:gd name="connsiteX5" fmla="*/ 0 w 10176112"/>
                <a:gd name="connsiteY5" fmla="*/ 0 h 6861325"/>
                <a:gd name="connsiteX0" fmla="*/ 0 w 10176114"/>
                <a:gd name="connsiteY0" fmla="*/ 0 h 6861325"/>
                <a:gd name="connsiteX1" fmla="*/ 7590397 w 10176114"/>
                <a:gd name="connsiteY1" fmla="*/ 2671 h 6861325"/>
                <a:gd name="connsiteX2" fmla="*/ 10168744 w 10176114"/>
                <a:gd name="connsiteY2" fmla="*/ 2007171 h 6861325"/>
                <a:gd name="connsiteX3" fmla="*/ 10176113 w 10176114"/>
                <a:gd name="connsiteY3" fmla="*/ 6857533 h 6861325"/>
                <a:gd name="connsiteX4" fmla="*/ 0 w 10176114"/>
                <a:gd name="connsiteY4" fmla="*/ 6861325 h 6861325"/>
                <a:gd name="connsiteX5" fmla="*/ 0 w 10176114"/>
                <a:gd name="connsiteY5" fmla="*/ 0 h 6861325"/>
                <a:gd name="connsiteX0" fmla="*/ 0 w 10176112"/>
                <a:gd name="connsiteY0" fmla="*/ 4715 h 6866040"/>
                <a:gd name="connsiteX1" fmla="*/ 7594712 w 10176112"/>
                <a:gd name="connsiteY1" fmla="*/ 0 h 6866040"/>
                <a:gd name="connsiteX2" fmla="*/ 10168744 w 10176112"/>
                <a:gd name="connsiteY2" fmla="*/ 2011886 h 6866040"/>
                <a:gd name="connsiteX3" fmla="*/ 10176113 w 10176112"/>
                <a:gd name="connsiteY3" fmla="*/ 6862248 h 6866040"/>
                <a:gd name="connsiteX4" fmla="*/ 0 w 10176112"/>
                <a:gd name="connsiteY4" fmla="*/ 6866040 h 6866040"/>
                <a:gd name="connsiteX5" fmla="*/ 0 w 10176112"/>
                <a:gd name="connsiteY5" fmla="*/ 4715 h 686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6112" h="6866040">
                  <a:moveTo>
                    <a:pt x="0" y="4715"/>
                  </a:moveTo>
                  <a:lnTo>
                    <a:pt x="7594712" y="0"/>
                  </a:lnTo>
                  <a:lnTo>
                    <a:pt x="10168744" y="2011886"/>
                  </a:lnTo>
                  <a:cubicBezTo>
                    <a:pt x="10175862" y="3636242"/>
                    <a:pt x="10173598" y="6683790"/>
                    <a:pt x="10176113" y="6862248"/>
                  </a:cubicBezTo>
                  <a:lnTo>
                    <a:pt x="0" y="6866040"/>
                  </a:lnTo>
                  <a:lnTo>
                    <a:pt x="0" y="4715"/>
                  </a:lnTo>
                  <a:close/>
                </a:path>
              </a:pathLst>
            </a:custGeom>
            <a:ln>
              <a:solidFill>
                <a:schemeClr val="bg1">
                  <a:lumMod val="65000"/>
                </a:schemeClr>
              </a:solidFill>
            </a:ln>
          </p:spPr>
          <p:txBody>
            <a:bodyPr wrap="square" tIns="360000" rIns="864000" bIns="90000">
              <a:noAutofit/>
            </a:bodyPr>
            <a:lst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400" kern="1200">
                  <a:solidFill>
                    <a:schemeClr val="tx1"/>
                  </a:solidFill>
                  <a:latin typeface="M05 Text Office" panose="020B0504040000000004" pitchFamily="34" charset="0"/>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a:p>
            <a:p>
              <a:endParaRPr lang="de-DE"/>
            </a:p>
          </p:txBody>
        </p:sp>
        <p:sp>
          <p:nvSpPr>
            <p:cNvPr id="18" name="Rechtwinkliges Dreieck 7">
              <a:extLst>
                <a:ext uri="{FF2B5EF4-FFF2-40B4-BE49-F238E27FC236}">
                  <a16:creationId xmlns:a16="http://schemas.microsoft.com/office/drawing/2014/main" id="{F1A36D6D-4082-458D-B60C-2C297F63386A}"/>
                </a:ext>
              </a:extLst>
            </p:cNvPr>
            <p:cNvSpPr>
              <a:spLocks noChangeAspect="1"/>
            </p:cNvSpPr>
            <p:nvPr/>
          </p:nvSpPr>
          <p:spPr>
            <a:xfrm rot="10800000">
              <a:off x="4289734" y="1896885"/>
              <a:ext cx="1407584" cy="1284052"/>
            </a:xfrm>
            <a:custGeom>
              <a:avLst/>
              <a:gdLst>
                <a:gd name="connsiteX0" fmla="*/ 0 w 1411703"/>
                <a:gd name="connsiteY0" fmla="*/ 1284052 h 1284052"/>
                <a:gd name="connsiteX1" fmla="*/ 0 w 1411703"/>
                <a:gd name="connsiteY1" fmla="*/ 0 h 1284052"/>
                <a:gd name="connsiteX2" fmla="*/ 1411703 w 1411703"/>
                <a:gd name="connsiteY2" fmla="*/ 1284052 h 1284052"/>
                <a:gd name="connsiteX3" fmla="*/ 0 w 1411703"/>
                <a:gd name="connsiteY3" fmla="*/ 1284052 h 1284052"/>
                <a:gd name="connsiteX0" fmla="*/ 0 w 1411703"/>
                <a:gd name="connsiteY0" fmla="*/ 1284052 h 1284052"/>
                <a:gd name="connsiteX1" fmla="*/ 4119 w 1411703"/>
                <a:gd name="connsiteY1" fmla="*/ 0 h 1284052"/>
                <a:gd name="connsiteX2" fmla="*/ 1411703 w 1411703"/>
                <a:gd name="connsiteY2" fmla="*/ 1284052 h 1284052"/>
                <a:gd name="connsiteX3" fmla="*/ 0 w 1411703"/>
                <a:gd name="connsiteY3" fmla="*/ 1284052 h 1284052"/>
                <a:gd name="connsiteX0" fmla="*/ 0 w 1407584"/>
                <a:gd name="connsiteY0" fmla="*/ 1284052 h 1284052"/>
                <a:gd name="connsiteX1" fmla="*/ 0 w 1407584"/>
                <a:gd name="connsiteY1" fmla="*/ 0 h 1284052"/>
                <a:gd name="connsiteX2" fmla="*/ 1407584 w 1407584"/>
                <a:gd name="connsiteY2" fmla="*/ 1284052 h 1284052"/>
                <a:gd name="connsiteX3" fmla="*/ 0 w 1407584"/>
                <a:gd name="connsiteY3" fmla="*/ 1284052 h 1284052"/>
              </a:gdLst>
              <a:ahLst/>
              <a:cxnLst>
                <a:cxn ang="0">
                  <a:pos x="connsiteX0" y="connsiteY0"/>
                </a:cxn>
                <a:cxn ang="0">
                  <a:pos x="connsiteX1" y="connsiteY1"/>
                </a:cxn>
                <a:cxn ang="0">
                  <a:pos x="connsiteX2" y="connsiteY2"/>
                </a:cxn>
                <a:cxn ang="0">
                  <a:pos x="connsiteX3" y="connsiteY3"/>
                </a:cxn>
              </a:cxnLst>
              <a:rect l="l" t="t" r="r" b="b"/>
              <a:pathLst>
                <a:path w="1407584" h="1284052">
                  <a:moveTo>
                    <a:pt x="0" y="1284052"/>
                  </a:moveTo>
                  <a:lnTo>
                    <a:pt x="0" y="0"/>
                  </a:lnTo>
                  <a:lnTo>
                    <a:pt x="1407584" y="1284052"/>
                  </a:lnTo>
                  <a:lnTo>
                    <a:pt x="0" y="128405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M05 Text Office" panose="020B0504040000000004" pitchFamily="34" charset="0"/>
              </a:endParaRPr>
            </a:p>
          </p:txBody>
        </p:sp>
      </p:grpSp>
      <p:sp>
        <p:nvSpPr>
          <p:cNvPr id="22" name="Textplatzhalter 21">
            <a:extLst>
              <a:ext uri="{FF2B5EF4-FFF2-40B4-BE49-F238E27FC236}">
                <a16:creationId xmlns:a16="http://schemas.microsoft.com/office/drawing/2014/main" id="{65216717-9603-4344-B600-52D0F92BE29D}"/>
              </a:ext>
            </a:extLst>
          </p:cNvPr>
          <p:cNvSpPr>
            <a:spLocks noGrp="1"/>
          </p:cNvSpPr>
          <p:nvPr>
            <p:ph type="body" sz="quarter" idx="16" hasCustomPrompt="1"/>
          </p:nvPr>
        </p:nvSpPr>
        <p:spPr>
          <a:xfrm>
            <a:off x="427773" y="1779301"/>
            <a:ext cx="5668227" cy="305862"/>
          </a:xfrm>
          <a:prstGeom prst="rect">
            <a:avLst/>
          </a:prstGeom>
        </p:spPr>
        <p:txBody>
          <a:bodyPr/>
          <a:lstStyle>
            <a:lvl1pPr marL="0" indent="0">
              <a:buNone/>
              <a:defRPr sz="1600">
                <a:latin typeface="M05 Text Office Bold" panose="020B0804040000000004" pitchFamily="34" charset="0"/>
              </a:defRPr>
            </a:lvl1pPr>
          </a:lstStyle>
          <a:p>
            <a:pPr lvl="0"/>
            <a:r>
              <a:rPr lang="de-DE"/>
              <a:t>Titel</a:t>
            </a:r>
          </a:p>
        </p:txBody>
      </p:sp>
      <p:sp>
        <p:nvSpPr>
          <p:cNvPr id="25" name="Textplatzhalter 24">
            <a:extLst>
              <a:ext uri="{FF2B5EF4-FFF2-40B4-BE49-F238E27FC236}">
                <a16:creationId xmlns:a16="http://schemas.microsoft.com/office/drawing/2014/main" id="{C7ED2DFF-8D67-4284-BEF5-006F5ADEE005}"/>
              </a:ext>
            </a:extLst>
          </p:cNvPr>
          <p:cNvSpPr>
            <a:spLocks noGrp="1"/>
          </p:cNvSpPr>
          <p:nvPr>
            <p:ph type="body" sz="quarter" idx="17"/>
          </p:nvPr>
        </p:nvSpPr>
        <p:spPr>
          <a:xfrm>
            <a:off x="427038" y="2193925"/>
            <a:ext cx="5923886" cy="2579688"/>
          </a:xfrm>
          <a:prstGeom prst="rect">
            <a:avLst/>
          </a:prstGeom>
        </p:spPr>
        <p:txBody>
          <a:bodyPr/>
          <a:lstStyle>
            <a:lvl1pPr>
              <a:defRPr>
                <a:latin typeface="M05 Text Office" panose="020B0504040000000004" pitchFamily="34" charset="0"/>
              </a:defRPr>
            </a:lvl1pPr>
            <a:lvl2pPr>
              <a:defRPr>
                <a:latin typeface="M05 Text Office" panose="020B0504040000000004" pitchFamily="34" charset="0"/>
              </a:defRPr>
            </a:lvl2pPr>
            <a:lvl3pPr>
              <a:defRPr>
                <a:latin typeface="M05 Text Office" panose="020B0504040000000004" pitchFamily="34" charset="0"/>
              </a:defRPr>
            </a:lvl3pPr>
            <a:lvl4pPr>
              <a:defRPr>
                <a:latin typeface="M05 Text Office" panose="020B0504040000000004" pitchFamily="34" charset="0"/>
              </a:defRPr>
            </a:lvl4pPr>
            <a:lvl5pPr>
              <a:defRPr>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8" name="Textplatzhalter 21">
            <a:extLst>
              <a:ext uri="{FF2B5EF4-FFF2-40B4-BE49-F238E27FC236}">
                <a16:creationId xmlns:a16="http://schemas.microsoft.com/office/drawing/2014/main" id="{BE4C9A89-362D-45D5-8BB8-8C550ECCDAD2}"/>
              </a:ext>
            </a:extLst>
          </p:cNvPr>
          <p:cNvSpPr>
            <a:spLocks noGrp="1"/>
          </p:cNvSpPr>
          <p:nvPr>
            <p:ph type="body" sz="quarter" idx="18" hasCustomPrompt="1"/>
          </p:nvPr>
        </p:nvSpPr>
        <p:spPr>
          <a:xfrm>
            <a:off x="2802261" y="4937853"/>
            <a:ext cx="513926" cy="231141"/>
          </a:xfrm>
          <a:prstGeom prst="rect">
            <a:avLst/>
          </a:prstGeom>
        </p:spPr>
        <p:txBody>
          <a:bodyPr/>
          <a:lstStyle>
            <a:lvl1pPr marL="0" indent="0">
              <a:buNone/>
              <a:defRPr sz="1200">
                <a:latin typeface="M05 Text Office" panose="020B0504040000000004" pitchFamily="34" charset="0"/>
              </a:defRPr>
            </a:lvl1pPr>
          </a:lstStyle>
          <a:p>
            <a:pPr lvl="0"/>
            <a:r>
              <a:rPr lang="de-DE"/>
              <a:t>Pro</a:t>
            </a:r>
          </a:p>
        </p:txBody>
      </p:sp>
      <p:sp>
        <p:nvSpPr>
          <p:cNvPr id="29" name="Textplatzhalter 21">
            <a:extLst>
              <a:ext uri="{FF2B5EF4-FFF2-40B4-BE49-F238E27FC236}">
                <a16:creationId xmlns:a16="http://schemas.microsoft.com/office/drawing/2014/main" id="{06D8A934-4074-483C-A638-6D6C6669E8B3}"/>
              </a:ext>
            </a:extLst>
          </p:cNvPr>
          <p:cNvSpPr>
            <a:spLocks noGrp="1"/>
          </p:cNvSpPr>
          <p:nvPr>
            <p:ph type="body" sz="quarter" idx="19" hasCustomPrompt="1"/>
          </p:nvPr>
        </p:nvSpPr>
        <p:spPr>
          <a:xfrm>
            <a:off x="3523167" y="4937852"/>
            <a:ext cx="513926" cy="231141"/>
          </a:xfrm>
          <a:prstGeom prst="rect">
            <a:avLst/>
          </a:prstGeom>
        </p:spPr>
        <p:txBody>
          <a:bodyPr/>
          <a:lstStyle>
            <a:lvl1pPr marL="0" indent="0">
              <a:buNone/>
              <a:defRPr sz="1200">
                <a:latin typeface="M05 Text Office" panose="020B0504040000000004" pitchFamily="34" charset="0"/>
              </a:defRPr>
            </a:lvl1pPr>
          </a:lstStyle>
          <a:p>
            <a:pPr lvl="0"/>
            <a:r>
              <a:rPr lang="de-DE" err="1"/>
              <a:t>Con</a:t>
            </a:r>
            <a:endParaRPr lang="de-DE"/>
          </a:p>
        </p:txBody>
      </p:sp>
      <p:sp>
        <p:nvSpPr>
          <p:cNvPr id="30" name="Textplatzhalter 24">
            <a:extLst>
              <a:ext uri="{FF2B5EF4-FFF2-40B4-BE49-F238E27FC236}">
                <a16:creationId xmlns:a16="http://schemas.microsoft.com/office/drawing/2014/main" id="{2D6DE7F9-69D4-4FA6-AB1A-EA105A7BCD0D}"/>
              </a:ext>
            </a:extLst>
          </p:cNvPr>
          <p:cNvSpPr>
            <a:spLocks noGrp="1"/>
          </p:cNvSpPr>
          <p:nvPr>
            <p:ph type="body" sz="quarter" idx="20"/>
          </p:nvPr>
        </p:nvSpPr>
        <p:spPr>
          <a:xfrm>
            <a:off x="427773" y="5223019"/>
            <a:ext cx="2545528" cy="1084830"/>
          </a:xfrm>
          <a:prstGeom prst="rect">
            <a:avLst/>
          </a:prstGeom>
        </p:spPr>
        <p:txBody>
          <a:bodyPr/>
          <a:lstStyle>
            <a:lvl1pPr>
              <a:defRPr sz="1100">
                <a:latin typeface="M05 Text Office" panose="020B0504040000000004" pitchFamily="34" charset="0"/>
              </a:defRPr>
            </a:lvl1pPr>
            <a:lvl2pPr>
              <a:defRPr sz="1050">
                <a:latin typeface="M05 Text Office" panose="020B0504040000000004" pitchFamily="34" charset="0"/>
              </a:defRPr>
            </a:lvl2pPr>
            <a:lvl3pPr>
              <a:defRPr sz="1000">
                <a:latin typeface="M05 Text Office" panose="020B0504040000000004" pitchFamily="34" charset="0"/>
              </a:defRPr>
            </a:lvl3pPr>
            <a:lvl4pPr>
              <a:defRPr sz="900">
                <a:latin typeface="M05 Text Office" panose="020B0504040000000004" pitchFamily="34" charset="0"/>
              </a:defRPr>
            </a:lvl4pPr>
            <a:lvl5pPr>
              <a:defRPr sz="900">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1" name="Textplatzhalter 24">
            <a:extLst>
              <a:ext uri="{FF2B5EF4-FFF2-40B4-BE49-F238E27FC236}">
                <a16:creationId xmlns:a16="http://schemas.microsoft.com/office/drawing/2014/main" id="{1641ACC5-29AE-482E-84E0-C30E02F2E4FE}"/>
              </a:ext>
            </a:extLst>
          </p:cNvPr>
          <p:cNvSpPr>
            <a:spLocks noGrp="1"/>
          </p:cNvSpPr>
          <p:nvPr>
            <p:ph type="body" sz="quarter" idx="21"/>
          </p:nvPr>
        </p:nvSpPr>
        <p:spPr>
          <a:xfrm>
            <a:off x="3798916" y="5220103"/>
            <a:ext cx="2558487" cy="1084830"/>
          </a:xfrm>
          <a:prstGeom prst="rect">
            <a:avLst/>
          </a:prstGeom>
        </p:spPr>
        <p:txBody>
          <a:bodyPr/>
          <a:lstStyle>
            <a:lvl1pPr>
              <a:defRPr sz="1100">
                <a:latin typeface="M05 Text Office" panose="020B0504040000000004" pitchFamily="34" charset="0"/>
              </a:defRPr>
            </a:lvl1pPr>
            <a:lvl2pPr>
              <a:defRPr sz="1050">
                <a:latin typeface="M05 Text Office" panose="020B0504040000000004" pitchFamily="34" charset="0"/>
              </a:defRPr>
            </a:lvl2pPr>
            <a:lvl3pPr>
              <a:defRPr sz="1000">
                <a:latin typeface="M05 Text Office" panose="020B0504040000000004" pitchFamily="34" charset="0"/>
              </a:defRPr>
            </a:lvl3pPr>
            <a:lvl4pPr>
              <a:defRPr sz="900">
                <a:latin typeface="M05 Text Office" panose="020B0504040000000004" pitchFamily="34" charset="0"/>
              </a:defRPr>
            </a:lvl4pPr>
            <a:lvl5pPr>
              <a:defRPr sz="900">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7414590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Ebenen Text &amp; Bi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955CF747-0776-462B-8B39-F0AA55F1CC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329460" y="3648601"/>
            <a:ext cx="4301385" cy="305862"/>
          </a:xfrm>
          <a:prstGeom prst="rect">
            <a:avLst/>
          </a:prstGeom>
        </p:spPr>
      </p:pic>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12" name="Textplatzhalter 11">
            <a:extLst>
              <a:ext uri="{FF2B5EF4-FFF2-40B4-BE49-F238E27FC236}">
                <a16:creationId xmlns:a16="http://schemas.microsoft.com/office/drawing/2014/main" id="{B4C9E959-06DF-45F8-B88A-974FBBB5611A}"/>
              </a:ext>
            </a:extLst>
          </p:cNvPr>
          <p:cNvSpPr>
            <a:spLocks noGrp="1"/>
          </p:cNvSpPr>
          <p:nvPr>
            <p:ph type="body" sz="quarter" idx="14"/>
          </p:nvPr>
        </p:nvSpPr>
        <p:spPr>
          <a:xfrm>
            <a:off x="5068887" y="1252537"/>
            <a:ext cx="5986621" cy="5055311"/>
          </a:xfrm>
          <a:prstGeom prst="rect">
            <a:avLst/>
          </a:prstGeom>
        </p:spPr>
        <p:txBody>
          <a:bodyPr/>
          <a:lstStyle>
            <a:lvl1pPr>
              <a:defRPr>
                <a:latin typeface="M05 Text Office" panose="020B0504040000000004" pitchFamily="34" charset="0"/>
              </a:defRPr>
            </a:lvl1pPr>
            <a:lvl2pPr>
              <a:defRPr>
                <a:latin typeface="M05 Text Office" panose="020B0504040000000004" pitchFamily="34" charset="0"/>
              </a:defRPr>
            </a:lvl2pPr>
            <a:lvl3pPr>
              <a:defRPr>
                <a:latin typeface="M05 Text Office" panose="020B0504040000000004" pitchFamily="34" charset="0"/>
              </a:defRPr>
            </a:lvl3pPr>
            <a:lvl4pPr>
              <a:defRPr>
                <a:latin typeface="M05 Text Office" panose="020B0504040000000004" pitchFamily="34" charset="0"/>
              </a:defRPr>
            </a:lvl4pPr>
            <a:lvl5pPr>
              <a:defRPr>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Bildplatzhalter 13">
            <a:extLst>
              <a:ext uri="{FF2B5EF4-FFF2-40B4-BE49-F238E27FC236}">
                <a16:creationId xmlns:a16="http://schemas.microsoft.com/office/drawing/2014/main" id="{53078BE7-C993-4FE4-9069-83FFC53A88D7}"/>
              </a:ext>
            </a:extLst>
          </p:cNvPr>
          <p:cNvSpPr>
            <a:spLocks noGrp="1"/>
          </p:cNvSpPr>
          <p:nvPr>
            <p:ph type="pic" sz="quarter" idx="15"/>
          </p:nvPr>
        </p:nvSpPr>
        <p:spPr>
          <a:xfrm>
            <a:off x="329461" y="1252538"/>
            <a:ext cx="4302125" cy="2176462"/>
          </a:xfrm>
          <a:prstGeom prst="rect">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18" name="Textplatzhalter 17">
            <a:extLst>
              <a:ext uri="{FF2B5EF4-FFF2-40B4-BE49-F238E27FC236}">
                <a16:creationId xmlns:a16="http://schemas.microsoft.com/office/drawing/2014/main" id="{C50D5281-8285-4ABE-BE11-9566215BF8B7}"/>
              </a:ext>
            </a:extLst>
          </p:cNvPr>
          <p:cNvSpPr>
            <a:spLocks noGrp="1"/>
          </p:cNvSpPr>
          <p:nvPr>
            <p:ph type="body" sz="quarter" idx="16" hasCustomPrompt="1"/>
          </p:nvPr>
        </p:nvSpPr>
        <p:spPr>
          <a:xfrm>
            <a:off x="330200" y="3639845"/>
            <a:ext cx="4302125" cy="314618"/>
          </a:xfrm>
          <a:prstGeom prst="rect">
            <a:avLst/>
          </a:prstGeom>
        </p:spPr>
        <p:txBody>
          <a:bodyPr/>
          <a:lstStyle>
            <a:lvl1pPr marL="0" indent="0" algn="ctr">
              <a:buNone/>
              <a:defRPr sz="1600">
                <a:latin typeface="M05 Text Office Bold" panose="020B0804040000000004" pitchFamily="34" charset="0"/>
              </a:defRPr>
            </a:lvl1pPr>
          </a:lstStyle>
          <a:p>
            <a:pPr lvl="0"/>
            <a:r>
              <a:rPr lang="de-DE" err="1"/>
              <a:t>Ebenentitel</a:t>
            </a:r>
            <a:endParaRPr lang="de-DE"/>
          </a:p>
        </p:txBody>
      </p:sp>
      <p:sp>
        <p:nvSpPr>
          <p:cNvPr id="19" name="Textplatzhalter 11">
            <a:extLst>
              <a:ext uri="{FF2B5EF4-FFF2-40B4-BE49-F238E27FC236}">
                <a16:creationId xmlns:a16="http://schemas.microsoft.com/office/drawing/2014/main" id="{E103D334-9956-496A-A22C-A3F4664AF98E}"/>
              </a:ext>
            </a:extLst>
          </p:cNvPr>
          <p:cNvSpPr>
            <a:spLocks noGrp="1"/>
          </p:cNvSpPr>
          <p:nvPr>
            <p:ph type="body" sz="quarter" idx="17"/>
          </p:nvPr>
        </p:nvSpPr>
        <p:spPr>
          <a:xfrm>
            <a:off x="329460" y="4165309"/>
            <a:ext cx="4301385" cy="2142540"/>
          </a:xfrm>
          <a:prstGeom prst="rect">
            <a:avLst/>
          </a:prstGeom>
        </p:spPr>
        <p:txBody>
          <a:bodyPr/>
          <a:lstStyle>
            <a:lvl1pPr>
              <a:defRPr>
                <a:latin typeface="M05 Text Office" panose="020B0504040000000004" pitchFamily="34" charset="0"/>
              </a:defRPr>
            </a:lvl1pPr>
            <a:lvl2pPr>
              <a:defRPr>
                <a:latin typeface="M05 Text Office" panose="020B0504040000000004" pitchFamily="34" charset="0"/>
              </a:defRPr>
            </a:lvl2pPr>
            <a:lvl3pPr>
              <a:defRPr>
                <a:latin typeface="M05 Text Office" panose="020B0504040000000004" pitchFamily="34" charset="0"/>
              </a:defRPr>
            </a:lvl3pPr>
            <a:lvl4pPr>
              <a:defRPr>
                <a:latin typeface="M05 Text Office" panose="020B0504040000000004" pitchFamily="34" charset="0"/>
              </a:defRPr>
            </a:lvl4pPr>
            <a:lvl5pPr>
              <a:defRPr>
                <a:latin typeface="M05 Text Office" panose="020B05040400000000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915343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Bilder und 2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pic>
        <p:nvPicPr>
          <p:cNvPr id="40" name="Grafik 39">
            <a:extLst>
              <a:ext uri="{FF2B5EF4-FFF2-40B4-BE49-F238E27FC236}">
                <a16:creationId xmlns:a16="http://schemas.microsoft.com/office/drawing/2014/main" id="{51142C39-A067-451A-AA60-4D33F002D5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330200" y="1774454"/>
            <a:ext cx="3146737" cy="246227"/>
          </a:xfrm>
          <a:prstGeom prst="rect">
            <a:avLst/>
          </a:prstGeom>
        </p:spPr>
      </p:pic>
      <p:sp>
        <p:nvSpPr>
          <p:cNvPr id="42" name="Textplatzhalter 41">
            <a:extLst>
              <a:ext uri="{FF2B5EF4-FFF2-40B4-BE49-F238E27FC236}">
                <a16:creationId xmlns:a16="http://schemas.microsoft.com/office/drawing/2014/main" id="{42750162-4873-4803-93DF-58CEE659AED2}"/>
              </a:ext>
            </a:extLst>
          </p:cNvPr>
          <p:cNvSpPr>
            <a:spLocks noGrp="1"/>
          </p:cNvSpPr>
          <p:nvPr>
            <p:ph type="body" sz="quarter" idx="14" hasCustomPrompt="1"/>
          </p:nvPr>
        </p:nvSpPr>
        <p:spPr>
          <a:xfrm>
            <a:off x="330199" y="1773821"/>
            <a:ext cx="3013891" cy="246227"/>
          </a:xfrm>
          <a:prstGeom prst="snip1Rect">
            <a:avLst/>
          </a:prstGeom>
        </p:spPr>
        <p:txBody>
          <a:bodyPr/>
          <a:lstStyle>
            <a:lvl1pPr marL="0" indent="0">
              <a:buNone/>
              <a:defRPr sz="1100">
                <a:latin typeface="M05 Text Office Bold" panose="020B0804040000000004" pitchFamily="34" charset="0"/>
              </a:defRPr>
            </a:lvl1pPr>
          </a:lstStyle>
          <a:p>
            <a:pPr lvl="0"/>
            <a:r>
              <a:rPr lang="de-DE"/>
              <a:t>Überschrift</a:t>
            </a:r>
          </a:p>
        </p:txBody>
      </p:sp>
      <p:sp>
        <p:nvSpPr>
          <p:cNvPr id="47" name="Bildplatzhalter 46">
            <a:extLst>
              <a:ext uri="{FF2B5EF4-FFF2-40B4-BE49-F238E27FC236}">
                <a16:creationId xmlns:a16="http://schemas.microsoft.com/office/drawing/2014/main" id="{0A08A2D0-437E-4BD5-A375-312703FC9E32}"/>
              </a:ext>
            </a:extLst>
          </p:cNvPr>
          <p:cNvSpPr>
            <a:spLocks noGrp="1"/>
          </p:cNvSpPr>
          <p:nvPr>
            <p:ph type="pic" sz="quarter" idx="16"/>
          </p:nvPr>
        </p:nvSpPr>
        <p:spPr>
          <a:xfrm>
            <a:off x="330200" y="2095232"/>
            <a:ext cx="3146425" cy="1579563"/>
          </a:xfrm>
          <a:prstGeom prst="rect">
            <a:avLst/>
          </a:prstGeom>
          <a:solidFill>
            <a:schemeClr val="accent2"/>
          </a:solidFill>
        </p:spPr>
        <p:txBody>
          <a:bodyPr/>
          <a:lstStyle>
            <a:lvl1pPr>
              <a:defRPr>
                <a:latin typeface="M05 Text Office" panose="020B0504040000000004" pitchFamily="34" charset="0"/>
              </a:defRPr>
            </a:lvl1pPr>
          </a:lstStyle>
          <a:p>
            <a:pPr marL="228600" marR="0" lvl="0" indent="-228600" algn="l" defTabSz="914400" rtl="0" eaLnBrk="1" fontAlgn="auto" latinLnBrk="0" hangingPunct="1">
              <a:lnSpc>
                <a:spcPct val="90000"/>
              </a:lnSpc>
              <a:spcBef>
                <a:spcPts val="1000"/>
              </a:spcBef>
              <a:spcAft>
                <a:spcPts val="0"/>
              </a:spcAft>
              <a:buClr>
                <a:schemeClr val="bg2"/>
              </a:buClr>
              <a:buSzTx/>
              <a:buFont typeface="M05 Text BETA" panose="020B0004040000000004" pitchFamily="34" charset="0"/>
              <a:buChar char="&gt;"/>
              <a:tabLst/>
              <a:defRPr/>
            </a:pPr>
            <a:r>
              <a:rPr lang="de-DE"/>
              <a:t>Bild durch Klicken auf Symbol hinzufügen</a:t>
            </a:r>
          </a:p>
          <a:p>
            <a:endParaRPr lang="de-DE"/>
          </a:p>
        </p:txBody>
      </p:sp>
      <p:sp>
        <p:nvSpPr>
          <p:cNvPr id="49" name="Textplatzhalter 48">
            <a:extLst>
              <a:ext uri="{FF2B5EF4-FFF2-40B4-BE49-F238E27FC236}">
                <a16:creationId xmlns:a16="http://schemas.microsoft.com/office/drawing/2014/main" id="{98239978-12BA-49F9-8B7D-85456A2FCA9E}"/>
              </a:ext>
            </a:extLst>
          </p:cNvPr>
          <p:cNvSpPr>
            <a:spLocks noGrp="1"/>
          </p:cNvSpPr>
          <p:nvPr>
            <p:ph type="body" sz="quarter" idx="17"/>
          </p:nvPr>
        </p:nvSpPr>
        <p:spPr>
          <a:xfrm>
            <a:off x="3640183" y="2095232"/>
            <a:ext cx="7412635" cy="1579563"/>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80" name="Grafik 79">
            <a:extLst>
              <a:ext uri="{FF2B5EF4-FFF2-40B4-BE49-F238E27FC236}">
                <a16:creationId xmlns:a16="http://schemas.microsoft.com/office/drawing/2014/main" id="{72C486D6-6C95-41E2-99D6-0CE978355A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330199" y="4054805"/>
            <a:ext cx="3146737" cy="246227"/>
          </a:xfrm>
          <a:prstGeom prst="rect">
            <a:avLst/>
          </a:prstGeom>
        </p:spPr>
      </p:pic>
      <p:sp>
        <p:nvSpPr>
          <p:cNvPr id="81" name="Textplatzhalter 41">
            <a:extLst>
              <a:ext uri="{FF2B5EF4-FFF2-40B4-BE49-F238E27FC236}">
                <a16:creationId xmlns:a16="http://schemas.microsoft.com/office/drawing/2014/main" id="{1EE4026D-1693-409D-8809-74363644420B}"/>
              </a:ext>
            </a:extLst>
          </p:cNvPr>
          <p:cNvSpPr>
            <a:spLocks noGrp="1"/>
          </p:cNvSpPr>
          <p:nvPr>
            <p:ph type="body" sz="quarter" idx="23" hasCustomPrompt="1"/>
          </p:nvPr>
        </p:nvSpPr>
        <p:spPr>
          <a:xfrm>
            <a:off x="330198" y="4054172"/>
            <a:ext cx="3013891" cy="246227"/>
          </a:xfrm>
          <a:prstGeom prst="rect">
            <a:avLst/>
          </a:prstGeom>
        </p:spPr>
        <p:txBody>
          <a:bodyPr/>
          <a:lstStyle>
            <a:lvl1pPr marL="0" indent="0">
              <a:buNone/>
              <a:defRPr sz="1100">
                <a:latin typeface="M05 Text Office Bold" panose="020B0804040000000004" pitchFamily="34" charset="0"/>
              </a:defRPr>
            </a:lvl1pPr>
          </a:lstStyle>
          <a:p>
            <a:pPr lvl="0"/>
            <a:r>
              <a:rPr lang="de-DE"/>
              <a:t>Überschrift</a:t>
            </a:r>
          </a:p>
        </p:txBody>
      </p:sp>
      <p:sp>
        <p:nvSpPr>
          <p:cNvPr id="82" name="Bildplatzhalter 46">
            <a:extLst>
              <a:ext uri="{FF2B5EF4-FFF2-40B4-BE49-F238E27FC236}">
                <a16:creationId xmlns:a16="http://schemas.microsoft.com/office/drawing/2014/main" id="{F5514126-BC79-43E1-BF6D-BB72BD0E3361}"/>
              </a:ext>
            </a:extLst>
          </p:cNvPr>
          <p:cNvSpPr>
            <a:spLocks noGrp="1"/>
          </p:cNvSpPr>
          <p:nvPr>
            <p:ph type="pic" sz="quarter" idx="24"/>
          </p:nvPr>
        </p:nvSpPr>
        <p:spPr>
          <a:xfrm>
            <a:off x="330199" y="4375583"/>
            <a:ext cx="3146425" cy="1579563"/>
          </a:xfrm>
          <a:prstGeom prst="rect">
            <a:avLst/>
          </a:prstGeom>
          <a:solidFill>
            <a:schemeClr val="accent2"/>
          </a:solidFill>
        </p:spPr>
        <p:txBody>
          <a:bodyPr/>
          <a:lstStyle>
            <a:lvl1pPr>
              <a:defRPr>
                <a:latin typeface="M05 Text Office" panose="020B0504040000000004" pitchFamily="34" charset="0"/>
              </a:defRPr>
            </a:lvl1pPr>
          </a:lstStyle>
          <a:p>
            <a:pPr marL="228600" marR="0" lvl="0" indent="-228600" algn="l" defTabSz="914400" rtl="0" eaLnBrk="1" fontAlgn="auto" latinLnBrk="0" hangingPunct="1">
              <a:lnSpc>
                <a:spcPct val="90000"/>
              </a:lnSpc>
              <a:spcBef>
                <a:spcPts val="1000"/>
              </a:spcBef>
              <a:spcAft>
                <a:spcPts val="0"/>
              </a:spcAft>
              <a:buClr>
                <a:schemeClr val="bg2"/>
              </a:buClr>
              <a:buSzTx/>
              <a:buFont typeface="M05 Text BETA" panose="020B0004040000000004" pitchFamily="34" charset="0"/>
              <a:buChar char="&gt;"/>
              <a:tabLst/>
              <a:defRPr/>
            </a:pPr>
            <a:r>
              <a:rPr lang="de-DE"/>
              <a:t>Bild durch Klicken auf Symbol hinzufügen</a:t>
            </a:r>
          </a:p>
          <a:p>
            <a:endParaRPr lang="de-DE"/>
          </a:p>
        </p:txBody>
      </p:sp>
      <p:sp>
        <p:nvSpPr>
          <p:cNvPr id="83" name="Textplatzhalter 48">
            <a:extLst>
              <a:ext uri="{FF2B5EF4-FFF2-40B4-BE49-F238E27FC236}">
                <a16:creationId xmlns:a16="http://schemas.microsoft.com/office/drawing/2014/main" id="{6D100BC7-78C3-4DB2-8B9A-6567C2C55037}"/>
              </a:ext>
            </a:extLst>
          </p:cNvPr>
          <p:cNvSpPr>
            <a:spLocks noGrp="1"/>
          </p:cNvSpPr>
          <p:nvPr>
            <p:ph type="body" sz="quarter" idx="25"/>
          </p:nvPr>
        </p:nvSpPr>
        <p:spPr>
          <a:xfrm>
            <a:off x="3640184" y="4375583"/>
            <a:ext cx="7412634" cy="1579563"/>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1278943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ighlight Zahlen mit Text &amp;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grpSp>
        <p:nvGrpSpPr>
          <p:cNvPr id="5" name="Gruppieren 4">
            <a:extLst>
              <a:ext uri="{FF2B5EF4-FFF2-40B4-BE49-F238E27FC236}">
                <a16:creationId xmlns:a16="http://schemas.microsoft.com/office/drawing/2014/main" id="{F661D6EB-299A-4DF4-A8B5-FF282C30C9E2}"/>
              </a:ext>
            </a:extLst>
          </p:cNvPr>
          <p:cNvGrpSpPr/>
          <p:nvPr userDrawn="1"/>
        </p:nvGrpSpPr>
        <p:grpSpPr>
          <a:xfrm>
            <a:off x="3637697" y="2096388"/>
            <a:ext cx="2864862" cy="1579805"/>
            <a:chOff x="420078" y="3236279"/>
            <a:chExt cx="2884895" cy="1911115"/>
          </a:xfrm>
        </p:grpSpPr>
        <p:grpSp>
          <p:nvGrpSpPr>
            <p:cNvPr id="6" name="Gruppieren 5">
              <a:extLst>
                <a:ext uri="{FF2B5EF4-FFF2-40B4-BE49-F238E27FC236}">
                  <a16:creationId xmlns:a16="http://schemas.microsoft.com/office/drawing/2014/main" id="{1BDFBA46-48DC-4D3D-BF9A-2F9041B0B0D6}"/>
                </a:ext>
              </a:extLst>
            </p:cNvPr>
            <p:cNvGrpSpPr/>
            <p:nvPr/>
          </p:nvGrpSpPr>
          <p:grpSpPr>
            <a:xfrm>
              <a:off x="420277" y="3236279"/>
              <a:ext cx="1361408" cy="1634282"/>
              <a:chOff x="455787" y="3034667"/>
              <a:chExt cx="1361408" cy="1634282"/>
            </a:xfrm>
          </p:grpSpPr>
          <p:sp>
            <p:nvSpPr>
              <p:cNvPr id="15" name="Rechteck 14">
                <a:extLst>
                  <a:ext uri="{FF2B5EF4-FFF2-40B4-BE49-F238E27FC236}">
                    <a16:creationId xmlns:a16="http://schemas.microsoft.com/office/drawing/2014/main" id="{2648BC43-5387-46AE-AB89-D886B2C0E884}"/>
                  </a:ext>
                </a:extLst>
              </p:cNvPr>
              <p:cNvSpPr/>
              <p:nvPr/>
            </p:nvSpPr>
            <p:spPr>
              <a:xfrm>
                <a:off x="455787" y="3290670"/>
                <a:ext cx="1361408" cy="13782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a:extLst>
                  <a:ext uri="{FF2B5EF4-FFF2-40B4-BE49-F238E27FC236}">
                    <a16:creationId xmlns:a16="http://schemas.microsoft.com/office/drawing/2014/main" id="{6C4E7B8F-C1E4-4749-99BA-5BC2A61CEB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V="1">
                <a:off x="455787" y="3034667"/>
                <a:ext cx="1361408" cy="204514"/>
              </a:xfrm>
              <a:prstGeom prst="rect">
                <a:avLst/>
              </a:prstGeom>
            </p:spPr>
          </p:pic>
        </p:grpSp>
        <p:grpSp>
          <p:nvGrpSpPr>
            <p:cNvPr id="7" name="Gruppieren 6">
              <a:extLst>
                <a:ext uri="{FF2B5EF4-FFF2-40B4-BE49-F238E27FC236}">
                  <a16:creationId xmlns:a16="http://schemas.microsoft.com/office/drawing/2014/main" id="{9CC86F76-E798-42B5-9CEE-3F2DC3C1A475}"/>
                </a:ext>
              </a:extLst>
            </p:cNvPr>
            <p:cNvGrpSpPr/>
            <p:nvPr/>
          </p:nvGrpSpPr>
          <p:grpSpPr>
            <a:xfrm>
              <a:off x="1943565" y="3236279"/>
              <a:ext cx="1361408" cy="1634281"/>
              <a:chOff x="455787" y="3034667"/>
              <a:chExt cx="1361408" cy="1634281"/>
            </a:xfrm>
          </p:grpSpPr>
          <p:sp>
            <p:nvSpPr>
              <p:cNvPr id="11" name="Rechteck 10">
                <a:extLst>
                  <a:ext uri="{FF2B5EF4-FFF2-40B4-BE49-F238E27FC236}">
                    <a16:creationId xmlns:a16="http://schemas.microsoft.com/office/drawing/2014/main" id="{58319CB2-E010-46D4-8EC5-6EFC7AA5DC5B}"/>
                  </a:ext>
                </a:extLst>
              </p:cNvPr>
              <p:cNvSpPr/>
              <p:nvPr userDrawn="1"/>
            </p:nvSpPr>
            <p:spPr>
              <a:xfrm>
                <a:off x="455787" y="3290669"/>
                <a:ext cx="1361408" cy="13782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BA4A4A40-8ED5-4C8F-ABFD-4CEA0E1806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V="1">
                <a:off x="455787" y="3034667"/>
                <a:ext cx="1361408" cy="204514"/>
              </a:xfrm>
              <a:prstGeom prst="rect">
                <a:avLst/>
              </a:prstGeom>
            </p:spPr>
          </p:pic>
        </p:grpSp>
        <p:sp>
          <p:nvSpPr>
            <p:cNvPr id="8" name="Rechteck: eine Ecke abgeschnitten 7">
              <a:extLst>
                <a:ext uri="{FF2B5EF4-FFF2-40B4-BE49-F238E27FC236}">
                  <a16:creationId xmlns:a16="http://schemas.microsoft.com/office/drawing/2014/main" id="{8B17A3D5-2938-44D8-A7DC-31288BA46236}"/>
                </a:ext>
              </a:extLst>
            </p:cNvPr>
            <p:cNvSpPr/>
            <p:nvPr/>
          </p:nvSpPr>
          <p:spPr>
            <a:xfrm>
              <a:off x="420078" y="4942881"/>
              <a:ext cx="2884895" cy="204513"/>
            </a:xfrm>
            <a:prstGeom prst="snip1Rect">
              <a:avLst>
                <a:gd name="adj" fmla="val 46940"/>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40" name="Grafik 39">
            <a:extLst>
              <a:ext uri="{FF2B5EF4-FFF2-40B4-BE49-F238E27FC236}">
                <a16:creationId xmlns:a16="http://schemas.microsoft.com/office/drawing/2014/main" id="{51142C39-A067-451A-AA60-4D33F002D5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330200" y="1774454"/>
            <a:ext cx="3146737" cy="246227"/>
          </a:xfrm>
          <a:prstGeom prst="rect">
            <a:avLst/>
          </a:prstGeom>
        </p:spPr>
      </p:pic>
      <p:sp>
        <p:nvSpPr>
          <p:cNvPr id="42" name="Textplatzhalter 41">
            <a:extLst>
              <a:ext uri="{FF2B5EF4-FFF2-40B4-BE49-F238E27FC236}">
                <a16:creationId xmlns:a16="http://schemas.microsoft.com/office/drawing/2014/main" id="{42750162-4873-4803-93DF-58CEE659AED2}"/>
              </a:ext>
            </a:extLst>
          </p:cNvPr>
          <p:cNvSpPr>
            <a:spLocks noGrp="1"/>
          </p:cNvSpPr>
          <p:nvPr>
            <p:ph type="body" sz="quarter" idx="14" hasCustomPrompt="1"/>
          </p:nvPr>
        </p:nvSpPr>
        <p:spPr>
          <a:xfrm>
            <a:off x="330199" y="1773821"/>
            <a:ext cx="3013891" cy="246227"/>
          </a:xfrm>
          <a:prstGeom prst="rect">
            <a:avLst/>
          </a:prstGeom>
        </p:spPr>
        <p:txBody>
          <a:bodyPr/>
          <a:lstStyle>
            <a:lvl1pPr marL="0" indent="0">
              <a:buNone/>
              <a:defRPr sz="1100">
                <a:latin typeface="M05 Text Office Bold" panose="020B0804040000000004" pitchFamily="34" charset="0"/>
              </a:defRPr>
            </a:lvl1pPr>
          </a:lstStyle>
          <a:p>
            <a:pPr lvl="0"/>
            <a:r>
              <a:rPr lang="de-DE"/>
              <a:t>Überschrift</a:t>
            </a:r>
          </a:p>
        </p:txBody>
      </p:sp>
      <p:sp>
        <p:nvSpPr>
          <p:cNvPr id="47" name="Bildplatzhalter 46">
            <a:extLst>
              <a:ext uri="{FF2B5EF4-FFF2-40B4-BE49-F238E27FC236}">
                <a16:creationId xmlns:a16="http://schemas.microsoft.com/office/drawing/2014/main" id="{0A08A2D0-437E-4BD5-A375-312703FC9E32}"/>
              </a:ext>
            </a:extLst>
          </p:cNvPr>
          <p:cNvSpPr>
            <a:spLocks noGrp="1"/>
          </p:cNvSpPr>
          <p:nvPr>
            <p:ph type="pic" sz="quarter" idx="16"/>
          </p:nvPr>
        </p:nvSpPr>
        <p:spPr>
          <a:xfrm>
            <a:off x="330200" y="2095232"/>
            <a:ext cx="3146425" cy="1579563"/>
          </a:xfrm>
          <a:prstGeom prst="rect">
            <a:avLst/>
          </a:prstGeom>
          <a:solidFill>
            <a:schemeClr val="accent2"/>
          </a:solidFill>
        </p:spPr>
        <p:txBody>
          <a:bodyPr/>
          <a:lstStyle>
            <a:lvl1pPr>
              <a:defRPr>
                <a:latin typeface="M05 Text Office" panose="020B0504040000000004" pitchFamily="34" charset="0"/>
              </a:defRPr>
            </a:lvl1pPr>
          </a:lstStyle>
          <a:p>
            <a:pPr marL="228600" marR="0" lvl="0" indent="-228600" algn="l" defTabSz="914400" rtl="0" eaLnBrk="1" fontAlgn="auto" latinLnBrk="0" hangingPunct="1">
              <a:lnSpc>
                <a:spcPct val="90000"/>
              </a:lnSpc>
              <a:spcBef>
                <a:spcPts val="1000"/>
              </a:spcBef>
              <a:spcAft>
                <a:spcPts val="0"/>
              </a:spcAft>
              <a:buClr>
                <a:schemeClr val="bg2"/>
              </a:buClr>
              <a:buSzTx/>
              <a:buFont typeface="M05 Text BETA" panose="020B0004040000000004" pitchFamily="34" charset="0"/>
              <a:buChar char="&gt;"/>
              <a:tabLst/>
              <a:defRPr/>
            </a:pPr>
            <a:r>
              <a:rPr lang="de-DE"/>
              <a:t>Bild durch Klicken auf Symbol hinzufügen</a:t>
            </a:r>
          </a:p>
          <a:p>
            <a:endParaRPr lang="de-DE"/>
          </a:p>
        </p:txBody>
      </p:sp>
      <p:sp>
        <p:nvSpPr>
          <p:cNvPr id="49" name="Textplatzhalter 48">
            <a:extLst>
              <a:ext uri="{FF2B5EF4-FFF2-40B4-BE49-F238E27FC236}">
                <a16:creationId xmlns:a16="http://schemas.microsoft.com/office/drawing/2014/main" id="{98239978-12BA-49F9-8B7D-85456A2FCA9E}"/>
              </a:ext>
            </a:extLst>
          </p:cNvPr>
          <p:cNvSpPr>
            <a:spLocks noGrp="1"/>
          </p:cNvSpPr>
          <p:nvPr>
            <p:ph type="body" sz="quarter" idx="17"/>
          </p:nvPr>
        </p:nvSpPr>
        <p:spPr>
          <a:xfrm>
            <a:off x="6642743" y="2095232"/>
            <a:ext cx="4410075" cy="1579563"/>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4" name="Textplatzhalter 63">
            <a:extLst>
              <a:ext uri="{FF2B5EF4-FFF2-40B4-BE49-F238E27FC236}">
                <a16:creationId xmlns:a16="http://schemas.microsoft.com/office/drawing/2014/main" id="{90E1688C-627C-45CE-A707-30DF6AE92611}"/>
              </a:ext>
            </a:extLst>
          </p:cNvPr>
          <p:cNvSpPr>
            <a:spLocks noGrp="1"/>
          </p:cNvSpPr>
          <p:nvPr>
            <p:ph type="body" sz="quarter" idx="18" hasCustomPrompt="1"/>
          </p:nvPr>
        </p:nvSpPr>
        <p:spPr>
          <a:xfrm>
            <a:off x="3637234" y="2066740"/>
            <a:ext cx="1373187" cy="152400"/>
          </a:xfrm>
          <a:prstGeom prst="rect">
            <a:avLst/>
          </a:prstGeom>
        </p:spPr>
        <p:txBody>
          <a:bodyPr/>
          <a:lstStyle>
            <a:lvl1pPr marL="0" indent="0">
              <a:buNone/>
              <a:defRPr sz="1000">
                <a:latin typeface="M05 Text Office" panose="020B0504040000000004" pitchFamily="34" charset="0"/>
              </a:defRPr>
            </a:lvl1pPr>
          </a:lstStyle>
          <a:p>
            <a:pPr lvl="0"/>
            <a:r>
              <a:rPr lang="de-DE"/>
              <a:t>Ebene 1</a:t>
            </a:r>
          </a:p>
        </p:txBody>
      </p:sp>
      <p:sp>
        <p:nvSpPr>
          <p:cNvPr id="65" name="Textplatzhalter 63">
            <a:extLst>
              <a:ext uri="{FF2B5EF4-FFF2-40B4-BE49-F238E27FC236}">
                <a16:creationId xmlns:a16="http://schemas.microsoft.com/office/drawing/2014/main" id="{30ACE19C-6C33-46CE-983F-0A1AD999D5A9}"/>
              </a:ext>
            </a:extLst>
          </p:cNvPr>
          <p:cNvSpPr>
            <a:spLocks noGrp="1"/>
          </p:cNvSpPr>
          <p:nvPr>
            <p:ph type="body" sz="quarter" idx="19" hasCustomPrompt="1"/>
          </p:nvPr>
        </p:nvSpPr>
        <p:spPr>
          <a:xfrm>
            <a:off x="5150605" y="2066740"/>
            <a:ext cx="1373187" cy="152400"/>
          </a:xfrm>
          <a:prstGeom prst="rect">
            <a:avLst/>
          </a:prstGeom>
        </p:spPr>
        <p:txBody>
          <a:bodyPr/>
          <a:lstStyle>
            <a:lvl1pPr marL="0" indent="0">
              <a:buNone/>
              <a:defRPr sz="1000">
                <a:latin typeface="M05 Text Office" panose="020B0504040000000004" pitchFamily="34" charset="0"/>
              </a:defRPr>
            </a:lvl1pPr>
          </a:lstStyle>
          <a:p>
            <a:pPr lvl="0"/>
            <a:r>
              <a:rPr lang="de-DE"/>
              <a:t>Ebene 2</a:t>
            </a:r>
          </a:p>
        </p:txBody>
      </p:sp>
      <p:sp>
        <p:nvSpPr>
          <p:cNvPr id="68" name="Textplatzhalter 67">
            <a:extLst>
              <a:ext uri="{FF2B5EF4-FFF2-40B4-BE49-F238E27FC236}">
                <a16:creationId xmlns:a16="http://schemas.microsoft.com/office/drawing/2014/main" id="{11A22EA2-ABE6-4407-B7C6-E60B43C1857C}"/>
              </a:ext>
            </a:extLst>
          </p:cNvPr>
          <p:cNvSpPr>
            <a:spLocks noGrp="1"/>
          </p:cNvSpPr>
          <p:nvPr>
            <p:ph type="body" sz="quarter" idx="20" hasCustomPrompt="1"/>
          </p:nvPr>
        </p:nvSpPr>
        <p:spPr>
          <a:xfrm>
            <a:off x="3647552" y="2601105"/>
            <a:ext cx="1342297" cy="351101"/>
          </a:xfrm>
          <a:prstGeom prst="rect">
            <a:avLst/>
          </a:prstGeom>
        </p:spPr>
        <p:txBody>
          <a:bodyPr/>
          <a:lstStyle>
            <a:lvl1pPr marL="0" indent="0" algn="ctr">
              <a:buNone/>
              <a:defRPr>
                <a:latin typeface="M05 Headline Office Bold" panose="020B0804040000000001" pitchFamily="34" charset="0"/>
              </a:defRPr>
            </a:lvl1pPr>
          </a:lstStyle>
          <a:p>
            <a:pPr lvl="0"/>
            <a:r>
              <a:rPr lang="de-DE"/>
              <a:t>Zahl</a:t>
            </a:r>
          </a:p>
        </p:txBody>
      </p:sp>
      <p:sp>
        <p:nvSpPr>
          <p:cNvPr id="69" name="Textplatzhalter 67">
            <a:extLst>
              <a:ext uri="{FF2B5EF4-FFF2-40B4-BE49-F238E27FC236}">
                <a16:creationId xmlns:a16="http://schemas.microsoft.com/office/drawing/2014/main" id="{4FDCFB1F-8947-4215-8553-A48E4C974E0E}"/>
              </a:ext>
            </a:extLst>
          </p:cNvPr>
          <p:cNvSpPr>
            <a:spLocks noGrp="1"/>
          </p:cNvSpPr>
          <p:nvPr>
            <p:ph type="body" sz="quarter" idx="21" hasCustomPrompt="1"/>
          </p:nvPr>
        </p:nvSpPr>
        <p:spPr>
          <a:xfrm>
            <a:off x="5150009" y="2598517"/>
            <a:ext cx="1352550" cy="351101"/>
          </a:xfrm>
          <a:prstGeom prst="rect">
            <a:avLst/>
          </a:prstGeom>
        </p:spPr>
        <p:txBody>
          <a:bodyPr/>
          <a:lstStyle>
            <a:lvl1pPr marL="0" indent="0" algn="ctr">
              <a:buNone/>
              <a:defRPr>
                <a:latin typeface="M05 Headline Office Bold" panose="020B0804040000000001" pitchFamily="34" charset="0"/>
              </a:defRPr>
            </a:lvl1pPr>
          </a:lstStyle>
          <a:p>
            <a:pPr lvl="0"/>
            <a:r>
              <a:rPr lang="de-DE"/>
              <a:t>Zahl</a:t>
            </a:r>
          </a:p>
        </p:txBody>
      </p:sp>
      <p:sp>
        <p:nvSpPr>
          <p:cNvPr id="71" name="Textplatzhalter 70">
            <a:extLst>
              <a:ext uri="{FF2B5EF4-FFF2-40B4-BE49-F238E27FC236}">
                <a16:creationId xmlns:a16="http://schemas.microsoft.com/office/drawing/2014/main" id="{0E2A83F3-1F2D-4F6D-ACB0-6A094CD3D73C}"/>
              </a:ext>
            </a:extLst>
          </p:cNvPr>
          <p:cNvSpPr>
            <a:spLocks noGrp="1"/>
          </p:cNvSpPr>
          <p:nvPr>
            <p:ph type="body" sz="quarter" idx="22" hasCustomPrompt="1"/>
          </p:nvPr>
        </p:nvSpPr>
        <p:spPr>
          <a:xfrm>
            <a:off x="3648075" y="3473523"/>
            <a:ext cx="2770188" cy="168275"/>
          </a:xfrm>
          <a:prstGeom prst="rect">
            <a:avLst/>
          </a:prstGeom>
        </p:spPr>
        <p:txBody>
          <a:bodyPr/>
          <a:lstStyle>
            <a:lvl1pPr marL="0" indent="0">
              <a:buNone/>
              <a:defRPr sz="1050">
                <a:solidFill>
                  <a:schemeClr val="bg1"/>
                </a:solidFill>
                <a:latin typeface="M05 Text Office" panose="020B0504040000000004" pitchFamily="34" charset="0"/>
              </a:defRPr>
            </a:lvl1pPr>
          </a:lstStyle>
          <a:p>
            <a:pPr lvl="0"/>
            <a:r>
              <a:rPr lang="de-DE"/>
              <a:t>Ebene 3</a:t>
            </a:r>
          </a:p>
        </p:txBody>
      </p:sp>
      <p:grpSp>
        <p:nvGrpSpPr>
          <p:cNvPr id="72" name="Gruppieren 71">
            <a:extLst>
              <a:ext uri="{FF2B5EF4-FFF2-40B4-BE49-F238E27FC236}">
                <a16:creationId xmlns:a16="http://schemas.microsoft.com/office/drawing/2014/main" id="{E4B8B3C2-3C7F-4F25-A014-D392D0631BDC}"/>
              </a:ext>
            </a:extLst>
          </p:cNvPr>
          <p:cNvGrpSpPr/>
          <p:nvPr userDrawn="1"/>
        </p:nvGrpSpPr>
        <p:grpSpPr>
          <a:xfrm>
            <a:off x="3637696" y="4376739"/>
            <a:ext cx="2864862" cy="1579805"/>
            <a:chOff x="420078" y="3236279"/>
            <a:chExt cx="2884895" cy="1911115"/>
          </a:xfrm>
        </p:grpSpPr>
        <p:grpSp>
          <p:nvGrpSpPr>
            <p:cNvPr id="73" name="Gruppieren 72">
              <a:extLst>
                <a:ext uri="{FF2B5EF4-FFF2-40B4-BE49-F238E27FC236}">
                  <a16:creationId xmlns:a16="http://schemas.microsoft.com/office/drawing/2014/main" id="{BD89AE48-CB71-4600-9EBD-A69BAD0C5EF1}"/>
                </a:ext>
              </a:extLst>
            </p:cNvPr>
            <p:cNvGrpSpPr/>
            <p:nvPr/>
          </p:nvGrpSpPr>
          <p:grpSpPr>
            <a:xfrm>
              <a:off x="420277" y="3236279"/>
              <a:ext cx="1361408" cy="1634282"/>
              <a:chOff x="455787" y="3034667"/>
              <a:chExt cx="1361408" cy="1634282"/>
            </a:xfrm>
          </p:grpSpPr>
          <p:sp>
            <p:nvSpPr>
              <p:cNvPr id="78" name="Rechteck 77">
                <a:extLst>
                  <a:ext uri="{FF2B5EF4-FFF2-40B4-BE49-F238E27FC236}">
                    <a16:creationId xmlns:a16="http://schemas.microsoft.com/office/drawing/2014/main" id="{D3C13505-9535-4CBA-8AF9-8B52FC400401}"/>
                  </a:ext>
                </a:extLst>
              </p:cNvPr>
              <p:cNvSpPr/>
              <p:nvPr/>
            </p:nvSpPr>
            <p:spPr>
              <a:xfrm>
                <a:off x="455787" y="3290670"/>
                <a:ext cx="1361408" cy="13782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9" name="Grafik 78">
                <a:extLst>
                  <a:ext uri="{FF2B5EF4-FFF2-40B4-BE49-F238E27FC236}">
                    <a16:creationId xmlns:a16="http://schemas.microsoft.com/office/drawing/2014/main" id="{0BA64542-312B-4660-ADDF-3FE93A4840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V="1">
                <a:off x="455787" y="3034667"/>
                <a:ext cx="1361408" cy="204514"/>
              </a:xfrm>
              <a:prstGeom prst="rect">
                <a:avLst/>
              </a:prstGeom>
            </p:spPr>
          </p:pic>
        </p:grpSp>
        <p:grpSp>
          <p:nvGrpSpPr>
            <p:cNvPr id="74" name="Gruppieren 73">
              <a:extLst>
                <a:ext uri="{FF2B5EF4-FFF2-40B4-BE49-F238E27FC236}">
                  <a16:creationId xmlns:a16="http://schemas.microsoft.com/office/drawing/2014/main" id="{6A24586B-E313-40A0-9A6A-81AA1978850F}"/>
                </a:ext>
              </a:extLst>
            </p:cNvPr>
            <p:cNvGrpSpPr/>
            <p:nvPr/>
          </p:nvGrpSpPr>
          <p:grpSpPr>
            <a:xfrm>
              <a:off x="1943565" y="3236279"/>
              <a:ext cx="1361408" cy="1634281"/>
              <a:chOff x="455787" y="3034667"/>
              <a:chExt cx="1361408" cy="1634281"/>
            </a:xfrm>
          </p:grpSpPr>
          <p:sp>
            <p:nvSpPr>
              <p:cNvPr id="76" name="Rechteck 75">
                <a:extLst>
                  <a:ext uri="{FF2B5EF4-FFF2-40B4-BE49-F238E27FC236}">
                    <a16:creationId xmlns:a16="http://schemas.microsoft.com/office/drawing/2014/main" id="{9529F9E9-D0B0-464F-9B16-B35C7BB07515}"/>
                  </a:ext>
                </a:extLst>
              </p:cNvPr>
              <p:cNvSpPr/>
              <p:nvPr userDrawn="1"/>
            </p:nvSpPr>
            <p:spPr>
              <a:xfrm>
                <a:off x="455787" y="3290669"/>
                <a:ext cx="1361408" cy="13782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7" name="Grafik 76">
                <a:extLst>
                  <a:ext uri="{FF2B5EF4-FFF2-40B4-BE49-F238E27FC236}">
                    <a16:creationId xmlns:a16="http://schemas.microsoft.com/office/drawing/2014/main" id="{B15CAF51-04EA-436C-BA47-C581972240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V="1">
                <a:off x="455787" y="3034667"/>
                <a:ext cx="1361408" cy="204514"/>
              </a:xfrm>
              <a:prstGeom prst="rect">
                <a:avLst/>
              </a:prstGeom>
            </p:spPr>
          </p:pic>
        </p:grpSp>
        <p:sp>
          <p:nvSpPr>
            <p:cNvPr id="75" name="Rechteck: eine Ecke abgeschnitten 74">
              <a:extLst>
                <a:ext uri="{FF2B5EF4-FFF2-40B4-BE49-F238E27FC236}">
                  <a16:creationId xmlns:a16="http://schemas.microsoft.com/office/drawing/2014/main" id="{DBE28CC8-8930-4D38-9300-B166EED6B862}"/>
                </a:ext>
              </a:extLst>
            </p:cNvPr>
            <p:cNvSpPr/>
            <p:nvPr/>
          </p:nvSpPr>
          <p:spPr>
            <a:xfrm>
              <a:off x="420078" y="4942881"/>
              <a:ext cx="2884895" cy="204513"/>
            </a:xfrm>
            <a:prstGeom prst="snip1Rect">
              <a:avLst>
                <a:gd name="adj" fmla="val 46940"/>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80" name="Grafik 79">
            <a:extLst>
              <a:ext uri="{FF2B5EF4-FFF2-40B4-BE49-F238E27FC236}">
                <a16:creationId xmlns:a16="http://schemas.microsoft.com/office/drawing/2014/main" id="{72C486D6-6C95-41E2-99D6-0CE978355A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V="1">
            <a:off x="330199" y="4054805"/>
            <a:ext cx="3146737" cy="246227"/>
          </a:xfrm>
          <a:prstGeom prst="rect">
            <a:avLst/>
          </a:prstGeom>
        </p:spPr>
      </p:pic>
      <p:sp>
        <p:nvSpPr>
          <p:cNvPr id="81" name="Textplatzhalter 41">
            <a:extLst>
              <a:ext uri="{FF2B5EF4-FFF2-40B4-BE49-F238E27FC236}">
                <a16:creationId xmlns:a16="http://schemas.microsoft.com/office/drawing/2014/main" id="{1EE4026D-1693-409D-8809-74363644420B}"/>
              </a:ext>
            </a:extLst>
          </p:cNvPr>
          <p:cNvSpPr>
            <a:spLocks noGrp="1"/>
          </p:cNvSpPr>
          <p:nvPr>
            <p:ph type="body" sz="quarter" idx="23" hasCustomPrompt="1"/>
          </p:nvPr>
        </p:nvSpPr>
        <p:spPr>
          <a:xfrm>
            <a:off x="330198" y="4054172"/>
            <a:ext cx="3013891" cy="246227"/>
          </a:xfrm>
          <a:prstGeom prst="rect">
            <a:avLst/>
          </a:prstGeom>
        </p:spPr>
        <p:txBody>
          <a:bodyPr/>
          <a:lstStyle>
            <a:lvl1pPr marL="0" indent="0">
              <a:buNone/>
              <a:defRPr sz="1100">
                <a:latin typeface="M05 Text Office Bold" panose="020B0804040000000004" pitchFamily="34" charset="0"/>
              </a:defRPr>
            </a:lvl1pPr>
          </a:lstStyle>
          <a:p>
            <a:pPr lvl="0"/>
            <a:r>
              <a:rPr lang="de-DE"/>
              <a:t>Überschrift</a:t>
            </a:r>
          </a:p>
        </p:txBody>
      </p:sp>
      <p:sp>
        <p:nvSpPr>
          <p:cNvPr id="82" name="Bildplatzhalter 46">
            <a:extLst>
              <a:ext uri="{FF2B5EF4-FFF2-40B4-BE49-F238E27FC236}">
                <a16:creationId xmlns:a16="http://schemas.microsoft.com/office/drawing/2014/main" id="{F5514126-BC79-43E1-BF6D-BB72BD0E3361}"/>
              </a:ext>
            </a:extLst>
          </p:cNvPr>
          <p:cNvSpPr>
            <a:spLocks noGrp="1"/>
          </p:cNvSpPr>
          <p:nvPr>
            <p:ph type="pic" sz="quarter" idx="24"/>
          </p:nvPr>
        </p:nvSpPr>
        <p:spPr>
          <a:xfrm>
            <a:off x="330199" y="4375583"/>
            <a:ext cx="3146425" cy="1579563"/>
          </a:xfrm>
          <a:prstGeom prst="rect">
            <a:avLst/>
          </a:prstGeom>
          <a:solidFill>
            <a:schemeClr val="accent2"/>
          </a:solidFill>
        </p:spPr>
        <p:txBody>
          <a:bodyPr/>
          <a:lstStyle>
            <a:lvl1pPr>
              <a:defRPr>
                <a:latin typeface="M05 Text Office" panose="020B0504040000000004" pitchFamily="34" charset="0"/>
              </a:defRPr>
            </a:lvl1pPr>
          </a:lstStyle>
          <a:p>
            <a:pPr marL="228600" marR="0" lvl="0" indent="-228600" algn="l" defTabSz="914400" rtl="0" eaLnBrk="1" fontAlgn="auto" latinLnBrk="0" hangingPunct="1">
              <a:lnSpc>
                <a:spcPct val="90000"/>
              </a:lnSpc>
              <a:spcBef>
                <a:spcPts val="1000"/>
              </a:spcBef>
              <a:spcAft>
                <a:spcPts val="0"/>
              </a:spcAft>
              <a:buClr>
                <a:schemeClr val="bg2"/>
              </a:buClr>
              <a:buSzTx/>
              <a:buFont typeface="M05 Text BETA" panose="020B0004040000000004" pitchFamily="34" charset="0"/>
              <a:buChar char="&gt;"/>
              <a:tabLst/>
              <a:defRPr/>
            </a:pPr>
            <a:r>
              <a:rPr lang="de-DE"/>
              <a:t>Bild durch Klicken auf Symbol hinzufügen</a:t>
            </a:r>
          </a:p>
          <a:p>
            <a:endParaRPr lang="de-DE"/>
          </a:p>
        </p:txBody>
      </p:sp>
      <p:sp>
        <p:nvSpPr>
          <p:cNvPr id="83" name="Textplatzhalter 48">
            <a:extLst>
              <a:ext uri="{FF2B5EF4-FFF2-40B4-BE49-F238E27FC236}">
                <a16:creationId xmlns:a16="http://schemas.microsoft.com/office/drawing/2014/main" id="{6D100BC7-78C3-4DB2-8B9A-6567C2C55037}"/>
              </a:ext>
            </a:extLst>
          </p:cNvPr>
          <p:cNvSpPr>
            <a:spLocks noGrp="1"/>
          </p:cNvSpPr>
          <p:nvPr>
            <p:ph type="body" sz="quarter" idx="25"/>
          </p:nvPr>
        </p:nvSpPr>
        <p:spPr>
          <a:xfrm>
            <a:off x="6642742" y="4375583"/>
            <a:ext cx="4410075" cy="1579563"/>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4" name="Textplatzhalter 63">
            <a:extLst>
              <a:ext uri="{FF2B5EF4-FFF2-40B4-BE49-F238E27FC236}">
                <a16:creationId xmlns:a16="http://schemas.microsoft.com/office/drawing/2014/main" id="{F8D297E8-389D-457A-9AA6-A79FA22A3E95}"/>
              </a:ext>
            </a:extLst>
          </p:cNvPr>
          <p:cNvSpPr>
            <a:spLocks noGrp="1"/>
          </p:cNvSpPr>
          <p:nvPr>
            <p:ph type="body" sz="quarter" idx="26" hasCustomPrompt="1"/>
          </p:nvPr>
        </p:nvSpPr>
        <p:spPr>
          <a:xfrm>
            <a:off x="3637233" y="4347091"/>
            <a:ext cx="1373187" cy="152400"/>
          </a:xfrm>
          <a:prstGeom prst="rect">
            <a:avLst/>
          </a:prstGeom>
        </p:spPr>
        <p:txBody>
          <a:bodyPr/>
          <a:lstStyle>
            <a:lvl1pPr marL="0" indent="0">
              <a:buNone/>
              <a:defRPr sz="1000">
                <a:latin typeface="M05 Text Office" panose="020B0504040000000004" pitchFamily="34" charset="0"/>
              </a:defRPr>
            </a:lvl1pPr>
          </a:lstStyle>
          <a:p>
            <a:pPr lvl="0"/>
            <a:r>
              <a:rPr lang="de-DE"/>
              <a:t>Ebene 1</a:t>
            </a:r>
          </a:p>
        </p:txBody>
      </p:sp>
      <p:sp>
        <p:nvSpPr>
          <p:cNvPr id="85" name="Textplatzhalter 63">
            <a:extLst>
              <a:ext uri="{FF2B5EF4-FFF2-40B4-BE49-F238E27FC236}">
                <a16:creationId xmlns:a16="http://schemas.microsoft.com/office/drawing/2014/main" id="{DED7FF9E-F43D-4180-8572-08A4321E1059}"/>
              </a:ext>
            </a:extLst>
          </p:cNvPr>
          <p:cNvSpPr>
            <a:spLocks noGrp="1"/>
          </p:cNvSpPr>
          <p:nvPr>
            <p:ph type="body" sz="quarter" idx="27" hasCustomPrompt="1"/>
          </p:nvPr>
        </p:nvSpPr>
        <p:spPr>
          <a:xfrm>
            <a:off x="5150604" y="4347091"/>
            <a:ext cx="1373187" cy="152400"/>
          </a:xfrm>
          <a:prstGeom prst="rect">
            <a:avLst/>
          </a:prstGeom>
        </p:spPr>
        <p:txBody>
          <a:bodyPr/>
          <a:lstStyle>
            <a:lvl1pPr marL="0" indent="0">
              <a:buNone/>
              <a:defRPr sz="1000">
                <a:latin typeface="M05 Text Office" panose="020B0504040000000004" pitchFamily="34" charset="0"/>
              </a:defRPr>
            </a:lvl1pPr>
          </a:lstStyle>
          <a:p>
            <a:pPr lvl="0"/>
            <a:r>
              <a:rPr lang="de-DE"/>
              <a:t>Ebene 2</a:t>
            </a:r>
          </a:p>
        </p:txBody>
      </p:sp>
      <p:sp>
        <p:nvSpPr>
          <p:cNvPr id="86" name="Textplatzhalter 67">
            <a:extLst>
              <a:ext uri="{FF2B5EF4-FFF2-40B4-BE49-F238E27FC236}">
                <a16:creationId xmlns:a16="http://schemas.microsoft.com/office/drawing/2014/main" id="{F78F6B3E-BB56-4BEE-AC79-8AF4271733B8}"/>
              </a:ext>
            </a:extLst>
          </p:cNvPr>
          <p:cNvSpPr>
            <a:spLocks noGrp="1"/>
          </p:cNvSpPr>
          <p:nvPr>
            <p:ph type="body" sz="quarter" idx="28" hasCustomPrompt="1"/>
          </p:nvPr>
        </p:nvSpPr>
        <p:spPr>
          <a:xfrm>
            <a:off x="3647551" y="4881456"/>
            <a:ext cx="1342297" cy="351101"/>
          </a:xfrm>
          <a:prstGeom prst="rect">
            <a:avLst/>
          </a:prstGeom>
        </p:spPr>
        <p:txBody>
          <a:bodyPr/>
          <a:lstStyle>
            <a:lvl1pPr marL="0" indent="0" algn="ctr">
              <a:buNone/>
              <a:defRPr>
                <a:latin typeface="M05 Headline Office Bold" panose="020B0804040000000001" pitchFamily="34" charset="0"/>
              </a:defRPr>
            </a:lvl1pPr>
          </a:lstStyle>
          <a:p>
            <a:pPr lvl="0"/>
            <a:r>
              <a:rPr lang="de-DE"/>
              <a:t>Zahl</a:t>
            </a:r>
          </a:p>
        </p:txBody>
      </p:sp>
      <p:sp>
        <p:nvSpPr>
          <p:cNvPr id="87" name="Textplatzhalter 67">
            <a:extLst>
              <a:ext uri="{FF2B5EF4-FFF2-40B4-BE49-F238E27FC236}">
                <a16:creationId xmlns:a16="http://schemas.microsoft.com/office/drawing/2014/main" id="{2A21A637-8B1C-41E4-8578-2920E61A1E63}"/>
              </a:ext>
            </a:extLst>
          </p:cNvPr>
          <p:cNvSpPr>
            <a:spLocks noGrp="1"/>
          </p:cNvSpPr>
          <p:nvPr>
            <p:ph type="body" sz="quarter" idx="29" hasCustomPrompt="1"/>
          </p:nvPr>
        </p:nvSpPr>
        <p:spPr>
          <a:xfrm>
            <a:off x="5150008" y="4878868"/>
            <a:ext cx="1352550" cy="351101"/>
          </a:xfrm>
          <a:prstGeom prst="rect">
            <a:avLst/>
          </a:prstGeom>
        </p:spPr>
        <p:txBody>
          <a:bodyPr/>
          <a:lstStyle>
            <a:lvl1pPr marL="0" indent="0" algn="ctr">
              <a:buNone/>
              <a:defRPr>
                <a:latin typeface="M05 Headline Office Bold" panose="020B0804040000000001" pitchFamily="34" charset="0"/>
              </a:defRPr>
            </a:lvl1pPr>
          </a:lstStyle>
          <a:p>
            <a:pPr lvl="0"/>
            <a:r>
              <a:rPr lang="de-DE"/>
              <a:t>Zahl</a:t>
            </a:r>
          </a:p>
        </p:txBody>
      </p:sp>
      <p:sp>
        <p:nvSpPr>
          <p:cNvPr id="88" name="Textplatzhalter 70">
            <a:extLst>
              <a:ext uri="{FF2B5EF4-FFF2-40B4-BE49-F238E27FC236}">
                <a16:creationId xmlns:a16="http://schemas.microsoft.com/office/drawing/2014/main" id="{B0F547FA-09B9-4C69-A40A-52D28512CFC6}"/>
              </a:ext>
            </a:extLst>
          </p:cNvPr>
          <p:cNvSpPr>
            <a:spLocks noGrp="1"/>
          </p:cNvSpPr>
          <p:nvPr>
            <p:ph type="body" sz="quarter" idx="30" hasCustomPrompt="1"/>
          </p:nvPr>
        </p:nvSpPr>
        <p:spPr>
          <a:xfrm>
            <a:off x="3648074" y="5753874"/>
            <a:ext cx="2770188" cy="168275"/>
          </a:xfrm>
          <a:prstGeom prst="rect">
            <a:avLst/>
          </a:prstGeom>
        </p:spPr>
        <p:txBody>
          <a:bodyPr/>
          <a:lstStyle>
            <a:lvl1pPr marL="0" indent="0">
              <a:buNone/>
              <a:defRPr sz="1050">
                <a:solidFill>
                  <a:schemeClr val="bg1"/>
                </a:solidFill>
                <a:latin typeface="M05 Text Office" panose="020B0504040000000004" pitchFamily="34" charset="0"/>
              </a:defRPr>
            </a:lvl1pPr>
          </a:lstStyle>
          <a:p>
            <a:pPr lvl="0"/>
            <a:r>
              <a:rPr lang="de-DE"/>
              <a:t>Ebene 3</a:t>
            </a:r>
          </a:p>
        </p:txBody>
      </p:sp>
    </p:spTree>
    <p:extLst>
      <p:ext uri="{BB962C8B-B14F-4D97-AF65-F5344CB8AC3E}">
        <p14:creationId xmlns:p14="http://schemas.microsoft.com/office/powerpoint/2010/main" val="898927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irkungsket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5" name="Eingekerbter Richtungspfeil 5">
            <a:extLst>
              <a:ext uri="{FF2B5EF4-FFF2-40B4-BE49-F238E27FC236}">
                <a16:creationId xmlns:a16="http://schemas.microsoft.com/office/drawing/2014/main" id="{5DF50F86-A9A2-45E4-BAE6-C1AE513067DA}"/>
              </a:ext>
            </a:extLst>
          </p:cNvPr>
          <p:cNvSpPr/>
          <p:nvPr userDrawn="1"/>
        </p:nvSpPr>
        <p:spPr>
          <a:xfrm>
            <a:off x="6747312" y="3274997"/>
            <a:ext cx="2263225" cy="702000"/>
          </a:xfrm>
          <a:prstGeom prst="chevron">
            <a:avLst>
              <a:gd name="adj" fmla="val 42441"/>
            </a:avLst>
          </a:prstGeom>
          <a:solidFill>
            <a:srgbClr val="D0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de-DE">
              <a:ln w="0"/>
              <a:solidFill>
                <a:schemeClr val="bg1"/>
              </a:solidFill>
            </a:endParaRPr>
          </a:p>
        </p:txBody>
      </p:sp>
      <p:sp>
        <p:nvSpPr>
          <p:cNvPr id="6" name="Eingekerbter Richtungspfeil 9">
            <a:extLst>
              <a:ext uri="{FF2B5EF4-FFF2-40B4-BE49-F238E27FC236}">
                <a16:creationId xmlns:a16="http://schemas.microsoft.com/office/drawing/2014/main" id="{06CC1A5A-CA8B-4837-AD6D-D18F0613CB84}"/>
              </a:ext>
            </a:extLst>
          </p:cNvPr>
          <p:cNvSpPr/>
          <p:nvPr userDrawn="1"/>
        </p:nvSpPr>
        <p:spPr>
          <a:xfrm>
            <a:off x="4618900" y="3274997"/>
            <a:ext cx="2263225" cy="702000"/>
          </a:xfrm>
          <a:prstGeom prst="chevron">
            <a:avLst>
              <a:gd name="adj" fmla="val 42441"/>
            </a:avLst>
          </a:prstGeom>
          <a:solidFill>
            <a:srgbClr val="D0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a:ln w="0"/>
              <a:solidFill>
                <a:schemeClr val="bg1"/>
              </a:solidFill>
            </a:endParaRPr>
          </a:p>
        </p:txBody>
      </p:sp>
      <p:sp>
        <p:nvSpPr>
          <p:cNvPr id="8" name="Rechteck 7">
            <a:extLst>
              <a:ext uri="{FF2B5EF4-FFF2-40B4-BE49-F238E27FC236}">
                <a16:creationId xmlns:a16="http://schemas.microsoft.com/office/drawing/2014/main" id="{ABF920B2-EF77-4A86-B265-770C719DF942}"/>
              </a:ext>
            </a:extLst>
          </p:cNvPr>
          <p:cNvSpPr/>
          <p:nvPr userDrawn="1"/>
        </p:nvSpPr>
        <p:spPr>
          <a:xfrm>
            <a:off x="470263" y="2242275"/>
            <a:ext cx="2792332" cy="738455"/>
          </a:xfrm>
          <a:prstGeom prst="rect">
            <a:avLst/>
          </a:prstGeom>
          <a:solidFill>
            <a:srgbClr val="D00000"/>
          </a:solidFill>
          <a:ln>
            <a:solidFill>
              <a:schemeClr val="bg1"/>
            </a:solidFill>
          </a:ln>
        </p:spPr>
        <p:txBody>
          <a:bodyPr wrap="square" lIns="91440" tIns="45720" rIns="91440" bIns="45720" rtlCol="0" anchor="ctr">
            <a:noAutofit/>
          </a:bodyPr>
          <a:lstStyle/>
          <a:p>
            <a:pPr algn="ctr"/>
            <a:endParaRPr lang="de-DE" sz="2000" b="0" cap="none" spc="0">
              <a:ln w="0"/>
              <a:solidFill>
                <a:schemeClr val="bg1"/>
              </a:solidFill>
            </a:endParaRPr>
          </a:p>
        </p:txBody>
      </p:sp>
      <p:sp>
        <p:nvSpPr>
          <p:cNvPr id="10" name="Rechtwinkliges Dreieck 9">
            <a:extLst>
              <a:ext uri="{FF2B5EF4-FFF2-40B4-BE49-F238E27FC236}">
                <a16:creationId xmlns:a16="http://schemas.microsoft.com/office/drawing/2014/main" id="{DF6FB31C-91D9-4FBB-9E79-931026808E3B}"/>
              </a:ext>
            </a:extLst>
          </p:cNvPr>
          <p:cNvSpPr/>
          <p:nvPr/>
        </p:nvSpPr>
        <p:spPr>
          <a:xfrm rot="16200000">
            <a:off x="3071899" y="2782776"/>
            <a:ext cx="192798" cy="188595"/>
          </a:xfrm>
          <a:prstGeom prst="rtTriangle">
            <a:avLst/>
          </a:prstGeom>
          <a:solidFill>
            <a:schemeClr val="bg1"/>
          </a:solidFill>
          <a:ln>
            <a:solidFill>
              <a:schemeClr val="bg1"/>
            </a:solidFill>
          </a:ln>
        </p:spPr>
        <p:txBody>
          <a:bodyPr wrap="square" lIns="91440" tIns="45720" rIns="91440" bIns="45720" rtlCol="0" anchor="ctr">
            <a:spAutoFit/>
          </a:bodyPr>
          <a:lstStyle/>
          <a:p>
            <a:pPr algn="ctr"/>
            <a:endParaRPr lang="de-DE" sz="5400" b="0" cap="none" spc="0">
              <a:ln w="0"/>
              <a:solidFill>
                <a:schemeClr val="tx1"/>
              </a:solidFill>
              <a:effectLst>
                <a:outerShdw blurRad="38100" dist="19050" dir="2700000" algn="tl" rotWithShape="0">
                  <a:schemeClr val="dk1">
                    <a:alpha val="40000"/>
                  </a:schemeClr>
                </a:outerShdw>
              </a:effectLst>
            </a:endParaRPr>
          </a:p>
        </p:txBody>
      </p:sp>
      <p:grpSp>
        <p:nvGrpSpPr>
          <p:cNvPr id="11" name="Gruppieren 10">
            <a:extLst>
              <a:ext uri="{FF2B5EF4-FFF2-40B4-BE49-F238E27FC236}">
                <a16:creationId xmlns:a16="http://schemas.microsoft.com/office/drawing/2014/main" id="{88721CB5-132D-4650-A22B-60B6D7D6B879}"/>
              </a:ext>
            </a:extLst>
          </p:cNvPr>
          <p:cNvGrpSpPr/>
          <p:nvPr userDrawn="1"/>
        </p:nvGrpSpPr>
        <p:grpSpPr>
          <a:xfrm>
            <a:off x="470263" y="3215961"/>
            <a:ext cx="2792332" cy="707886"/>
            <a:chOff x="7498080" y="5791475"/>
            <a:chExt cx="2792332" cy="707886"/>
          </a:xfrm>
        </p:grpSpPr>
        <p:sp>
          <p:nvSpPr>
            <p:cNvPr id="12" name="Rechteck 11">
              <a:extLst>
                <a:ext uri="{FF2B5EF4-FFF2-40B4-BE49-F238E27FC236}">
                  <a16:creationId xmlns:a16="http://schemas.microsoft.com/office/drawing/2014/main" id="{993514E1-CC06-4D0A-BB61-549A35C07106}"/>
                </a:ext>
              </a:extLst>
            </p:cNvPr>
            <p:cNvSpPr/>
            <p:nvPr/>
          </p:nvSpPr>
          <p:spPr>
            <a:xfrm>
              <a:off x="7498080" y="5791475"/>
              <a:ext cx="2792332" cy="707886"/>
            </a:xfrm>
            <a:prstGeom prst="rect">
              <a:avLst/>
            </a:prstGeom>
            <a:solidFill>
              <a:srgbClr val="D00000"/>
            </a:solidFill>
            <a:ln>
              <a:solidFill>
                <a:schemeClr val="bg1"/>
              </a:solidFill>
            </a:ln>
          </p:spPr>
          <p:txBody>
            <a:bodyPr wrap="square" lIns="91440" tIns="45720" rIns="91440" bIns="45720" rtlCol="0" anchor="ctr">
              <a:noAutofit/>
            </a:bodyPr>
            <a:lstStyle/>
            <a:p>
              <a:pPr algn="ctr"/>
              <a:endParaRPr lang="de-DE" sz="2000" b="0" cap="none" spc="0">
                <a:ln w="0"/>
                <a:solidFill>
                  <a:schemeClr val="bg1"/>
                </a:solidFill>
              </a:endParaRPr>
            </a:p>
          </p:txBody>
        </p:sp>
        <p:sp>
          <p:nvSpPr>
            <p:cNvPr id="13" name="Rechtwinkliges Dreieck 12">
              <a:extLst>
                <a:ext uri="{FF2B5EF4-FFF2-40B4-BE49-F238E27FC236}">
                  <a16:creationId xmlns:a16="http://schemas.microsoft.com/office/drawing/2014/main" id="{9D40BE76-099E-4D32-A8DD-5474E6EA6F5E}"/>
                </a:ext>
              </a:extLst>
            </p:cNvPr>
            <p:cNvSpPr/>
            <p:nvPr/>
          </p:nvSpPr>
          <p:spPr>
            <a:xfrm rot="16200000">
              <a:off x="10099716" y="6301407"/>
              <a:ext cx="192798" cy="188595"/>
            </a:xfrm>
            <a:prstGeom prst="rtTriangle">
              <a:avLst/>
            </a:prstGeom>
            <a:solidFill>
              <a:schemeClr val="bg1"/>
            </a:solidFill>
            <a:ln>
              <a:solidFill>
                <a:schemeClr val="bg1"/>
              </a:solidFill>
            </a:ln>
          </p:spPr>
          <p:txBody>
            <a:bodyPr wrap="square" lIns="91440" tIns="45720" rIns="91440" bIns="45720" rtlCol="0" anchor="ctr">
              <a:spAutoFit/>
            </a:bodyPr>
            <a:lstStyle/>
            <a:p>
              <a:pPr algn="ctr"/>
              <a:endParaRPr lang="de-DE" sz="5400" b="0" cap="none" spc="0">
                <a:ln w="0"/>
                <a:solidFill>
                  <a:schemeClr val="tx1"/>
                </a:solidFill>
                <a:effectLst>
                  <a:outerShdw blurRad="38100" dist="19050" dir="2700000" algn="tl" rotWithShape="0">
                    <a:schemeClr val="dk1">
                      <a:alpha val="40000"/>
                    </a:schemeClr>
                  </a:outerShdw>
                </a:effectLst>
              </a:endParaRPr>
            </a:p>
          </p:txBody>
        </p:sp>
      </p:grpSp>
      <p:grpSp>
        <p:nvGrpSpPr>
          <p:cNvPr id="14" name="Gruppieren 13">
            <a:extLst>
              <a:ext uri="{FF2B5EF4-FFF2-40B4-BE49-F238E27FC236}">
                <a16:creationId xmlns:a16="http://schemas.microsoft.com/office/drawing/2014/main" id="{CBFEE388-3D71-494A-916A-1664DBB4AA7A}"/>
              </a:ext>
            </a:extLst>
          </p:cNvPr>
          <p:cNvGrpSpPr/>
          <p:nvPr userDrawn="1"/>
        </p:nvGrpSpPr>
        <p:grpSpPr>
          <a:xfrm>
            <a:off x="470263" y="4148137"/>
            <a:ext cx="2792332" cy="784427"/>
            <a:chOff x="7498080" y="5812070"/>
            <a:chExt cx="2792332" cy="845501"/>
          </a:xfrm>
        </p:grpSpPr>
        <p:sp>
          <p:nvSpPr>
            <p:cNvPr id="15" name="Rechteck 14">
              <a:extLst>
                <a:ext uri="{FF2B5EF4-FFF2-40B4-BE49-F238E27FC236}">
                  <a16:creationId xmlns:a16="http://schemas.microsoft.com/office/drawing/2014/main" id="{A6835409-E0F3-44CA-9BCA-384D7521449A}"/>
                </a:ext>
              </a:extLst>
            </p:cNvPr>
            <p:cNvSpPr/>
            <p:nvPr/>
          </p:nvSpPr>
          <p:spPr>
            <a:xfrm>
              <a:off x="7498080" y="5812070"/>
              <a:ext cx="2792332" cy="841179"/>
            </a:xfrm>
            <a:prstGeom prst="rect">
              <a:avLst/>
            </a:prstGeom>
            <a:solidFill>
              <a:srgbClr val="D00000"/>
            </a:solidFill>
            <a:ln>
              <a:solidFill>
                <a:schemeClr val="bg1"/>
              </a:solidFill>
            </a:ln>
          </p:spPr>
          <p:txBody>
            <a:bodyPr wrap="square" lIns="91440" tIns="45720" rIns="91440" bIns="45720" rtlCol="0" anchor="ctr">
              <a:noAutofit/>
            </a:bodyPr>
            <a:lstStyle/>
            <a:p>
              <a:pPr algn="ctr"/>
              <a:endParaRPr lang="de-DE" sz="2000" b="0" cap="none" spc="0">
                <a:ln w="0"/>
                <a:solidFill>
                  <a:schemeClr val="bg1"/>
                </a:solidFill>
              </a:endParaRPr>
            </a:p>
          </p:txBody>
        </p:sp>
        <p:sp>
          <p:nvSpPr>
            <p:cNvPr id="16" name="Rechtwinkliges Dreieck 15">
              <a:extLst>
                <a:ext uri="{FF2B5EF4-FFF2-40B4-BE49-F238E27FC236}">
                  <a16:creationId xmlns:a16="http://schemas.microsoft.com/office/drawing/2014/main" id="{C07D814E-5CD7-4160-9197-F8CEF4F54CD2}"/>
                </a:ext>
              </a:extLst>
            </p:cNvPr>
            <p:cNvSpPr/>
            <p:nvPr/>
          </p:nvSpPr>
          <p:spPr>
            <a:xfrm rot="16200000">
              <a:off x="10099716" y="6466874"/>
              <a:ext cx="192798" cy="188595"/>
            </a:xfrm>
            <a:prstGeom prst="rtTriangle">
              <a:avLst/>
            </a:prstGeom>
            <a:solidFill>
              <a:schemeClr val="bg1"/>
            </a:solidFill>
            <a:ln>
              <a:solidFill>
                <a:schemeClr val="bg1"/>
              </a:solidFill>
            </a:ln>
          </p:spPr>
          <p:txBody>
            <a:bodyPr wrap="square" lIns="91440" tIns="45720" rIns="91440" bIns="45720" rtlCol="0" anchor="ctr">
              <a:spAutoFit/>
            </a:bodyPr>
            <a:lstStyle/>
            <a:p>
              <a:pPr algn="ctr"/>
              <a:endParaRPr lang="de-DE" sz="5400" b="0" cap="none" spc="0">
                <a:ln w="0"/>
                <a:solidFill>
                  <a:schemeClr val="tx1"/>
                </a:solidFill>
                <a:effectLst>
                  <a:outerShdw blurRad="38100" dist="19050" dir="2700000" algn="tl" rotWithShape="0">
                    <a:schemeClr val="dk1">
                      <a:alpha val="40000"/>
                    </a:schemeClr>
                  </a:outerShdw>
                </a:effectLst>
              </a:endParaRPr>
            </a:p>
          </p:txBody>
        </p:sp>
      </p:grpSp>
      <p:cxnSp>
        <p:nvCxnSpPr>
          <p:cNvPr id="17" name="Gerade Verbindung mit Pfeil 16">
            <a:extLst>
              <a:ext uri="{FF2B5EF4-FFF2-40B4-BE49-F238E27FC236}">
                <a16:creationId xmlns:a16="http://schemas.microsoft.com/office/drawing/2014/main" id="{164D3DAA-2BD0-4081-9E77-C353C6365686}"/>
              </a:ext>
            </a:extLst>
          </p:cNvPr>
          <p:cNvCxnSpPr>
            <a:cxnSpLocks/>
          </p:cNvCxnSpPr>
          <p:nvPr userDrawn="1"/>
        </p:nvCxnSpPr>
        <p:spPr>
          <a:xfrm>
            <a:off x="3409950" y="2690545"/>
            <a:ext cx="1038225" cy="7384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AFC029EA-299C-401E-BE9C-103ACA68DD0F}"/>
              </a:ext>
            </a:extLst>
          </p:cNvPr>
          <p:cNvSpPr/>
          <p:nvPr userDrawn="1"/>
        </p:nvSpPr>
        <p:spPr>
          <a:xfrm>
            <a:off x="4618899" y="3274996"/>
            <a:ext cx="341721" cy="702000"/>
          </a:xfrm>
          <a:prstGeom prst="rect">
            <a:avLst/>
          </a:prstGeom>
          <a:solidFill>
            <a:srgbClr val="D00000"/>
          </a:solidFill>
        </p:spPr>
        <p:txBody>
          <a:bodyPr wrap="square" lIns="91440" tIns="45720" rIns="91440" bIns="45720" rtlCol="0" anchor="ctr">
            <a:spAutoFit/>
          </a:bodyPr>
          <a:lstStyle/>
          <a:p>
            <a:pPr algn="ctr"/>
            <a:endParaRPr lang="de-DE" sz="5400" b="0" cap="none" spc="0">
              <a:ln w="0"/>
              <a:solidFill>
                <a:schemeClr val="tx1"/>
              </a:solidFill>
              <a:effectLst>
                <a:outerShdw blurRad="38100" dist="19050" dir="2700000" algn="tl" rotWithShape="0">
                  <a:schemeClr val="dk1">
                    <a:alpha val="40000"/>
                  </a:schemeClr>
                </a:outerShdw>
              </a:effectLst>
            </a:endParaRPr>
          </a:p>
        </p:txBody>
      </p:sp>
      <p:cxnSp>
        <p:nvCxnSpPr>
          <p:cNvPr id="19" name="Gerade Verbindung mit Pfeil 18">
            <a:extLst>
              <a:ext uri="{FF2B5EF4-FFF2-40B4-BE49-F238E27FC236}">
                <a16:creationId xmlns:a16="http://schemas.microsoft.com/office/drawing/2014/main" id="{90F52BFE-9A8D-4B1D-AB4D-48A3BE7CA764}"/>
              </a:ext>
            </a:extLst>
          </p:cNvPr>
          <p:cNvCxnSpPr>
            <a:cxnSpLocks/>
          </p:cNvCxnSpPr>
          <p:nvPr userDrawn="1"/>
        </p:nvCxnSpPr>
        <p:spPr>
          <a:xfrm>
            <a:off x="3409950" y="3648075"/>
            <a:ext cx="10382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Gerade Verbindung mit Pfeil 19">
            <a:extLst>
              <a:ext uri="{FF2B5EF4-FFF2-40B4-BE49-F238E27FC236}">
                <a16:creationId xmlns:a16="http://schemas.microsoft.com/office/drawing/2014/main" id="{7E68FE2E-1F1A-46A4-B4C3-FBC1CE4F21D1}"/>
              </a:ext>
            </a:extLst>
          </p:cNvPr>
          <p:cNvCxnSpPr>
            <a:cxnSpLocks/>
          </p:cNvCxnSpPr>
          <p:nvPr userDrawn="1"/>
        </p:nvCxnSpPr>
        <p:spPr>
          <a:xfrm flipV="1">
            <a:off x="3409950" y="3916590"/>
            <a:ext cx="1038225" cy="6890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5995C683-9377-4CAE-9A81-50A0A2DA6E56}"/>
              </a:ext>
            </a:extLst>
          </p:cNvPr>
          <p:cNvSpPr/>
          <p:nvPr userDrawn="1"/>
        </p:nvSpPr>
        <p:spPr>
          <a:xfrm>
            <a:off x="9105036" y="3072242"/>
            <a:ext cx="2160000" cy="9863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2000"/>
          </a:p>
        </p:txBody>
      </p:sp>
      <p:sp>
        <p:nvSpPr>
          <p:cNvPr id="22" name="Rechteck 21">
            <a:extLst>
              <a:ext uri="{FF2B5EF4-FFF2-40B4-BE49-F238E27FC236}">
                <a16:creationId xmlns:a16="http://schemas.microsoft.com/office/drawing/2014/main" id="{66EEB3AF-F089-46A7-BC83-A8B613FAF55F}"/>
              </a:ext>
            </a:extLst>
          </p:cNvPr>
          <p:cNvSpPr/>
          <p:nvPr userDrawn="1"/>
        </p:nvSpPr>
        <p:spPr>
          <a:xfrm>
            <a:off x="9187403" y="3146731"/>
            <a:ext cx="2003273" cy="830996"/>
          </a:xfrm>
          <a:prstGeom prst="rect">
            <a:avLst/>
          </a:prstGeom>
          <a:solidFill>
            <a:schemeClr val="bg1"/>
          </a:solidFill>
          <a:ln>
            <a:noFill/>
          </a:ln>
        </p:spPr>
        <p:txBody>
          <a:bodyPr wrap="square" lIns="91440" tIns="45720" rIns="91440" bIns="45720" rtlCol="0" anchor="ctr">
            <a:noAutofit/>
          </a:bodyPr>
          <a:lstStyle/>
          <a:p>
            <a:pPr algn="ctr"/>
            <a:endParaRPr lang="de-DE" sz="5400" b="0" cap="none" spc="0">
              <a:ln w="0"/>
              <a:solidFill>
                <a:schemeClr val="tx1"/>
              </a:solidFill>
              <a:effectLst>
                <a:outerShdw blurRad="38100" dist="19050" dir="2700000" algn="tl" rotWithShape="0">
                  <a:schemeClr val="dk1">
                    <a:alpha val="40000"/>
                  </a:schemeClr>
                </a:outerShdw>
              </a:effectLst>
            </a:endParaRPr>
          </a:p>
        </p:txBody>
      </p:sp>
      <p:sp>
        <p:nvSpPr>
          <p:cNvPr id="24" name="Rechtwinkliges Dreieck 23">
            <a:extLst>
              <a:ext uri="{FF2B5EF4-FFF2-40B4-BE49-F238E27FC236}">
                <a16:creationId xmlns:a16="http://schemas.microsoft.com/office/drawing/2014/main" id="{4D2CE622-BBC9-4378-8833-F2AEC6FA890A}"/>
              </a:ext>
            </a:extLst>
          </p:cNvPr>
          <p:cNvSpPr/>
          <p:nvPr userDrawn="1"/>
        </p:nvSpPr>
        <p:spPr>
          <a:xfrm rot="16200000">
            <a:off x="11060248" y="3836216"/>
            <a:ext cx="145063" cy="146233"/>
          </a:xfrm>
          <a:prstGeom prst="rtTriangle">
            <a:avLst/>
          </a:prstGeom>
          <a:solidFill>
            <a:schemeClr val="bg2"/>
          </a:solidFill>
        </p:spPr>
        <p:txBody>
          <a:bodyPr wrap="square" lIns="91440" tIns="45720" rIns="91440" bIns="45720" rtlCol="0" anchor="ctr">
            <a:spAutoFit/>
          </a:bodyPr>
          <a:lstStyle/>
          <a:p>
            <a:pPr algn="ctr"/>
            <a:endParaRPr lang="de-DE" sz="5400" b="0" cap="none" spc="0">
              <a:ln w="0"/>
              <a:solidFill>
                <a:schemeClr val="tx1"/>
              </a:solidFill>
              <a:effectLst>
                <a:outerShdw blurRad="38100" dist="19050" dir="2700000" algn="tl" rotWithShape="0">
                  <a:schemeClr val="dk1">
                    <a:alpha val="40000"/>
                  </a:schemeClr>
                </a:outerShdw>
              </a:effectLst>
            </a:endParaRPr>
          </a:p>
        </p:txBody>
      </p:sp>
      <p:sp>
        <p:nvSpPr>
          <p:cNvPr id="25" name="Textplatzhalter 24">
            <a:extLst>
              <a:ext uri="{FF2B5EF4-FFF2-40B4-BE49-F238E27FC236}">
                <a16:creationId xmlns:a16="http://schemas.microsoft.com/office/drawing/2014/main" id="{1ECEDC9D-A8EB-46A7-9DA4-9CF58C81FB1F}"/>
              </a:ext>
            </a:extLst>
          </p:cNvPr>
          <p:cNvSpPr>
            <a:spLocks noGrp="1"/>
          </p:cNvSpPr>
          <p:nvPr>
            <p:ph type="body" sz="quarter" idx="14" hasCustomPrompt="1"/>
          </p:nvPr>
        </p:nvSpPr>
        <p:spPr>
          <a:xfrm>
            <a:off x="470262" y="2242275"/>
            <a:ext cx="2792413" cy="731838"/>
          </a:xfrm>
          <a:prstGeom prst="rect">
            <a:avLst/>
          </a:prstGeom>
        </p:spPr>
        <p:txBody>
          <a:bodyPr anchor="ctr"/>
          <a:lstStyle>
            <a:lvl1pPr marL="0" indent="0" algn="ctr">
              <a:buNone/>
              <a:defRPr>
                <a:solidFill>
                  <a:schemeClr val="bg1"/>
                </a:solidFill>
                <a:latin typeface="M05 Text Office" panose="020B05040400000000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Ebene 1</a:t>
            </a:r>
          </a:p>
        </p:txBody>
      </p:sp>
      <p:sp>
        <p:nvSpPr>
          <p:cNvPr id="26" name="Textplatzhalter 24">
            <a:extLst>
              <a:ext uri="{FF2B5EF4-FFF2-40B4-BE49-F238E27FC236}">
                <a16:creationId xmlns:a16="http://schemas.microsoft.com/office/drawing/2014/main" id="{B97DA77D-F4BB-437A-AE7E-33205A5FF52F}"/>
              </a:ext>
            </a:extLst>
          </p:cNvPr>
          <p:cNvSpPr>
            <a:spLocks noGrp="1"/>
          </p:cNvSpPr>
          <p:nvPr>
            <p:ph type="body" sz="quarter" idx="15" hasCustomPrompt="1"/>
          </p:nvPr>
        </p:nvSpPr>
        <p:spPr>
          <a:xfrm>
            <a:off x="477792" y="3203985"/>
            <a:ext cx="2792413" cy="731838"/>
          </a:xfrm>
          <a:prstGeom prst="rect">
            <a:avLst/>
          </a:prstGeom>
        </p:spPr>
        <p:txBody>
          <a:bodyPr anchor="ctr"/>
          <a:lstStyle>
            <a:lvl1pPr marL="0" indent="0" algn="ctr">
              <a:buNone/>
              <a:defRPr>
                <a:solidFill>
                  <a:schemeClr val="bg1"/>
                </a:solidFill>
                <a:latin typeface="M05 Text Office" panose="020B05040400000000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Ebene 2</a:t>
            </a:r>
          </a:p>
        </p:txBody>
      </p:sp>
      <p:sp>
        <p:nvSpPr>
          <p:cNvPr id="27" name="Textplatzhalter 24">
            <a:extLst>
              <a:ext uri="{FF2B5EF4-FFF2-40B4-BE49-F238E27FC236}">
                <a16:creationId xmlns:a16="http://schemas.microsoft.com/office/drawing/2014/main" id="{DBC77496-7FAE-49BC-BF5C-2C38D9A52FCA}"/>
              </a:ext>
            </a:extLst>
          </p:cNvPr>
          <p:cNvSpPr>
            <a:spLocks noGrp="1"/>
          </p:cNvSpPr>
          <p:nvPr>
            <p:ph type="body" sz="quarter" idx="16" hasCustomPrompt="1"/>
          </p:nvPr>
        </p:nvSpPr>
        <p:spPr>
          <a:xfrm>
            <a:off x="477792" y="4182838"/>
            <a:ext cx="2792413" cy="731838"/>
          </a:xfrm>
          <a:prstGeom prst="rect">
            <a:avLst/>
          </a:prstGeom>
        </p:spPr>
        <p:txBody>
          <a:bodyPr anchor="ctr"/>
          <a:lstStyle>
            <a:lvl1pPr marL="0" indent="0" algn="ctr">
              <a:buNone/>
              <a:defRPr>
                <a:solidFill>
                  <a:schemeClr val="bg1"/>
                </a:solidFill>
                <a:latin typeface="M05 Text Office" panose="020B05040400000000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Ebene 3</a:t>
            </a:r>
          </a:p>
        </p:txBody>
      </p:sp>
      <p:sp>
        <p:nvSpPr>
          <p:cNvPr id="28" name="Textplatzhalter 24">
            <a:extLst>
              <a:ext uri="{FF2B5EF4-FFF2-40B4-BE49-F238E27FC236}">
                <a16:creationId xmlns:a16="http://schemas.microsoft.com/office/drawing/2014/main" id="{8FBC8722-7FD7-47CA-B2C2-2D190C054DE2}"/>
              </a:ext>
            </a:extLst>
          </p:cNvPr>
          <p:cNvSpPr>
            <a:spLocks noGrp="1"/>
          </p:cNvSpPr>
          <p:nvPr>
            <p:ph type="body" sz="quarter" idx="17" hasCustomPrompt="1"/>
          </p:nvPr>
        </p:nvSpPr>
        <p:spPr>
          <a:xfrm>
            <a:off x="4614598" y="3260077"/>
            <a:ext cx="2038215" cy="731838"/>
          </a:xfrm>
          <a:prstGeom prst="rect">
            <a:avLst/>
          </a:prstGeom>
        </p:spPr>
        <p:txBody>
          <a:bodyPr anchor="ctr"/>
          <a:lstStyle>
            <a:lvl1pPr marL="0" indent="0" algn="ctr">
              <a:buNone/>
              <a:defRPr>
                <a:solidFill>
                  <a:schemeClr val="bg1"/>
                </a:solidFill>
                <a:latin typeface="M05 Text Office" panose="020B05040400000000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Wirkung 1</a:t>
            </a:r>
          </a:p>
        </p:txBody>
      </p:sp>
      <p:sp>
        <p:nvSpPr>
          <p:cNvPr id="29" name="Textplatzhalter 24">
            <a:extLst>
              <a:ext uri="{FF2B5EF4-FFF2-40B4-BE49-F238E27FC236}">
                <a16:creationId xmlns:a16="http://schemas.microsoft.com/office/drawing/2014/main" id="{069D12F3-45C5-44F3-915B-FBE6E787590D}"/>
              </a:ext>
            </a:extLst>
          </p:cNvPr>
          <p:cNvSpPr>
            <a:spLocks noGrp="1"/>
          </p:cNvSpPr>
          <p:nvPr>
            <p:ph type="body" sz="quarter" idx="18" hasCustomPrompt="1"/>
          </p:nvPr>
        </p:nvSpPr>
        <p:spPr>
          <a:xfrm>
            <a:off x="7054458" y="3259972"/>
            <a:ext cx="1699928" cy="731838"/>
          </a:xfrm>
          <a:prstGeom prst="rect">
            <a:avLst/>
          </a:prstGeom>
        </p:spPr>
        <p:txBody>
          <a:bodyPr anchor="ctr"/>
          <a:lstStyle>
            <a:lvl1pPr marL="0" indent="0" algn="ctr">
              <a:buNone/>
              <a:defRPr>
                <a:solidFill>
                  <a:schemeClr val="bg1"/>
                </a:solidFill>
                <a:latin typeface="M05 Text Office" panose="020B05040400000000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Wirkung 2</a:t>
            </a:r>
          </a:p>
        </p:txBody>
      </p:sp>
      <p:sp>
        <p:nvSpPr>
          <p:cNvPr id="30" name="Textplatzhalter 24">
            <a:extLst>
              <a:ext uri="{FF2B5EF4-FFF2-40B4-BE49-F238E27FC236}">
                <a16:creationId xmlns:a16="http://schemas.microsoft.com/office/drawing/2014/main" id="{6689EE5F-542E-4963-915B-B173566EAC50}"/>
              </a:ext>
            </a:extLst>
          </p:cNvPr>
          <p:cNvSpPr>
            <a:spLocks noGrp="1"/>
          </p:cNvSpPr>
          <p:nvPr>
            <p:ph type="body" sz="quarter" idx="19" hasCustomPrompt="1"/>
          </p:nvPr>
        </p:nvSpPr>
        <p:spPr>
          <a:xfrm>
            <a:off x="9182871" y="3184752"/>
            <a:ext cx="2003274" cy="731838"/>
          </a:xfrm>
          <a:prstGeom prst="rect">
            <a:avLst/>
          </a:prstGeom>
        </p:spPr>
        <p:txBody>
          <a:bodyPr anchor="ctr"/>
          <a:lstStyle>
            <a:lvl1pPr marL="0" indent="0" algn="ctr">
              <a:buNone/>
              <a:defRPr>
                <a:solidFill>
                  <a:schemeClr val="tx1"/>
                </a:solidFill>
                <a:latin typeface="M05 Text Office" panose="020B05040400000000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Ergebnis</a:t>
            </a:r>
          </a:p>
        </p:txBody>
      </p:sp>
    </p:spTree>
    <p:extLst>
      <p:ext uri="{BB962C8B-B14F-4D97-AF65-F5344CB8AC3E}">
        <p14:creationId xmlns:p14="http://schemas.microsoft.com/office/powerpoint/2010/main" val="33267600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ktivierungsbausteine / Zyklu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grpSp>
        <p:nvGrpSpPr>
          <p:cNvPr id="31" name="Gruppierung 59">
            <a:extLst>
              <a:ext uri="{FF2B5EF4-FFF2-40B4-BE49-F238E27FC236}">
                <a16:creationId xmlns:a16="http://schemas.microsoft.com/office/drawing/2014/main" id="{FB8C1344-872A-4D0B-9D83-CA0C1C271F11}"/>
              </a:ext>
            </a:extLst>
          </p:cNvPr>
          <p:cNvGrpSpPr>
            <a:grpSpLocks noChangeAspect="1"/>
          </p:cNvGrpSpPr>
          <p:nvPr userDrawn="1"/>
        </p:nvGrpSpPr>
        <p:grpSpPr>
          <a:xfrm>
            <a:off x="3441676" y="1677800"/>
            <a:ext cx="4505050" cy="4630049"/>
            <a:chOff x="3674175" y="2706834"/>
            <a:chExt cx="2148599" cy="2199712"/>
          </a:xfrm>
          <a:solidFill>
            <a:srgbClr val="414042"/>
          </a:solidFill>
        </p:grpSpPr>
        <p:sp>
          <p:nvSpPr>
            <p:cNvPr id="32" name="Freihandform 60">
              <a:extLst>
                <a:ext uri="{FF2B5EF4-FFF2-40B4-BE49-F238E27FC236}">
                  <a16:creationId xmlns:a16="http://schemas.microsoft.com/office/drawing/2014/main" id="{FD96A115-3C13-42F1-AD58-EA0D5F71F07F}"/>
                </a:ext>
              </a:extLst>
            </p:cNvPr>
            <p:cNvSpPr>
              <a:spLocks noChangeAspect="1"/>
            </p:cNvSpPr>
            <p:nvPr/>
          </p:nvSpPr>
          <p:spPr bwMode="gray">
            <a:xfrm rot="10800000">
              <a:off x="4743733" y="4057332"/>
              <a:ext cx="864067" cy="689805"/>
            </a:xfrm>
            <a:custGeom>
              <a:avLst/>
              <a:gdLst>
                <a:gd name="connsiteX0" fmla="*/ 260398 w 3780000"/>
                <a:gd name="connsiteY0" fmla="*/ 932661 h 3780000"/>
                <a:gd name="connsiteX1" fmla="*/ 1893644 w 3780000"/>
                <a:gd name="connsiteY1" fmla="*/ 3 h 3780000"/>
                <a:gd name="connsiteX2" fmla="*/ 1892304 w 3780000"/>
                <a:gd name="connsiteY2" fmla="*/ 694842 h 3780000"/>
                <a:gd name="connsiteX3" fmla="*/ 859505 w 3780000"/>
                <a:gd name="connsiteY3" fmla="*/ 1284617 h 3780000"/>
                <a:gd name="connsiteX4" fmla="*/ 260398 w 3780000"/>
                <a:gd name="connsiteY4" fmla="*/ 932661 h 3780000"/>
                <a:gd name="connsiteX0" fmla="*/ 0 w 1633246"/>
                <a:gd name="connsiteY0" fmla="*/ 933952 h 1285908"/>
                <a:gd name="connsiteX1" fmla="*/ 1633246 w 1633246"/>
                <a:gd name="connsiteY1" fmla="*/ 1294 h 1285908"/>
                <a:gd name="connsiteX2" fmla="*/ 1631906 w 1633246"/>
                <a:gd name="connsiteY2" fmla="*/ 696133 h 1285908"/>
                <a:gd name="connsiteX3" fmla="*/ 599107 w 1633246"/>
                <a:gd name="connsiteY3" fmla="*/ 1285908 h 1285908"/>
                <a:gd name="connsiteX4" fmla="*/ 303075 w 1633246"/>
                <a:gd name="connsiteY4" fmla="*/ 1111747 h 1285908"/>
                <a:gd name="connsiteX5" fmla="*/ 0 w 1633246"/>
                <a:gd name="connsiteY5" fmla="*/ 933952 h 1285908"/>
                <a:gd name="connsiteX0" fmla="*/ 0 w 1633246"/>
                <a:gd name="connsiteY0" fmla="*/ 933952 h 1285908"/>
                <a:gd name="connsiteX1" fmla="*/ 1633246 w 1633246"/>
                <a:gd name="connsiteY1" fmla="*/ 1294 h 1285908"/>
                <a:gd name="connsiteX2" fmla="*/ 1631906 w 1633246"/>
                <a:gd name="connsiteY2" fmla="*/ 696133 h 1285908"/>
                <a:gd name="connsiteX3" fmla="*/ 599107 w 1633246"/>
                <a:gd name="connsiteY3" fmla="*/ 1285908 h 1285908"/>
                <a:gd name="connsiteX4" fmla="*/ 409607 w 1633246"/>
                <a:gd name="connsiteY4" fmla="*/ 969704 h 1285908"/>
                <a:gd name="connsiteX5" fmla="*/ 0 w 1633246"/>
                <a:gd name="connsiteY5" fmla="*/ 933952 h 1285908"/>
                <a:gd name="connsiteX0" fmla="*/ 0 w 1905700"/>
                <a:gd name="connsiteY0" fmla="*/ 1034218 h 1386174"/>
                <a:gd name="connsiteX1" fmla="*/ 1633246 w 1905700"/>
                <a:gd name="connsiteY1" fmla="*/ 101560 h 1386174"/>
                <a:gd name="connsiteX2" fmla="*/ 1634725 w 1905700"/>
                <a:gd name="connsiteY2" fmla="*/ 424860 h 1386174"/>
                <a:gd name="connsiteX3" fmla="*/ 1631906 w 1905700"/>
                <a:gd name="connsiteY3" fmla="*/ 796399 h 1386174"/>
                <a:gd name="connsiteX4" fmla="*/ 599107 w 1905700"/>
                <a:gd name="connsiteY4" fmla="*/ 1386174 h 1386174"/>
                <a:gd name="connsiteX5" fmla="*/ 409607 w 1905700"/>
                <a:gd name="connsiteY5" fmla="*/ 1069970 h 1386174"/>
                <a:gd name="connsiteX6" fmla="*/ 0 w 1905700"/>
                <a:gd name="connsiteY6" fmla="*/ 1034218 h 1386174"/>
                <a:gd name="connsiteX0" fmla="*/ 0 w 1804509"/>
                <a:gd name="connsiteY0" fmla="*/ 933952 h 1285908"/>
                <a:gd name="connsiteX1" fmla="*/ 1633246 w 1804509"/>
                <a:gd name="connsiteY1" fmla="*/ 1294 h 1285908"/>
                <a:gd name="connsiteX2" fmla="*/ 1634725 w 1804509"/>
                <a:gd name="connsiteY2" fmla="*/ 324594 h 1285908"/>
                <a:gd name="connsiteX3" fmla="*/ 1631906 w 1804509"/>
                <a:gd name="connsiteY3" fmla="*/ 696133 h 1285908"/>
                <a:gd name="connsiteX4" fmla="*/ 599107 w 1804509"/>
                <a:gd name="connsiteY4" fmla="*/ 1285908 h 1285908"/>
                <a:gd name="connsiteX5" fmla="*/ 409607 w 1804509"/>
                <a:gd name="connsiteY5" fmla="*/ 969704 h 1285908"/>
                <a:gd name="connsiteX6" fmla="*/ 0 w 1804509"/>
                <a:gd name="connsiteY6" fmla="*/ 933952 h 1285908"/>
                <a:gd name="connsiteX0" fmla="*/ 0 w 1634725"/>
                <a:gd name="connsiteY0" fmla="*/ 933952 h 1285908"/>
                <a:gd name="connsiteX1" fmla="*/ 1633246 w 1634725"/>
                <a:gd name="connsiteY1" fmla="*/ 1294 h 1285908"/>
                <a:gd name="connsiteX2" fmla="*/ 1634725 w 1634725"/>
                <a:gd name="connsiteY2" fmla="*/ 324594 h 1285908"/>
                <a:gd name="connsiteX3" fmla="*/ 1631906 w 1634725"/>
                <a:gd name="connsiteY3" fmla="*/ 696133 h 1285908"/>
                <a:gd name="connsiteX4" fmla="*/ 599107 w 1634725"/>
                <a:gd name="connsiteY4" fmla="*/ 1285908 h 1285908"/>
                <a:gd name="connsiteX5" fmla="*/ 409607 w 1634725"/>
                <a:gd name="connsiteY5" fmla="*/ 969704 h 1285908"/>
                <a:gd name="connsiteX6" fmla="*/ 0 w 1634725"/>
                <a:gd name="connsiteY6" fmla="*/ 933952 h 128590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09799 h 1361755"/>
                <a:gd name="connsiteX1" fmla="*/ 1338804 w 1634725"/>
                <a:gd name="connsiteY1" fmla="*/ 101560 h 1361755"/>
                <a:gd name="connsiteX2" fmla="*/ 1634725 w 1634725"/>
                <a:gd name="connsiteY2" fmla="*/ 400441 h 1361755"/>
                <a:gd name="connsiteX3" fmla="*/ 1631906 w 1634725"/>
                <a:gd name="connsiteY3" fmla="*/ 771980 h 1361755"/>
                <a:gd name="connsiteX4" fmla="*/ 599107 w 1634725"/>
                <a:gd name="connsiteY4" fmla="*/ 1361755 h 1361755"/>
                <a:gd name="connsiteX5" fmla="*/ 409607 w 1634725"/>
                <a:gd name="connsiteY5" fmla="*/ 1045551 h 1361755"/>
                <a:gd name="connsiteX6" fmla="*/ 0 w 1634725"/>
                <a:gd name="connsiteY6" fmla="*/ 1009799 h 1361755"/>
                <a:gd name="connsiteX0" fmla="*/ 0 w 1635651"/>
                <a:gd name="connsiteY0" fmla="*/ 1009799 h 1361755"/>
                <a:gd name="connsiteX1" fmla="*/ 1338804 w 1635651"/>
                <a:gd name="connsiteY1" fmla="*/ 101560 h 1361755"/>
                <a:gd name="connsiteX2" fmla="*/ 1634725 w 1635651"/>
                <a:gd name="connsiteY2" fmla="*/ 400441 h 1361755"/>
                <a:gd name="connsiteX3" fmla="*/ 1631906 w 1635651"/>
                <a:gd name="connsiteY3" fmla="*/ 771980 h 1361755"/>
                <a:gd name="connsiteX4" fmla="*/ 599107 w 1635651"/>
                <a:gd name="connsiteY4" fmla="*/ 1361755 h 1361755"/>
                <a:gd name="connsiteX5" fmla="*/ 409607 w 1635651"/>
                <a:gd name="connsiteY5" fmla="*/ 1045551 h 1361755"/>
                <a:gd name="connsiteX6" fmla="*/ 0 w 1635651"/>
                <a:gd name="connsiteY6" fmla="*/ 1009799 h 1361755"/>
                <a:gd name="connsiteX0" fmla="*/ 0 w 1635651"/>
                <a:gd name="connsiteY0" fmla="*/ 908239 h 1260195"/>
                <a:gd name="connsiteX1" fmla="*/ 1338804 w 1635651"/>
                <a:gd name="connsiteY1" fmla="*/ 0 h 1260195"/>
                <a:gd name="connsiteX2" fmla="*/ 1634725 w 1635651"/>
                <a:gd name="connsiteY2" fmla="*/ 298881 h 1260195"/>
                <a:gd name="connsiteX3" fmla="*/ 1631906 w 1635651"/>
                <a:gd name="connsiteY3" fmla="*/ 670420 h 1260195"/>
                <a:gd name="connsiteX4" fmla="*/ 599107 w 1635651"/>
                <a:gd name="connsiteY4" fmla="*/ 1260195 h 1260195"/>
                <a:gd name="connsiteX5" fmla="*/ 409607 w 1635651"/>
                <a:gd name="connsiteY5" fmla="*/ 943991 h 1260195"/>
                <a:gd name="connsiteX6" fmla="*/ 0 w 1635651"/>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44096"/>
                <a:gd name="connsiteY0" fmla="*/ 908239 h 1260195"/>
                <a:gd name="connsiteX1" fmla="*/ 1338804 w 1644096"/>
                <a:gd name="connsiteY1" fmla="*/ 0 h 1260195"/>
                <a:gd name="connsiteX2" fmla="*/ 1634725 w 1644096"/>
                <a:gd name="connsiteY2" fmla="*/ 298881 h 1260195"/>
                <a:gd name="connsiteX3" fmla="*/ 1395029 w 1644096"/>
                <a:gd name="connsiteY3" fmla="*/ 692458 h 1260195"/>
                <a:gd name="connsiteX4" fmla="*/ 599107 w 1644096"/>
                <a:gd name="connsiteY4" fmla="*/ 1260195 h 1260195"/>
                <a:gd name="connsiteX5" fmla="*/ 409607 w 1644096"/>
                <a:gd name="connsiteY5" fmla="*/ 943991 h 1260195"/>
                <a:gd name="connsiteX6" fmla="*/ 0 w 1644096"/>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395029 w 1634725"/>
                <a:gd name="connsiteY3" fmla="*/ 692458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395029 w 1634725"/>
                <a:gd name="connsiteY3" fmla="*/ 692458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511393 w 1736511"/>
                <a:gd name="connsiteY5" fmla="*/ 943991 h 1386289"/>
                <a:gd name="connsiteX6" fmla="*/ 0 w 1736511"/>
                <a:gd name="connsiteY6" fmla="*/ 1073144 h 1386289"/>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511393 w 1736511"/>
                <a:gd name="connsiteY5" fmla="*/ 943991 h 1386289"/>
                <a:gd name="connsiteX6" fmla="*/ 0 w 1736511"/>
                <a:gd name="connsiteY6" fmla="*/ 1073144 h 1386289"/>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415816 w 1736511"/>
                <a:gd name="connsiteY5" fmla="*/ 984198 h 1386289"/>
                <a:gd name="connsiteX6" fmla="*/ 0 w 1736511"/>
                <a:gd name="connsiteY6" fmla="*/ 1073144 h 138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6511" h="1386289">
                  <a:moveTo>
                    <a:pt x="0" y="1073144"/>
                  </a:moveTo>
                  <a:cubicBezTo>
                    <a:pt x="212802" y="633170"/>
                    <a:pt x="700825" y="99218"/>
                    <a:pt x="1440590" y="0"/>
                  </a:cubicBezTo>
                  <a:cubicBezTo>
                    <a:pt x="1499980" y="49360"/>
                    <a:pt x="1642742" y="191732"/>
                    <a:pt x="1736511" y="298881"/>
                  </a:cubicBezTo>
                  <a:cubicBezTo>
                    <a:pt x="1654146" y="426128"/>
                    <a:pt x="1580641" y="567750"/>
                    <a:pt x="1496815" y="692458"/>
                  </a:cubicBezTo>
                  <a:cubicBezTo>
                    <a:pt x="1235905" y="701978"/>
                    <a:pt x="778315" y="985618"/>
                    <a:pt x="611645" y="1386289"/>
                  </a:cubicBezTo>
                  <a:lnTo>
                    <a:pt x="415816" y="984198"/>
                  </a:lnTo>
                  <a:lnTo>
                    <a:pt x="0" y="1073144"/>
                  </a:lnTo>
                  <a:close/>
                </a:path>
              </a:pathLst>
            </a:custGeom>
            <a:grp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30000"/>
                </a:spcBef>
                <a:spcAft>
                  <a:spcPct val="0"/>
                </a:spcAft>
                <a:buClr>
                  <a:srgbClr val="C62F40"/>
                </a:buClr>
                <a:buFont typeface="Audi Type" pitchFamily="34" charset="0"/>
                <a:buNone/>
              </a:pPr>
              <a:endParaRPr lang="de-DE" sz="4000">
                <a:solidFill>
                  <a:srgbClr val="00285A"/>
                </a:solidFill>
                <a:latin typeface="Audi Type" pitchFamily="34" charset="0"/>
                <a:ea typeface="Arial" pitchFamily="-110" charset="0"/>
                <a:cs typeface="Arial" pitchFamily="-110" charset="0"/>
              </a:endParaRPr>
            </a:p>
          </p:txBody>
        </p:sp>
        <p:sp>
          <p:nvSpPr>
            <p:cNvPr id="33" name="Freihandform 61">
              <a:extLst>
                <a:ext uri="{FF2B5EF4-FFF2-40B4-BE49-F238E27FC236}">
                  <a16:creationId xmlns:a16="http://schemas.microsoft.com/office/drawing/2014/main" id="{978B7EE5-606A-434A-9BD1-AC428B718F5F}"/>
                </a:ext>
              </a:extLst>
            </p:cNvPr>
            <p:cNvSpPr>
              <a:spLocks noChangeAspect="1"/>
            </p:cNvSpPr>
            <p:nvPr/>
          </p:nvSpPr>
          <p:spPr bwMode="gray">
            <a:xfrm>
              <a:off x="3889149" y="2866243"/>
              <a:ext cx="864067" cy="689805"/>
            </a:xfrm>
            <a:custGeom>
              <a:avLst/>
              <a:gdLst>
                <a:gd name="connsiteX0" fmla="*/ 260398 w 3780000"/>
                <a:gd name="connsiteY0" fmla="*/ 932661 h 3780000"/>
                <a:gd name="connsiteX1" fmla="*/ 1893644 w 3780000"/>
                <a:gd name="connsiteY1" fmla="*/ 3 h 3780000"/>
                <a:gd name="connsiteX2" fmla="*/ 1892304 w 3780000"/>
                <a:gd name="connsiteY2" fmla="*/ 694842 h 3780000"/>
                <a:gd name="connsiteX3" fmla="*/ 859505 w 3780000"/>
                <a:gd name="connsiteY3" fmla="*/ 1284617 h 3780000"/>
                <a:gd name="connsiteX4" fmla="*/ 260398 w 3780000"/>
                <a:gd name="connsiteY4" fmla="*/ 932661 h 3780000"/>
                <a:gd name="connsiteX0" fmla="*/ 0 w 1633246"/>
                <a:gd name="connsiteY0" fmla="*/ 933952 h 1285908"/>
                <a:gd name="connsiteX1" fmla="*/ 1633246 w 1633246"/>
                <a:gd name="connsiteY1" fmla="*/ 1294 h 1285908"/>
                <a:gd name="connsiteX2" fmla="*/ 1631906 w 1633246"/>
                <a:gd name="connsiteY2" fmla="*/ 696133 h 1285908"/>
                <a:gd name="connsiteX3" fmla="*/ 599107 w 1633246"/>
                <a:gd name="connsiteY3" fmla="*/ 1285908 h 1285908"/>
                <a:gd name="connsiteX4" fmla="*/ 303075 w 1633246"/>
                <a:gd name="connsiteY4" fmla="*/ 1111747 h 1285908"/>
                <a:gd name="connsiteX5" fmla="*/ 0 w 1633246"/>
                <a:gd name="connsiteY5" fmla="*/ 933952 h 1285908"/>
                <a:gd name="connsiteX0" fmla="*/ 0 w 1633246"/>
                <a:gd name="connsiteY0" fmla="*/ 933952 h 1285908"/>
                <a:gd name="connsiteX1" fmla="*/ 1633246 w 1633246"/>
                <a:gd name="connsiteY1" fmla="*/ 1294 h 1285908"/>
                <a:gd name="connsiteX2" fmla="*/ 1631906 w 1633246"/>
                <a:gd name="connsiteY2" fmla="*/ 696133 h 1285908"/>
                <a:gd name="connsiteX3" fmla="*/ 599107 w 1633246"/>
                <a:gd name="connsiteY3" fmla="*/ 1285908 h 1285908"/>
                <a:gd name="connsiteX4" fmla="*/ 409607 w 1633246"/>
                <a:gd name="connsiteY4" fmla="*/ 969704 h 1285908"/>
                <a:gd name="connsiteX5" fmla="*/ 0 w 1633246"/>
                <a:gd name="connsiteY5" fmla="*/ 933952 h 1285908"/>
                <a:gd name="connsiteX0" fmla="*/ 0 w 1905700"/>
                <a:gd name="connsiteY0" fmla="*/ 1034218 h 1386174"/>
                <a:gd name="connsiteX1" fmla="*/ 1633246 w 1905700"/>
                <a:gd name="connsiteY1" fmla="*/ 101560 h 1386174"/>
                <a:gd name="connsiteX2" fmla="*/ 1634725 w 1905700"/>
                <a:gd name="connsiteY2" fmla="*/ 424860 h 1386174"/>
                <a:gd name="connsiteX3" fmla="*/ 1631906 w 1905700"/>
                <a:gd name="connsiteY3" fmla="*/ 796399 h 1386174"/>
                <a:gd name="connsiteX4" fmla="*/ 599107 w 1905700"/>
                <a:gd name="connsiteY4" fmla="*/ 1386174 h 1386174"/>
                <a:gd name="connsiteX5" fmla="*/ 409607 w 1905700"/>
                <a:gd name="connsiteY5" fmla="*/ 1069970 h 1386174"/>
                <a:gd name="connsiteX6" fmla="*/ 0 w 1905700"/>
                <a:gd name="connsiteY6" fmla="*/ 1034218 h 1386174"/>
                <a:gd name="connsiteX0" fmla="*/ 0 w 1804509"/>
                <a:gd name="connsiteY0" fmla="*/ 933952 h 1285908"/>
                <a:gd name="connsiteX1" fmla="*/ 1633246 w 1804509"/>
                <a:gd name="connsiteY1" fmla="*/ 1294 h 1285908"/>
                <a:gd name="connsiteX2" fmla="*/ 1634725 w 1804509"/>
                <a:gd name="connsiteY2" fmla="*/ 324594 h 1285908"/>
                <a:gd name="connsiteX3" fmla="*/ 1631906 w 1804509"/>
                <a:gd name="connsiteY3" fmla="*/ 696133 h 1285908"/>
                <a:gd name="connsiteX4" fmla="*/ 599107 w 1804509"/>
                <a:gd name="connsiteY4" fmla="*/ 1285908 h 1285908"/>
                <a:gd name="connsiteX5" fmla="*/ 409607 w 1804509"/>
                <a:gd name="connsiteY5" fmla="*/ 969704 h 1285908"/>
                <a:gd name="connsiteX6" fmla="*/ 0 w 1804509"/>
                <a:gd name="connsiteY6" fmla="*/ 933952 h 1285908"/>
                <a:gd name="connsiteX0" fmla="*/ 0 w 1634725"/>
                <a:gd name="connsiteY0" fmla="*/ 933952 h 1285908"/>
                <a:gd name="connsiteX1" fmla="*/ 1633246 w 1634725"/>
                <a:gd name="connsiteY1" fmla="*/ 1294 h 1285908"/>
                <a:gd name="connsiteX2" fmla="*/ 1634725 w 1634725"/>
                <a:gd name="connsiteY2" fmla="*/ 324594 h 1285908"/>
                <a:gd name="connsiteX3" fmla="*/ 1631906 w 1634725"/>
                <a:gd name="connsiteY3" fmla="*/ 696133 h 1285908"/>
                <a:gd name="connsiteX4" fmla="*/ 599107 w 1634725"/>
                <a:gd name="connsiteY4" fmla="*/ 1285908 h 1285908"/>
                <a:gd name="connsiteX5" fmla="*/ 409607 w 1634725"/>
                <a:gd name="connsiteY5" fmla="*/ 969704 h 1285908"/>
                <a:gd name="connsiteX6" fmla="*/ 0 w 1634725"/>
                <a:gd name="connsiteY6" fmla="*/ 933952 h 128590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09799 h 1361755"/>
                <a:gd name="connsiteX1" fmla="*/ 1338804 w 1634725"/>
                <a:gd name="connsiteY1" fmla="*/ 101560 h 1361755"/>
                <a:gd name="connsiteX2" fmla="*/ 1634725 w 1634725"/>
                <a:gd name="connsiteY2" fmla="*/ 400441 h 1361755"/>
                <a:gd name="connsiteX3" fmla="*/ 1631906 w 1634725"/>
                <a:gd name="connsiteY3" fmla="*/ 771980 h 1361755"/>
                <a:gd name="connsiteX4" fmla="*/ 599107 w 1634725"/>
                <a:gd name="connsiteY4" fmla="*/ 1361755 h 1361755"/>
                <a:gd name="connsiteX5" fmla="*/ 409607 w 1634725"/>
                <a:gd name="connsiteY5" fmla="*/ 1045551 h 1361755"/>
                <a:gd name="connsiteX6" fmla="*/ 0 w 1634725"/>
                <a:gd name="connsiteY6" fmla="*/ 1009799 h 1361755"/>
                <a:gd name="connsiteX0" fmla="*/ 0 w 1635651"/>
                <a:gd name="connsiteY0" fmla="*/ 1009799 h 1361755"/>
                <a:gd name="connsiteX1" fmla="*/ 1338804 w 1635651"/>
                <a:gd name="connsiteY1" fmla="*/ 101560 h 1361755"/>
                <a:gd name="connsiteX2" fmla="*/ 1634725 w 1635651"/>
                <a:gd name="connsiteY2" fmla="*/ 400441 h 1361755"/>
                <a:gd name="connsiteX3" fmla="*/ 1631906 w 1635651"/>
                <a:gd name="connsiteY3" fmla="*/ 771980 h 1361755"/>
                <a:gd name="connsiteX4" fmla="*/ 599107 w 1635651"/>
                <a:gd name="connsiteY4" fmla="*/ 1361755 h 1361755"/>
                <a:gd name="connsiteX5" fmla="*/ 409607 w 1635651"/>
                <a:gd name="connsiteY5" fmla="*/ 1045551 h 1361755"/>
                <a:gd name="connsiteX6" fmla="*/ 0 w 1635651"/>
                <a:gd name="connsiteY6" fmla="*/ 1009799 h 1361755"/>
                <a:gd name="connsiteX0" fmla="*/ 0 w 1635651"/>
                <a:gd name="connsiteY0" fmla="*/ 908239 h 1260195"/>
                <a:gd name="connsiteX1" fmla="*/ 1338804 w 1635651"/>
                <a:gd name="connsiteY1" fmla="*/ 0 h 1260195"/>
                <a:gd name="connsiteX2" fmla="*/ 1634725 w 1635651"/>
                <a:gd name="connsiteY2" fmla="*/ 298881 h 1260195"/>
                <a:gd name="connsiteX3" fmla="*/ 1631906 w 1635651"/>
                <a:gd name="connsiteY3" fmla="*/ 670420 h 1260195"/>
                <a:gd name="connsiteX4" fmla="*/ 599107 w 1635651"/>
                <a:gd name="connsiteY4" fmla="*/ 1260195 h 1260195"/>
                <a:gd name="connsiteX5" fmla="*/ 409607 w 1635651"/>
                <a:gd name="connsiteY5" fmla="*/ 943991 h 1260195"/>
                <a:gd name="connsiteX6" fmla="*/ 0 w 1635651"/>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44096"/>
                <a:gd name="connsiteY0" fmla="*/ 908239 h 1260195"/>
                <a:gd name="connsiteX1" fmla="*/ 1338804 w 1644096"/>
                <a:gd name="connsiteY1" fmla="*/ 0 h 1260195"/>
                <a:gd name="connsiteX2" fmla="*/ 1634725 w 1644096"/>
                <a:gd name="connsiteY2" fmla="*/ 298881 h 1260195"/>
                <a:gd name="connsiteX3" fmla="*/ 1395029 w 1644096"/>
                <a:gd name="connsiteY3" fmla="*/ 692458 h 1260195"/>
                <a:gd name="connsiteX4" fmla="*/ 599107 w 1644096"/>
                <a:gd name="connsiteY4" fmla="*/ 1260195 h 1260195"/>
                <a:gd name="connsiteX5" fmla="*/ 409607 w 1644096"/>
                <a:gd name="connsiteY5" fmla="*/ 943991 h 1260195"/>
                <a:gd name="connsiteX6" fmla="*/ 0 w 1644096"/>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395029 w 1634725"/>
                <a:gd name="connsiteY3" fmla="*/ 692458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395029 w 1634725"/>
                <a:gd name="connsiteY3" fmla="*/ 692458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511393 w 1736511"/>
                <a:gd name="connsiteY5" fmla="*/ 943991 h 1386289"/>
                <a:gd name="connsiteX6" fmla="*/ 0 w 1736511"/>
                <a:gd name="connsiteY6" fmla="*/ 1073144 h 1386289"/>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511393 w 1736511"/>
                <a:gd name="connsiteY5" fmla="*/ 943991 h 1386289"/>
                <a:gd name="connsiteX6" fmla="*/ 0 w 1736511"/>
                <a:gd name="connsiteY6" fmla="*/ 1073144 h 1386289"/>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415816 w 1736511"/>
                <a:gd name="connsiteY5" fmla="*/ 984198 h 1386289"/>
                <a:gd name="connsiteX6" fmla="*/ 0 w 1736511"/>
                <a:gd name="connsiteY6" fmla="*/ 1073144 h 138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6511" h="1386289">
                  <a:moveTo>
                    <a:pt x="0" y="1073144"/>
                  </a:moveTo>
                  <a:cubicBezTo>
                    <a:pt x="212802" y="633170"/>
                    <a:pt x="700825" y="99218"/>
                    <a:pt x="1440590" y="0"/>
                  </a:cubicBezTo>
                  <a:cubicBezTo>
                    <a:pt x="1499980" y="49360"/>
                    <a:pt x="1642742" y="191732"/>
                    <a:pt x="1736511" y="298881"/>
                  </a:cubicBezTo>
                  <a:cubicBezTo>
                    <a:pt x="1654146" y="426128"/>
                    <a:pt x="1580641" y="567750"/>
                    <a:pt x="1496815" y="692458"/>
                  </a:cubicBezTo>
                  <a:cubicBezTo>
                    <a:pt x="1235905" y="701978"/>
                    <a:pt x="778315" y="985618"/>
                    <a:pt x="611645" y="1386289"/>
                  </a:cubicBezTo>
                  <a:lnTo>
                    <a:pt x="415816" y="984198"/>
                  </a:lnTo>
                  <a:lnTo>
                    <a:pt x="0" y="1073144"/>
                  </a:lnTo>
                  <a:close/>
                </a:path>
              </a:pathLst>
            </a:custGeom>
            <a:grp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30000"/>
                </a:spcBef>
                <a:spcAft>
                  <a:spcPct val="0"/>
                </a:spcAft>
                <a:buClr>
                  <a:srgbClr val="C62F40"/>
                </a:buClr>
                <a:buFont typeface="Audi Type" pitchFamily="34" charset="0"/>
                <a:buNone/>
              </a:pPr>
              <a:endParaRPr lang="de-DE" sz="4000">
                <a:solidFill>
                  <a:srgbClr val="00285A"/>
                </a:solidFill>
                <a:latin typeface="Audi Type" pitchFamily="34" charset="0"/>
                <a:ea typeface="Arial" pitchFamily="-110" charset="0"/>
                <a:cs typeface="Arial" pitchFamily="-110" charset="0"/>
              </a:endParaRPr>
            </a:p>
          </p:txBody>
        </p:sp>
        <p:sp>
          <p:nvSpPr>
            <p:cNvPr id="34" name="Freihandform 62">
              <a:extLst>
                <a:ext uri="{FF2B5EF4-FFF2-40B4-BE49-F238E27FC236}">
                  <a16:creationId xmlns:a16="http://schemas.microsoft.com/office/drawing/2014/main" id="{D5E1C1AE-2E42-4FCC-98D6-90A20B277A44}"/>
                </a:ext>
              </a:extLst>
            </p:cNvPr>
            <p:cNvSpPr>
              <a:spLocks noChangeAspect="1"/>
            </p:cNvSpPr>
            <p:nvPr/>
          </p:nvSpPr>
          <p:spPr bwMode="gray">
            <a:xfrm rot="3600000">
              <a:off x="4618546" y="2793970"/>
              <a:ext cx="864072" cy="689800"/>
            </a:xfrm>
            <a:custGeom>
              <a:avLst/>
              <a:gdLst>
                <a:gd name="connsiteX0" fmla="*/ 260398 w 3780000"/>
                <a:gd name="connsiteY0" fmla="*/ 932661 h 3780000"/>
                <a:gd name="connsiteX1" fmla="*/ 1893644 w 3780000"/>
                <a:gd name="connsiteY1" fmla="*/ 3 h 3780000"/>
                <a:gd name="connsiteX2" fmla="*/ 1892304 w 3780000"/>
                <a:gd name="connsiteY2" fmla="*/ 694842 h 3780000"/>
                <a:gd name="connsiteX3" fmla="*/ 859505 w 3780000"/>
                <a:gd name="connsiteY3" fmla="*/ 1284617 h 3780000"/>
                <a:gd name="connsiteX4" fmla="*/ 260398 w 3780000"/>
                <a:gd name="connsiteY4" fmla="*/ 932661 h 3780000"/>
                <a:gd name="connsiteX0" fmla="*/ 0 w 1633246"/>
                <a:gd name="connsiteY0" fmla="*/ 933952 h 1285908"/>
                <a:gd name="connsiteX1" fmla="*/ 1633246 w 1633246"/>
                <a:gd name="connsiteY1" fmla="*/ 1294 h 1285908"/>
                <a:gd name="connsiteX2" fmla="*/ 1631906 w 1633246"/>
                <a:gd name="connsiteY2" fmla="*/ 696133 h 1285908"/>
                <a:gd name="connsiteX3" fmla="*/ 599107 w 1633246"/>
                <a:gd name="connsiteY3" fmla="*/ 1285908 h 1285908"/>
                <a:gd name="connsiteX4" fmla="*/ 303075 w 1633246"/>
                <a:gd name="connsiteY4" fmla="*/ 1111747 h 1285908"/>
                <a:gd name="connsiteX5" fmla="*/ 0 w 1633246"/>
                <a:gd name="connsiteY5" fmla="*/ 933952 h 1285908"/>
                <a:gd name="connsiteX0" fmla="*/ 0 w 1633246"/>
                <a:gd name="connsiteY0" fmla="*/ 933952 h 1285908"/>
                <a:gd name="connsiteX1" fmla="*/ 1633246 w 1633246"/>
                <a:gd name="connsiteY1" fmla="*/ 1294 h 1285908"/>
                <a:gd name="connsiteX2" fmla="*/ 1631906 w 1633246"/>
                <a:gd name="connsiteY2" fmla="*/ 696133 h 1285908"/>
                <a:gd name="connsiteX3" fmla="*/ 599107 w 1633246"/>
                <a:gd name="connsiteY3" fmla="*/ 1285908 h 1285908"/>
                <a:gd name="connsiteX4" fmla="*/ 409607 w 1633246"/>
                <a:gd name="connsiteY4" fmla="*/ 969704 h 1285908"/>
                <a:gd name="connsiteX5" fmla="*/ 0 w 1633246"/>
                <a:gd name="connsiteY5" fmla="*/ 933952 h 1285908"/>
                <a:gd name="connsiteX0" fmla="*/ 0 w 1905700"/>
                <a:gd name="connsiteY0" fmla="*/ 1034218 h 1386174"/>
                <a:gd name="connsiteX1" fmla="*/ 1633246 w 1905700"/>
                <a:gd name="connsiteY1" fmla="*/ 101560 h 1386174"/>
                <a:gd name="connsiteX2" fmla="*/ 1634725 w 1905700"/>
                <a:gd name="connsiteY2" fmla="*/ 424860 h 1386174"/>
                <a:gd name="connsiteX3" fmla="*/ 1631906 w 1905700"/>
                <a:gd name="connsiteY3" fmla="*/ 796399 h 1386174"/>
                <a:gd name="connsiteX4" fmla="*/ 599107 w 1905700"/>
                <a:gd name="connsiteY4" fmla="*/ 1386174 h 1386174"/>
                <a:gd name="connsiteX5" fmla="*/ 409607 w 1905700"/>
                <a:gd name="connsiteY5" fmla="*/ 1069970 h 1386174"/>
                <a:gd name="connsiteX6" fmla="*/ 0 w 1905700"/>
                <a:gd name="connsiteY6" fmla="*/ 1034218 h 1386174"/>
                <a:gd name="connsiteX0" fmla="*/ 0 w 1804509"/>
                <a:gd name="connsiteY0" fmla="*/ 933952 h 1285908"/>
                <a:gd name="connsiteX1" fmla="*/ 1633246 w 1804509"/>
                <a:gd name="connsiteY1" fmla="*/ 1294 h 1285908"/>
                <a:gd name="connsiteX2" fmla="*/ 1634725 w 1804509"/>
                <a:gd name="connsiteY2" fmla="*/ 324594 h 1285908"/>
                <a:gd name="connsiteX3" fmla="*/ 1631906 w 1804509"/>
                <a:gd name="connsiteY3" fmla="*/ 696133 h 1285908"/>
                <a:gd name="connsiteX4" fmla="*/ 599107 w 1804509"/>
                <a:gd name="connsiteY4" fmla="*/ 1285908 h 1285908"/>
                <a:gd name="connsiteX5" fmla="*/ 409607 w 1804509"/>
                <a:gd name="connsiteY5" fmla="*/ 969704 h 1285908"/>
                <a:gd name="connsiteX6" fmla="*/ 0 w 1804509"/>
                <a:gd name="connsiteY6" fmla="*/ 933952 h 1285908"/>
                <a:gd name="connsiteX0" fmla="*/ 0 w 1634725"/>
                <a:gd name="connsiteY0" fmla="*/ 933952 h 1285908"/>
                <a:gd name="connsiteX1" fmla="*/ 1633246 w 1634725"/>
                <a:gd name="connsiteY1" fmla="*/ 1294 h 1285908"/>
                <a:gd name="connsiteX2" fmla="*/ 1634725 w 1634725"/>
                <a:gd name="connsiteY2" fmla="*/ 324594 h 1285908"/>
                <a:gd name="connsiteX3" fmla="*/ 1631906 w 1634725"/>
                <a:gd name="connsiteY3" fmla="*/ 696133 h 1285908"/>
                <a:gd name="connsiteX4" fmla="*/ 599107 w 1634725"/>
                <a:gd name="connsiteY4" fmla="*/ 1285908 h 1285908"/>
                <a:gd name="connsiteX5" fmla="*/ 409607 w 1634725"/>
                <a:gd name="connsiteY5" fmla="*/ 969704 h 1285908"/>
                <a:gd name="connsiteX6" fmla="*/ 0 w 1634725"/>
                <a:gd name="connsiteY6" fmla="*/ 933952 h 128590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09799 h 1361755"/>
                <a:gd name="connsiteX1" fmla="*/ 1338804 w 1634725"/>
                <a:gd name="connsiteY1" fmla="*/ 101560 h 1361755"/>
                <a:gd name="connsiteX2" fmla="*/ 1634725 w 1634725"/>
                <a:gd name="connsiteY2" fmla="*/ 400441 h 1361755"/>
                <a:gd name="connsiteX3" fmla="*/ 1631906 w 1634725"/>
                <a:gd name="connsiteY3" fmla="*/ 771980 h 1361755"/>
                <a:gd name="connsiteX4" fmla="*/ 599107 w 1634725"/>
                <a:gd name="connsiteY4" fmla="*/ 1361755 h 1361755"/>
                <a:gd name="connsiteX5" fmla="*/ 409607 w 1634725"/>
                <a:gd name="connsiteY5" fmla="*/ 1045551 h 1361755"/>
                <a:gd name="connsiteX6" fmla="*/ 0 w 1634725"/>
                <a:gd name="connsiteY6" fmla="*/ 1009799 h 1361755"/>
                <a:gd name="connsiteX0" fmla="*/ 0 w 1635651"/>
                <a:gd name="connsiteY0" fmla="*/ 1009799 h 1361755"/>
                <a:gd name="connsiteX1" fmla="*/ 1338804 w 1635651"/>
                <a:gd name="connsiteY1" fmla="*/ 101560 h 1361755"/>
                <a:gd name="connsiteX2" fmla="*/ 1634725 w 1635651"/>
                <a:gd name="connsiteY2" fmla="*/ 400441 h 1361755"/>
                <a:gd name="connsiteX3" fmla="*/ 1631906 w 1635651"/>
                <a:gd name="connsiteY3" fmla="*/ 771980 h 1361755"/>
                <a:gd name="connsiteX4" fmla="*/ 599107 w 1635651"/>
                <a:gd name="connsiteY4" fmla="*/ 1361755 h 1361755"/>
                <a:gd name="connsiteX5" fmla="*/ 409607 w 1635651"/>
                <a:gd name="connsiteY5" fmla="*/ 1045551 h 1361755"/>
                <a:gd name="connsiteX6" fmla="*/ 0 w 1635651"/>
                <a:gd name="connsiteY6" fmla="*/ 1009799 h 1361755"/>
                <a:gd name="connsiteX0" fmla="*/ 0 w 1635651"/>
                <a:gd name="connsiteY0" fmla="*/ 908239 h 1260195"/>
                <a:gd name="connsiteX1" fmla="*/ 1338804 w 1635651"/>
                <a:gd name="connsiteY1" fmla="*/ 0 h 1260195"/>
                <a:gd name="connsiteX2" fmla="*/ 1634725 w 1635651"/>
                <a:gd name="connsiteY2" fmla="*/ 298881 h 1260195"/>
                <a:gd name="connsiteX3" fmla="*/ 1631906 w 1635651"/>
                <a:gd name="connsiteY3" fmla="*/ 670420 h 1260195"/>
                <a:gd name="connsiteX4" fmla="*/ 599107 w 1635651"/>
                <a:gd name="connsiteY4" fmla="*/ 1260195 h 1260195"/>
                <a:gd name="connsiteX5" fmla="*/ 409607 w 1635651"/>
                <a:gd name="connsiteY5" fmla="*/ 943991 h 1260195"/>
                <a:gd name="connsiteX6" fmla="*/ 0 w 1635651"/>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44096"/>
                <a:gd name="connsiteY0" fmla="*/ 908239 h 1260195"/>
                <a:gd name="connsiteX1" fmla="*/ 1338804 w 1644096"/>
                <a:gd name="connsiteY1" fmla="*/ 0 h 1260195"/>
                <a:gd name="connsiteX2" fmla="*/ 1634725 w 1644096"/>
                <a:gd name="connsiteY2" fmla="*/ 298881 h 1260195"/>
                <a:gd name="connsiteX3" fmla="*/ 1395029 w 1644096"/>
                <a:gd name="connsiteY3" fmla="*/ 692458 h 1260195"/>
                <a:gd name="connsiteX4" fmla="*/ 599107 w 1644096"/>
                <a:gd name="connsiteY4" fmla="*/ 1260195 h 1260195"/>
                <a:gd name="connsiteX5" fmla="*/ 409607 w 1644096"/>
                <a:gd name="connsiteY5" fmla="*/ 943991 h 1260195"/>
                <a:gd name="connsiteX6" fmla="*/ 0 w 1644096"/>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395029 w 1634725"/>
                <a:gd name="connsiteY3" fmla="*/ 692458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395029 w 1634725"/>
                <a:gd name="connsiteY3" fmla="*/ 692458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511393 w 1736511"/>
                <a:gd name="connsiteY5" fmla="*/ 943991 h 1386289"/>
                <a:gd name="connsiteX6" fmla="*/ 0 w 1736511"/>
                <a:gd name="connsiteY6" fmla="*/ 1073144 h 1386289"/>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511393 w 1736511"/>
                <a:gd name="connsiteY5" fmla="*/ 943991 h 1386289"/>
                <a:gd name="connsiteX6" fmla="*/ 0 w 1736511"/>
                <a:gd name="connsiteY6" fmla="*/ 1073144 h 1386289"/>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415816 w 1736511"/>
                <a:gd name="connsiteY5" fmla="*/ 984198 h 1386289"/>
                <a:gd name="connsiteX6" fmla="*/ 0 w 1736511"/>
                <a:gd name="connsiteY6" fmla="*/ 1073144 h 138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6511" h="1386289">
                  <a:moveTo>
                    <a:pt x="0" y="1073144"/>
                  </a:moveTo>
                  <a:cubicBezTo>
                    <a:pt x="212802" y="633170"/>
                    <a:pt x="700825" y="99218"/>
                    <a:pt x="1440590" y="0"/>
                  </a:cubicBezTo>
                  <a:cubicBezTo>
                    <a:pt x="1499980" y="49360"/>
                    <a:pt x="1642742" y="191732"/>
                    <a:pt x="1736511" y="298881"/>
                  </a:cubicBezTo>
                  <a:cubicBezTo>
                    <a:pt x="1654146" y="426128"/>
                    <a:pt x="1580641" y="567750"/>
                    <a:pt x="1496815" y="692458"/>
                  </a:cubicBezTo>
                  <a:cubicBezTo>
                    <a:pt x="1235905" y="701978"/>
                    <a:pt x="778315" y="985618"/>
                    <a:pt x="611645" y="1386289"/>
                  </a:cubicBezTo>
                  <a:lnTo>
                    <a:pt x="415816" y="984198"/>
                  </a:lnTo>
                  <a:lnTo>
                    <a:pt x="0" y="1073144"/>
                  </a:lnTo>
                  <a:close/>
                </a:path>
              </a:pathLst>
            </a:custGeom>
            <a:grp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30000"/>
                </a:spcBef>
                <a:spcAft>
                  <a:spcPct val="0"/>
                </a:spcAft>
                <a:buClr>
                  <a:srgbClr val="C62F40"/>
                </a:buClr>
                <a:buFont typeface="Audi Type" pitchFamily="34" charset="0"/>
                <a:buNone/>
              </a:pPr>
              <a:endParaRPr lang="de-DE" sz="4000">
                <a:solidFill>
                  <a:srgbClr val="00285A"/>
                </a:solidFill>
                <a:latin typeface="Audi Type" pitchFamily="34" charset="0"/>
                <a:ea typeface="Arial" pitchFamily="-110" charset="0"/>
                <a:cs typeface="Arial" pitchFamily="-110" charset="0"/>
              </a:endParaRPr>
            </a:p>
          </p:txBody>
        </p:sp>
        <p:sp>
          <p:nvSpPr>
            <p:cNvPr id="35" name="Freihandform 63">
              <a:extLst>
                <a:ext uri="{FF2B5EF4-FFF2-40B4-BE49-F238E27FC236}">
                  <a16:creationId xmlns:a16="http://schemas.microsoft.com/office/drawing/2014/main" id="{E193128F-C9C0-4F01-9242-F9C7CD617029}"/>
                </a:ext>
              </a:extLst>
            </p:cNvPr>
            <p:cNvSpPr>
              <a:spLocks noChangeAspect="1"/>
            </p:cNvSpPr>
            <p:nvPr/>
          </p:nvSpPr>
          <p:spPr bwMode="gray">
            <a:xfrm rot="7200000">
              <a:off x="5045838" y="3389514"/>
              <a:ext cx="864072" cy="689800"/>
            </a:xfrm>
            <a:custGeom>
              <a:avLst/>
              <a:gdLst>
                <a:gd name="connsiteX0" fmla="*/ 260398 w 3780000"/>
                <a:gd name="connsiteY0" fmla="*/ 932661 h 3780000"/>
                <a:gd name="connsiteX1" fmla="*/ 1893644 w 3780000"/>
                <a:gd name="connsiteY1" fmla="*/ 3 h 3780000"/>
                <a:gd name="connsiteX2" fmla="*/ 1892304 w 3780000"/>
                <a:gd name="connsiteY2" fmla="*/ 694842 h 3780000"/>
                <a:gd name="connsiteX3" fmla="*/ 859505 w 3780000"/>
                <a:gd name="connsiteY3" fmla="*/ 1284617 h 3780000"/>
                <a:gd name="connsiteX4" fmla="*/ 260398 w 3780000"/>
                <a:gd name="connsiteY4" fmla="*/ 932661 h 3780000"/>
                <a:gd name="connsiteX0" fmla="*/ 0 w 1633246"/>
                <a:gd name="connsiteY0" fmla="*/ 933952 h 1285908"/>
                <a:gd name="connsiteX1" fmla="*/ 1633246 w 1633246"/>
                <a:gd name="connsiteY1" fmla="*/ 1294 h 1285908"/>
                <a:gd name="connsiteX2" fmla="*/ 1631906 w 1633246"/>
                <a:gd name="connsiteY2" fmla="*/ 696133 h 1285908"/>
                <a:gd name="connsiteX3" fmla="*/ 599107 w 1633246"/>
                <a:gd name="connsiteY3" fmla="*/ 1285908 h 1285908"/>
                <a:gd name="connsiteX4" fmla="*/ 303075 w 1633246"/>
                <a:gd name="connsiteY4" fmla="*/ 1111747 h 1285908"/>
                <a:gd name="connsiteX5" fmla="*/ 0 w 1633246"/>
                <a:gd name="connsiteY5" fmla="*/ 933952 h 1285908"/>
                <a:gd name="connsiteX0" fmla="*/ 0 w 1633246"/>
                <a:gd name="connsiteY0" fmla="*/ 933952 h 1285908"/>
                <a:gd name="connsiteX1" fmla="*/ 1633246 w 1633246"/>
                <a:gd name="connsiteY1" fmla="*/ 1294 h 1285908"/>
                <a:gd name="connsiteX2" fmla="*/ 1631906 w 1633246"/>
                <a:gd name="connsiteY2" fmla="*/ 696133 h 1285908"/>
                <a:gd name="connsiteX3" fmla="*/ 599107 w 1633246"/>
                <a:gd name="connsiteY3" fmla="*/ 1285908 h 1285908"/>
                <a:gd name="connsiteX4" fmla="*/ 409607 w 1633246"/>
                <a:gd name="connsiteY4" fmla="*/ 969704 h 1285908"/>
                <a:gd name="connsiteX5" fmla="*/ 0 w 1633246"/>
                <a:gd name="connsiteY5" fmla="*/ 933952 h 1285908"/>
                <a:gd name="connsiteX0" fmla="*/ 0 w 1905700"/>
                <a:gd name="connsiteY0" fmla="*/ 1034218 h 1386174"/>
                <a:gd name="connsiteX1" fmla="*/ 1633246 w 1905700"/>
                <a:gd name="connsiteY1" fmla="*/ 101560 h 1386174"/>
                <a:gd name="connsiteX2" fmla="*/ 1634725 w 1905700"/>
                <a:gd name="connsiteY2" fmla="*/ 424860 h 1386174"/>
                <a:gd name="connsiteX3" fmla="*/ 1631906 w 1905700"/>
                <a:gd name="connsiteY3" fmla="*/ 796399 h 1386174"/>
                <a:gd name="connsiteX4" fmla="*/ 599107 w 1905700"/>
                <a:gd name="connsiteY4" fmla="*/ 1386174 h 1386174"/>
                <a:gd name="connsiteX5" fmla="*/ 409607 w 1905700"/>
                <a:gd name="connsiteY5" fmla="*/ 1069970 h 1386174"/>
                <a:gd name="connsiteX6" fmla="*/ 0 w 1905700"/>
                <a:gd name="connsiteY6" fmla="*/ 1034218 h 1386174"/>
                <a:gd name="connsiteX0" fmla="*/ 0 w 1804509"/>
                <a:gd name="connsiteY0" fmla="*/ 933952 h 1285908"/>
                <a:gd name="connsiteX1" fmla="*/ 1633246 w 1804509"/>
                <a:gd name="connsiteY1" fmla="*/ 1294 h 1285908"/>
                <a:gd name="connsiteX2" fmla="*/ 1634725 w 1804509"/>
                <a:gd name="connsiteY2" fmla="*/ 324594 h 1285908"/>
                <a:gd name="connsiteX3" fmla="*/ 1631906 w 1804509"/>
                <a:gd name="connsiteY3" fmla="*/ 696133 h 1285908"/>
                <a:gd name="connsiteX4" fmla="*/ 599107 w 1804509"/>
                <a:gd name="connsiteY4" fmla="*/ 1285908 h 1285908"/>
                <a:gd name="connsiteX5" fmla="*/ 409607 w 1804509"/>
                <a:gd name="connsiteY5" fmla="*/ 969704 h 1285908"/>
                <a:gd name="connsiteX6" fmla="*/ 0 w 1804509"/>
                <a:gd name="connsiteY6" fmla="*/ 933952 h 1285908"/>
                <a:gd name="connsiteX0" fmla="*/ 0 w 1634725"/>
                <a:gd name="connsiteY0" fmla="*/ 933952 h 1285908"/>
                <a:gd name="connsiteX1" fmla="*/ 1633246 w 1634725"/>
                <a:gd name="connsiteY1" fmla="*/ 1294 h 1285908"/>
                <a:gd name="connsiteX2" fmla="*/ 1634725 w 1634725"/>
                <a:gd name="connsiteY2" fmla="*/ 324594 h 1285908"/>
                <a:gd name="connsiteX3" fmla="*/ 1631906 w 1634725"/>
                <a:gd name="connsiteY3" fmla="*/ 696133 h 1285908"/>
                <a:gd name="connsiteX4" fmla="*/ 599107 w 1634725"/>
                <a:gd name="connsiteY4" fmla="*/ 1285908 h 1285908"/>
                <a:gd name="connsiteX5" fmla="*/ 409607 w 1634725"/>
                <a:gd name="connsiteY5" fmla="*/ 969704 h 1285908"/>
                <a:gd name="connsiteX6" fmla="*/ 0 w 1634725"/>
                <a:gd name="connsiteY6" fmla="*/ 933952 h 128590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09799 h 1361755"/>
                <a:gd name="connsiteX1" fmla="*/ 1338804 w 1634725"/>
                <a:gd name="connsiteY1" fmla="*/ 101560 h 1361755"/>
                <a:gd name="connsiteX2" fmla="*/ 1634725 w 1634725"/>
                <a:gd name="connsiteY2" fmla="*/ 400441 h 1361755"/>
                <a:gd name="connsiteX3" fmla="*/ 1631906 w 1634725"/>
                <a:gd name="connsiteY3" fmla="*/ 771980 h 1361755"/>
                <a:gd name="connsiteX4" fmla="*/ 599107 w 1634725"/>
                <a:gd name="connsiteY4" fmla="*/ 1361755 h 1361755"/>
                <a:gd name="connsiteX5" fmla="*/ 409607 w 1634725"/>
                <a:gd name="connsiteY5" fmla="*/ 1045551 h 1361755"/>
                <a:gd name="connsiteX6" fmla="*/ 0 w 1634725"/>
                <a:gd name="connsiteY6" fmla="*/ 1009799 h 1361755"/>
                <a:gd name="connsiteX0" fmla="*/ 0 w 1635651"/>
                <a:gd name="connsiteY0" fmla="*/ 1009799 h 1361755"/>
                <a:gd name="connsiteX1" fmla="*/ 1338804 w 1635651"/>
                <a:gd name="connsiteY1" fmla="*/ 101560 h 1361755"/>
                <a:gd name="connsiteX2" fmla="*/ 1634725 w 1635651"/>
                <a:gd name="connsiteY2" fmla="*/ 400441 h 1361755"/>
                <a:gd name="connsiteX3" fmla="*/ 1631906 w 1635651"/>
                <a:gd name="connsiteY3" fmla="*/ 771980 h 1361755"/>
                <a:gd name="connsiteX4" fmla="*/ 599107 w 1635651"/>
                <a:gd name="connsiteY4" fmla="*/ 1361755 h 1361755"/>
                <a:gd name="connsiteX5" fmla="*/ 409607 w 1635651"/>
                <a:gd name="connsiteY5" fmla="*/ 1045551 h 1361755"/>
                <a:gd name="connsiteX6" fmla="*/ 0 w 1635651"/>
                <a:gd name="connsiteY6" fmla="*/ 1009799 h 1361755"/>
                <a:gd name="connsiteX0" fmla="*/ 0 w 1635651"/>
                <a:gd name="connsiteY0" fmla="*/ 908239 h 1260195"/>
                <a:gd name="connsiteX1" fmla="*/ 1338804 w 1635651"/>
                <a:gd name="connsiteY1" fmla="*/ 0 h 1260195"/>
                <a:gd name="connsiteX2" fmla="*/ 1634725 w 1635651"/>
                <a:gd name="connsiteY2" fmla="*/ 298881 h 1260195"/>
                <a:gd name="connsiteX3" fmla="*/ 1631906 w 1635651"/>
                <a:gd name="connsiteY3" fmla="*/ 670420 h 1260195"/>
                <a:gd name="connsiteX4" fmla="*/ 599107 w 1635651"/>
                <a:gd name="connsiteY4" fmla="*/ 1260195 h 1260195"/>
                <a:gd name="connsiteX5" fmla="*/ 409607 w 1635651"/>
                <a:gd name="connsiteY5" fmla="*/ 943991 h 1260195"/>
                <a:gd name="connsiteX6" fmla="*/ 0 w 1635651"/>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44096"/>
                <a:gd name="connsiteY0" fmla="*/ 908239 h 1260195"/>
                <a:gd name="connsiteX1" fmla="*/ 1338804 w 1644096"/>
                <a:gd name="connsiteY1" fmla="*/ 0 h 1260195"/>
                <a:gd name="connsiteX2" fmla="*/ 1634725 w 1644096"/>
                <a:gd name="connsiteY2" fmla="*/ 298881 h 1260195"/>
                <a:gd name="connsiteX3" fmla="*/ 1395029 w 1644096"/>
                <a:gd name="connsiteY3" fmla="*/ 692458 h 1260195"/>
                <a:gd name="connsiteX4" fmla="*/ 599107 w 1644096"/>
                <a:gd name="connsiteY4" fmla="*/ 1260195 h 1260195"/>
                <a:gd name="connsiteX5" fmla="*/ 409607 w 1644096"/>
                <a:gd name="connsiteY5" fmla="*/ 943991 h 1260195"/>
                <a:gd name="connsiteX6" fmla="*/ 0 w 1644096"/>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395029 w 1634725"/>
                <a:gd name="connsiteY3" fmla="*/ 692458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395029 w 1634725"/>
                <a:gd name="connsiteY3" fmla="*/ 692458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511393 w 1736511"/>
                <a:gd name="connsiteY5" fmla="*/ 943991 h 1386289"/>
                <a:gd name="connsiteX6" fmla="*/ 0 w 1736511"/>
                <a:gd name="connsiteY6" fmla="*/ 1073144 h 1386289"/>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511393 w 1736511"/>
                <a:gd name="connsiteY5" fmla="*/ 943991 h 1386289"/>
                <a:gd name="connsiteX6" fmla="*/ 0 w 1736511"/>
                <a:gd name="connsiteY6" fmla="*/ 1073144 h 1386289"/>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415816 w 1736511"/>
                <a:gd name="connsiteY5" fmla="*/ 984198 h 1386289"/>
                <a:gd name="connsiteX6" fmla="*/ 0 w 1736511"/>
                <a:gd name="connsiteY6" fmla="*/ 1073144 h 138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6511" h="1386289">
                  <a:moveTo>
                    <a:pt x="0" y="1073144"/>
                  </a:moveTo>
                  <a:cubicBezTo>
                    <a:pt x="212802" y="633170"/>
                    <a:pt x="700825" y="99218"/>
                    <a:pt x="1440590" y="0"/>
                  </a:cubicBezTo>
                  <a:cubicBezTo>
                    <a:pt x="1499980" y="49360"/>
                    <a:pt x="1642742" y="191732"/>
                    <a:pt x="1736511" y="298881"/>
                  </a:cubicBezTo>
                  <a:cubicBezTo>
                    <a:pt x="1654146" y="426128"/>
                    <a:pt x="1580641" y="567750"/>
                    <a:pt x="1496815" y="692458"/>
                  </a:cubicBezTo>
                  <a:cubicBezTo>
                    <a:pt x="1235905" y="701978"/>
                    <a:pt x="778315" y="985618"/>
                    <a:pt x="611645" y="1386289"/>
                  </a:cubicBezTo>
                  <a:lnTo>
                    <a:pt x="415816" y="984198"/>
                  </a:lnTo>
                  <a:lnTo>
                    <a:pt x="0" y="1073144"/>
                  </a:lnTo>
                  <a:close/>
                </a:path>
              </a:pathLst>
            </a:custGeom>
            <a:grp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30000"/>
                </a:spcBef>
                <a:spcAft>
                  <a:spcPct val="0"/>
                </a:spcAft>
                <a:buClr>
                  <a:srgbClr val="C62F40"/>
                </a:buClr>
                <a:buFont typeface="Audi Type" pitchFamily="34" charset="0"/>
                <a:buNone/>
              </a:pPr>
              <a:endParaRPr lang="de-DE" sz="4000">
                <a:solidFill>
                  <a:srgbClr val="00285A"/>
                </a:solidFill>
                <a:latin typeface="Audi Type" pitchFamily="34" charset="0"/>
                <a:ea typeface="Arial" pitchFamily="-110" charset="0"/>
                <a:cs typeface="Arial" pitchFamily="-110" charset="0"/>
              </a:endParaRPr>
            </a:p>
          </p:txBody>
        </p:sp>
        <p:sp>
          <p:nvSpPr>
            <p:cNvPr id="36" name="Freihandform 64">
              <a:extLst>
                <a:ext uri="{FF2B5EF4-FFF2-40B4-BE49-F238E27FC236}">
                  <a16:creationId xmlns:a16="http://schemas.microsoft.com/office/drawing/2014/main" id="{51B1F043-E087-4D42-864B-9E17DB0F371E}"/>
                </a:ext>
              </a:extLst>
            </p:cNvPr>
            <p:cNvSpPr>
              <a:spLocks noChangeAspect="1"/>
            </p:cNvSpPr>
            <p:nvPr/>
          </p:nvSpPr>
          <p:spPr bwMode="gray">
            <a:xfrm rot="18000000">
              <a:off x="3587039" y="3534066"/>
              <a:ext cx="864072" cy="689800"/>
            </a:xfrm>
            <a:custGeom>
              <a:avLst/>
              <a:gdLst>
                <a:gd name="connsiteX0" fmla="*/ 260398 w 3780000"/>
                <a:gd name="connsiteY0" fmla="*/ 932661 h 3780000"/>
                <a:gd name="connsiteX1" fmla="*/ 1893644 w 3780000"/>
                <a:gd name="connsiteY1" fmla="*/ 3 h 3780000"/>
                <a:gd name="connsiteX2" fmla="*/ 1892304 w 3780000"/>
                <a:gd name="connsiteY2" fmla="*/ 694842 h 3780000"/>
                <a:gd name="connsiteX3" fmla="*/ 859505 w 3780000"/>
                <a:gd name="connsiteY3" fmla="*/ 1284617 h 3780000"/>
                <a:gd name="connsiteX4" fmla="*/ 260398 w 3780000"/>
                <a:gd name="connsiteY4" fmla="*/ 932661 h 3780000"/>
                <a:gd name="connsiteX0" fmla="*/ 0 w 1633246"/>
                <a:gd name="connsiteY0" fmla="*/ 933952 h 1285908"/>
                <a:gd name="connsiteX1" fmla="*/ 1633246 w 1633246"/>
                <a:gd name="connsiteY1" fmla="*/ 1294 h 1285908"/>
                <a:gd name="connsiteX2" fmla="*/ 1631906 w 1633246"/>
                <a:gd name="connsiteY2" fmla="*/ 696133 h 1285908"/>
                <a:gd name="connsiteX3" fmla="*/ 599107 w 1633246"/>
                <a:gd name="connsiteY3" fmla="*/ 1285908 h 1285908"/>
                <a:gd name="connsiteX4" fmla="*/ 303075 w 1633246"/>
                <a:gd name="connsiteY4" fmla="*/ 1111747 h 1285908"/>
                <a:gd name="connsiteX5" fmla="*/ 0 w 1633246"/>
                <a:gd name="connsiteY5" fmla="*/ 933952 h 1285908"/>
                <a:gd name="connsiteX0" fmla="*/ 0 w 1633246"/>
                <a:gd name="connsiteY0" fmla="*/ 933952 h 1285908"/>
                <a:gd name="connsiteX1" fmla="*/ 1633246 w 1633246"/>
                <a:gd name="connsiteY1" fmla="*/ 1294 h 1285908"/>
                <a:gd name="connsiteX2" fmla="*/ 1631906 w 1633246"/>
                <a:gd name="connsiteY2" fmla="*/ 696133 h 1285908"/>
                <a:gd name="connsiteX3" fmla="*/ 599107 w 1633246"/>
                <a:gd name="connsiteY3" fmla="*/ 1285908 h 1285908"/>
                <a:gd name="connsiteX4" fmla="*/ 409607 w 1633246"/>
                <a:gd name="connsiteY4" fmla="*/ 969704 h 1285908"/>
                <a:gd name="connsiteX5" fmla="*/ 0 w 1633246"/>
                <a:gd name="connsiteY5" fmla="*/ 933952 h 1285908"/>
                <a:gd name="connsiteX0" fmla="*/ 0 w 1905700"/>
                <a:gd name="connsiteY0" fmla="*/ 1034218 h 1386174"/>
                <a:gd name="connsiteX1" fmla="*/ 1633246 w 1905700"/>
                <a:gd name="connsiteY1" fmla="*/ 101560 h 1386174"/>
                <a:gd name="connsiteX2" fmla="*/ 1634725 w 1905700"/>
                <a:gd name="connsiteY2" fmla="*/ 424860 h 1386174"/>
                <a:gd name="connsiteX3" fmla="*/ 1631906 w 1905700"/>
                <a:gd name="connsiteY3" fmla="*/ 796399 h 1386174"/>
                <a:gd name="connsiteX4" fmla="*/ 599107 w 1905700"/>
                <a:gd name="connsiteY4" fmla="*/ 1386174 h 1386174"/>
                <a:gd name="connsiteX5" fmla="*/ 409607 w 1905700"/>
                <a:gd name="connsiteY5" fmla="*/ 1069970 h 1386174"/>
                <a:gd name="connsiteX6" fmla="*/ 0 w 1905700"/>
                <a:gd name="connsiteY6" fmla="*/ 1034218 h 1386174"/>
                <a:gd name="connsiteX0" fmla="*/ 0 w 1804509"/>
                <a:gd name="connsiteY0" fmla="*/ 933952 h 1285908"/>
                <a:gd name="connsiteX1" fmla="*/ 1633246 w 1804509"/>
                <a:gd name="connsiteY1" fmla="*/ 1294 h 1285908"/>
                <a:gd name="connsiteX2" fmla="*/ 1634725 w 1804509"/>
                <a:gd name="connsiteY2" fmla="*/ 324594 h 1285908"/>
                <a:gd name="connsiteX3" fmla="*/ 1631906 w 1804509"/>
                <a:gd name="connsiteY3" fmla="*/ 696133 h 1285908"/>
                <a:gd name="connsiteX4" fmla="*/ 599107 w 1804509"/>
                <a:gd name="connsiteY4" fmla="*/ 1285908 h 1285908"/>
                <a:gd name="connsiteX5" fmla="*/ 409607 w 1804509"/>
                <a:gd name="connsiteY5" fmla="*/ 969704 h 1285908"/>
                <a:gd name="connsiteX6" fmla="*/ 0 w 1804509"/>
                <a:gd name="connsiteY6" fmla="*/ 933952 h 1285908"/>
                <a:gd name="connsiteX0" fmla="*/ 0 w 1634725"/>
                <a:gd name="connsiteY0" fmla="*/ 933952 h 1285908"/>
                <a:gd name="connsiteX1" fmla="*/ 1633246 w 1634725"/>
                <a:gd name="connsiteY1" fmla="*/ 1294 h 1285908"/>
                <a:gd name="connsiteX2" fmla="*/ 1634725 w 1634725"/>
                <a:gd name="connsiteY2" fmla="*/ 324594 h 1285908"/>
                <a:gd name="connsiteX3" fmla="*/ 1631906 w 1634725"/>
                <a:gd name="connsiteY3" fmla="*/ 696133 h 1285908"/>
                <a:gd name="connsiteX4" fmla="*/ 599107 w 1634725"/>
                <a:gd name="connsiteY4" fmla="*/ 1285908 h 1285908"/>
                <a:gd name="connsiteX5" fmla="*/ 409607 w 1634725"/>
                <a:gd name="connsiteY5" fmla="*/ 969704 h 1285908"/>
                <a:gd name="connsiteX6" fmla="*/ 0 w 1634725"/>
                <a:gd name="connsiteY6" fmla="*/ 933952 h 128590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09799 h 1361755"/>
                <a:gd name="connsiteX1" fmla="*/ 1338804 w 1634725"/>
                <a:gd name="connsiteY1" fmla="*/ 101560 h 1361755"/>
                <a:gd name="connsiteX2" fmla="*/ 1634725 w 1634725"/>
                <a:gd name="connsiteY2" fmla="*/ 400441 h 1361755"/>
                <a:gd name="connsiteX3" fmla="*/ 1631906 w 1634725"/>
                <a:gd name="connsiteY3" fmla="*/ 771980 h 1361755"/>
                <a:gd name="connsiteX4" fmla="*/ 599107 w 1634725"/>
                <a:gd name="connsiteY4" fmla="*/ 1361755 h 1361755"/>
                <a:gd name="connsiteX5" fmla="*/ 409607 w 1634725"/>
                <a:gd name="connsiteY5" fmla="*/ 1045551 h 1361755"/>
                <a:gd name="connsiteX6" fmla="*/ 0 w 1634725"/>
                <a:gd name="connsiteY6" fmla="*/ 1009799 h 1361755"/>
                <a:gd name="connsiteX0" fmla="*/ 0 w 1635651"/>
                <a:gd name="connsiteY0" fmla="*/ 1009799 h 1361755"/>
                <a:gd name="connsiteX1" fmla="*/ 1338804 w 1635651"/>
                <a:gd name="connsiteY1" fmla="*/ 101560 h 1361755"/>
                <a:gd name="connsiteX2" fmla="*/ 1634725 w 1635651"/>
                <a:gd name="connsiteY2" fmla="*/ 400441 h 1361755"/>
                <a:gd name="connsiteX3" fmla="*/ 1631906 w 1635651"/>
                <a:gd name="connsiteY3" fmla="*/ 771980 h 1361755"/>
                <a:gd name="connsiteX4" fmla="*/ 599107 w 1635651"/>
                <a:gd name="connsiteY4" fmla="*/ 1361755 h 1361755"/>
                <a:gd name="connsiteX5" fmla="*/ 409607 w 1635651"/>
                <a:gd name="connsiteY5" fmla="*/ 1045551 h 1361755"/>
                <a:gd name="connsiteX6" fmla="*/ 0 w 1635651"/>
                <a:gd name="connsiteY6" fmla="*/ 1009799 h 1361755"/>
                <a:gd name="connsiteX0" fmla="*/ 0 w 1635651"/>
                <a:gd name="connsiteY0" fmla="*/ 908239 h 1260195"/>
                <a:gd name="connsiteX1" fmla="*/ 1338804 w 1635651"/>
                <a:gd name="connsiteY1" fmla="*/ 0 h 1260195"/>
                <a:gd name="connsiteX2" fmla="*/ 1634725 w 1635651"/>
                <a:gd name="connsiteY2" fmla="*/ 298881 h 1260195"/>
                <a:gd name="connsiteX3" fmla="*/ 1631906 w 1635651"/>
                <a:gd name="connsiteY3" fmla="*/ 670420 h 1260195"/>
                <a:gd name="connsiteX4" fmla="*/ 599107 w 1635651"/>
                <a:gd name="connsiteY4" fmla="*/ 1260195 h 1260195"/>
                <a:gd name="connsiteX5" fmla="*/ 409607 w 1635651"/>
                <a:gd name="connsiteY5" fmla="*/ 943991 h 1260195"/>
                <a:gd name="connsiteX6" fmla="*/ 0 w 1635651"/>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44096"/>
                <a:gd name="connsiteY0" fmla="*/ 908239 h 1260195"/>
                <a:gd name="connsiteX1" fmla="*/ 1338804 w 1644096"/>
                <a:gd name="connsiteY1" fmla="*/ 0 h 1260195"/>
                <a:gd name="connsiteX2" fmla="*/ 1634725 w 1644096"/>
                <a:gd name="connsiteY2" fmla="*/ 298881 h 1260195"/>
                <a:gd name="connsiteX3" fmla="*/ 1395029 w 1644096"/>
                <a:gd name="connsiteY3" fmla="*/ 692458 h 1260195"/>
                <a:gd name="connsiteX4" fmla="*/ 599107 w 1644096"/>
                <a:gd name="connsiteY4" fmla="*/ 1260195 h 1260195"/>
                <a:gd name="connsiteX5" fmla="*/ 409607 w 1644096"/>
                <a:gd name="connsiteY5" fmla="*/ 943991 h 1260195"/>
                <a:gd name="connsiteX6" fmla="*/ 0 w 1644096"/>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395029 w 1634725"/>
                <a:gd name="connsiteY3" fmla="*/ 692458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395029 w 1634725"/>
                <a:gd name="connsiteY3" fmla="*/ 692458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511393 w 1736511"/>
                <a:gd name="connsiteY5" fmla="*/ 943991 h 1386289"/>
                <a:gd name="connsiteX6" fmla="*/ 0 w 1736511"/>
                <a:gd name="connsiteY6" fmla="*/ 1073144 h 1386289"/>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511393 w 1736511"/>
                <a:gd name="connsiteY5" fmla="*/ 943991 h 1386289"/>
                <a:gd name="connsiteX6" fmla="*/ 0 w 1736511"/>
                <a:gd name="connsiteY6" fmla="*/ 1073144 h 1386289"/>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415816 w 1736511"/>
                <a:gd name="connsiteY5" fmla="*/ 984198 h 1386289"/>
                <a:gd name="connsiteX6" fmla="*/ 0 w 1736511"/>
                <a:gd name="connsiteY6" fmla="*/ 1073144 h 138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6511" h="1386289">
                  <a:moveTo>
                    <a:pt x="0" y="1073144"/>
                  </a:moveTo>
                  <a:cubicBezTo>
                    <a:pt x="212802" y="633170"/>
                    <a:pt x="700825" y="99218"/>
                    <a:pt x="1440590" y="0"/>
                  </a:cubicBezTo>
                  <a:cubicBezTo>
                    <a:pt x="1499980" y="49360"/>
                    <a:pt x="1642742" y="191732"/>
                    <a:pt x="1736511" y="298881"/>
                  </a:cubicBezTo>
                  <a:cubicBezTo>
                    <a:pt x="1654146" y="426128"/>
                    <a:pt x="1580641" y="567750"/>
                    <a:pt x="1496815" y="692458"/>
                  </a:cubicBezTo>
                  <a:cubicBezTo>
                    <a:pt x="1235905" y="701978"/>
                    <a:pt x="778315" y="985618"/>
                    <a:pt x="611645" y="1386289"/>
                  </a:cubicBezTo>
                  <a:lnTo>
                    <a:pt x="415816" y="984198"/>
                  </a:lnTo>
                  <a:lnTo>
                    <a:pt x="0" y="1073144"/>
                  </a:lnTo>
                  <a:close/>
                </a:path>
              </a:pathLst>
            </a:custGeom>
            <a:grp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30000"/>
                </a:spcBef>
                <a:spcAft>
                  <a:spcPct val="0"/>
                </a:spcAft>
                <a:buClr>
                  <a:srgbClr val="C62F40"/>
                </a:buClr>
                <a:buFont typeface="Audi Type" pitchFamily="34" charset="0"/>
                <a:buNone/>
              </a:pPr>
              <a:endParaRPr lang="de-DE" sz="4000">
                <a:solidFill>
                  <a:srgbClr val="00285A"/>
                </a:solidFill>
                <a:latin typeface="Audi Type" pitchFamily="34" charset="0"/>
                <a:ea typeface="Arial" pitchFamily="-110" charset="0"/>
                <a:cs typeface="Arial" pitchFamily="-110" charset="0"/>
              </a:endParaRPr>
            </a:p>
          </p:txBody>
        </p:sp>
        <p:sp>
          <p:nvSpPr>
            <p:cNvPr id="37" name="Freihandform 65">
              <a:extLst>
                <a:ext uri="{FF2B5EF4-FFF2-40B4-BE49-F238E27FC236}">
                  <a16:creationId xmlns:a16="http://schemas.microsoft.com/office/drawing/2014/main" id="{830D0F4E-81A2-43BD-B292-91EB22B578E7}"/>
                </a:ext>
              </a:extLst>
            </p:cNvPr>
            <p:cNvSpPr>
              <a:spLocks noChangeAspect="1"/>
            </p:cNvSpPr>
            <p:nvPr/>
          </p:nvSpPr>
          <p:spPr bwMode="gray">
            <a:xfrm rot="14400000">
              <a:off x="4014331" y="4129610"/>
              <a:ext cx="864072" cy="689800"/>
            </a:xfrm>
            <a:custGeom>
              <a:avLst/>
              <a:gdLst>
                <a:gd name="connsiteX0" fmla="*/ 260398 w 3780000"/>
                <a:gd name="connsiteY0" fmla="*/ 932661 h 3780000"/>
                <a:gd name="connsiteX1" fmla="*/ 1893644 w 3780000"/>
                <a:gd name="connsiteY1" fmla="*/ 3 h 3780000"/>
                <a:gd name="connsiteX2" fmla="*/ 1892304 w 3780000"/>
                <a:gd name="connsiteY2" fmla="*/ 694842 h 3780000"/>
                <a:gd name="connsiteX3" fmla="*/ 859505 w 3780000"/>
                <a:gd name="connsiteY3" fmla="*/ 1284617 h 3780000"/>
                <a:gd name="connsiteX4" fmla="*/ 260398 w 3780000"/>
                <a:gd name="connsiteY4" fmla="*/ 932661 h 3780000"/>
                <a:gd name="connsiteX0" fmla="*/ 0 w 1633246"/>
                <a:gd name="connsiteY0" fmla="*/ 933952 h 1285908"/>
                <a:gd name="connsiteX1" fmla="*/ 1633246 w 1633246"/>
                <a:gd name="connsiteY1" fmla="*/ 1294 h 1285908"/>
                <a:gd name="connsiteX2" fmla="*/ 1631906 w 1633246"/>
                <a:gd name="connsiteY2" fmla="*/ 696133 h 1285908"/>
                <a:gd name="connsiteX3" fmla="*/ 599107 w 1633246"/>
                <a:gd name="connsiteY3" fmla="*/ 1285908 h 1285908"/>
                <a:gd name="connsiteX4" fmla="*/ 303075 w 1633246"/>
                <a:gd name="connsiteY4" fmla="*/ 1111747 h 1285908"/>
                <a:gd name="connsiteX5" fmla="*/ 0 w 1633246"/>
                <a:gd name="connsiteY5" fmla="*/ 933952 h 1285908"/>
                <a:gd name="connsiteX0" fmla="*/ 0 w 1633246"/>
                <a:gd name="connsiteY0" fmla="*/ 933952 h 1285908"/>
                <a:gd name="connsiteX1" fmla="*/ 1633246 w 1633246"/>
                <a:gd name="connsiteY1" fmla="*/ 1294 h 1285908"/>
                <a:gd name="connsiteX2" fmla="*/ 1631906 w 1633246"/>
                <a:gd name="connsiteY2" fmla="*/ 696133 h 1285908"/>
                <a:gd name="connsiteX3" fmla="*/ 599107 w 1633246"/>
                <a:gd name="connsiteY3" fmla="*/ 1285908 h 1285908"/>
                <a:gd name="connsiteX4" fmla="*/ 409607 w 1633246"/>
                <a:gd name="connsiteY4" fmla="*/ 969704 h 1285908"/>
                <a:gd name="connsiteX5" fmla="*/ 0 w 1633246"/>
                <a:gd name="connsiteY5" fmla="*/ 933952 h 1285908"/>
                <a:gd name="connsiteX0" fmla="*/ 0 w 1905700"/>
                <a:gd name="connsiteY0" fmla="*/ 1034218 h 1386174"/>
                <a:gd name="connsiteX1" fmla="*/ 1633246 w 1905700"/>
                <a:gd name="connsiteY1" fmla="*/ 101560 h 1386174"/>
                <a:gd name="connsiteX2" fmla="*/ 1634725 w 1905700"/>
                <a:gd name="connsiteY2" fmla="*/ 424860 h 1386174"/>
                <a:gd name="connsiteX3" fmla="*/ 1631906 w 1905700"/>
                <a:gd name="connsiteY3" fmla="*/ 796399 h 1386174"/>
                <a:gd name="connsiteX4" fmla="*/ 599107 w 1905700"/>
                <a:gd name="connsiteY4" fmla="*/ 1386174 h 1386174"/>
                <a:gd name="connsiteX5" fmla="*/ 409607 w 1905700"/>
                <a:gd name="connsiteY5" fmla="*/ 1069970 h 1386174"/>
                <a:gd name="connsiteX6" fmla="*/ 0 w 1905700"/>
                <a:gd name="connsiteY6" fmla="*/ 1034218 h 1386174"/>
                <a:gd name="connsiteX0" fmla="*/ 0 w 1804509"/>
                <a:gd name="connsiteY0" fmla="*/ 933952 h 1285908"/>
                <a:gd name="connsiteX1" fmla="*/ 1633246 w 1804509"/>
                <a:gd name="connsiteY1" fmla="*/ 1294 h 1285908"/>
                <a:gd name="connsiteX2" fmla="*/ 1634725 w 1804509"/>
                <a:gd name="connsiteY2" fmla="*/ 324594 h 1285908"/>
                <a:gd name="connsiteX3" fmla="*/ 1631906 w 1804509"/>
                <a:gd name="connsiteY3" fmla="*/ 696133 h 1285908"/>
                <a:gd name="connsiteX4" fmla="*/ 599107 w 1804509"/>
                <a:gd name="connsiteY4" fmla="*/ 1285908 h 1285908"/>
                <a:gd name="connsiteX5" fmla="*/ 409607 w 1804509"/>
                <a:gd name="connsiteY5" fmla="*/ 969704 h 1285908"/>
                <a:gd name="connsiteX6" fmla="*/ 0 w 1804509"/>
                <a:gd name="connsiteY6" fmla="*/ 933952 h 1285908"/>
                <a:gd name="connsiteX0" fmla="*/ 0 w 1634725"/>
                <a:gd name="connsiteY0" fmla="*/ 933952 h 1285908"/>
                <a:gd name="connsiteX1" fmla="*/ 1633246 w 1634725"/>
                <a:gd name="connsiteY1" fmla="*/ 1294 h 1285908"/>
                <a:gd name="connsiteX2" fmla="*/ 1634725 w 1634725"/>
                <a:gd name="connsiteY2" fmla="*/ 324594 h 1285908"/>
                <a:gd name="connsiteX3" fmla="*/ 1631906 w 1634725"/>
                <a:gd name="connsiteY3" fmla="*/ 696133 h 1285908"/>
                <a:gd name="connsiteX4" fmla="*/ 599107 w 1634725"/>
                <a:gd name="connsiteY4" fmla="*/ 1285908 h 1285908"/>
                <a:gd name="connsiteX5" fmla="*/ 409607 w 1634725"/>
                <a:gd name="connsiteY5" fmla="*/ 969704 h 1285908"/>
                <a:gd name="connsiteX6" fmla="*/ 0 w 1634725"/>
                <a:gd name="connsiteY6" fmla="*/ 933952 h 128590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63682 h 1415638"/>
                <a:gd name="connsiteX1" fmla="*/ 1338804 w 1634725"/>
                <a:gd name="connsiteY1" fmla="*/ 155443 h 1415638"/>
                <a:gd name="connsiteX2" fmla="*/ 1633246 w 1634725"/>
                <a:gd name="connsiteY2" fmla="*/ 131024 h 1415638"/>
                <a:gd name="connsiteX3" fmla="*/ 1634725 w 1634725"/>
                <a:gd name="connsiteY3" fmla="*/ 454324 h 1415638"/>
                <a:gd name="connsiteX4" fmla="*/ 1631906 w 1634725"/>
                <a:gd name="connsiteY4" fmla="*/ 825863 h 1415638"/>
                <a:gd name="connsiteX5" fmla="*/ 599107 w 1634725"/>
                <a:gd name="connsiteY5" fmla="*/ 1415638 h 1415638"/>
                <a:gd name="connsiteX6" fmla="*/ 409607 w 1634725"/>
                <a:gd name="connsiteY6" fmla="*/ 1099434 h 1415638"/>
                <a:gd name="connsiteX7" fmla="*/ 0 w 1634725"/>
                <a:gd name="connsiteY7" fmla="*/ 1063682 h 1415638"/>
                <a:gd name="connsiteX0" fmla="*/ 0 w 1634725"/>
                <a:gd name="connsiteY0" fmla="*/ 1009799 h 1361755"/>
                <a:gd name="connsiteX1" fmla="*/ 1338804 w 1634725"/>
                <a:gd name="connsiteY1" fmla="*/ 101560 h 1361755"/>
                <a:gd name="connsiteX2" fmla="*/ 1634725 w 1634725"/>
                <a:gd name="connsiteY2" fmla="*/ 400441 h 1361755"/>
                <a:gd name="connsiteX3" fmla="*/ 1631906 w 1634725"/>
                <a:gd name="connsiteY3" fmla="*/ 771980 h 1361755"/>
                <a:gd name="connsiteX4" fmla="*/ 599107 w 1634725"/>
                <a:gd name="connsiteY4" fmla="*/ 1361755 h 1361755"/>
                <a:gd name="connsiteX5" fmla="*/ 409607 w 1634725"/>
                <a:gd name="connsiteY5" fmla="*/ 1045551 h 1361755"/>
                <a:gd name="connsiteX6" fmla="*/ 0 w 1634725"/>
                <a:gd name="connsiteY6" fmla="*/ 1009799 h 1361755"/>
                <a:gd name="connsiteX0" fmla="*/ 0 w 1635651"/>
                <a:gd name="connsiteY0" fmla="*/ 1009799 h 1361755"/>
                <a:gd name="connsiteX1" fmla="*/ 1338804 w 1635651"/>
                <a:gd name="connsiteY1" fmla="*/ 101560 h 1361755"/>
                <a:gd name="connsiteX2" fmla="*/ 1634725 w 1635651"/>
                <a:gd name="connsiteY2" fmla="*/ 400441 h 1361755"/>
                <a:gd name="connsiteX3" fmla="*/ 1631906 w 1635651"/>
                <a:gd name="connsiteY3" fmla="*/ 771980 h 1361755"/>
                <a:gd name="connsiteX4" fmla="*/ 599107 w 1635651"/>
                <a:gd name="connsiteY4" fmla="*/ 1361755 h 1361755"/>
                <a:gd name="connsiteX5" fmla="*/ 409607 w 1635651"/>
                <a:gd name="connsiteY5" fmla="*/ 1045551 h 1361755"/>
                <a:gd name="connsiteX6" fmla="*/ 0 w 1635651"/>
                <a:gd name="connsiteY6" fmla="*/ 1009799 h 1361755"/>
                <a:gd name="connsiteX0" fmla="*/ 0 w 1635651"/>
                <a:gd name="connsiteY0" fmla="*/ 908239 h 1260195"/>
                <a:gd name="connsiteX1" fmla="*/ 1338804 w 1635651"/>
                <a:gd name="connsiteY1" fmla="*/ 0 h 1260195"/>
                <a:gd name="connsiteX2" fmla="*/ 1634725 w 1635651"/>
                <a:gd name="connsiteY2" fmla="*/ 298881 h 1260195"/>
                <a:gd name="connsiteX3" fmla="*/ 1631906 w 1635651"/>
                <a:gd name="connsiteY3" fmla="*/ 670420 h 1260195"/>
                <a:gd name="connsiteX4" fmla="*/ 599107 w 1635651"/>
                <a:gd name="connsiteY4" fmla="*/ 1260195 h 1260195"/>
                <a:gd name="connsiteX5" fmla="*/ 409607 w 1635651"/>
                <a:gd name="connsiteY5" fmla="*/ 943991 h 1260195"/>
                <a:gd name="connsiteX6" fmla="*/ 0 w 1635651"/>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631906 w 1634725"/>
                <a:gd name="connsiteY3" fmla="*/ 670420 h 1260195"/>
                <a:gd name="connsiteX4" fmla="*/ 1395029 w 1634725"/>
                <a:gd name="connsiteY4" fmla="*/ 692458 h 1260195"/>
                <a:gd name="connsiteX5" fmla="*/ 599107 w 1634725"/>
                <a:gd name="connsiteY5" fmla="*/ 1260195 h 1260195"/>
                <a:gd name="connsiteX6" fmla="*/ 409607 w 1634725"/>
                <a:gd name="connsiteY6" fmla="*/ 943991 h 1260195"/>
                <a:gd name="connsiteX7" fmla="*/ 0 w 1634725"/>
                <a:gd name="connsiteY7" fmla="*/ 908239 h 1260195"/>
                <a:gd name="connsiteX0" fmla="*/ 0 w 1644096"/>
                <a:gd name="connsiteY0" fmla="*/ 908239 h 1260195"/>
                <a:gd name="connsiteX1" fmla="*/ 1338804 w 1644096"/>
                <a:gd name="connsiteY1" fmla="*/ 0 h 1260195"/>
                <a:gd name="connsiteX2" fmla="*/ 1634725 w 1644096"/>
                <a:gd name="connsiteY2" fmla="*/ 298881 h 1260195"/>
                <a:gd name="connsiteX3" fmla="*/ 1395029 w 1644096"/>
                <a:gd name="connsiteY3" fmla="*/ 692458 h 1260195"/>
                <a:gd name="connsiteX4" fmla="*/ 599107 w 1644096"/>
                <a:gd name="connsiteY4" fmla="*/ 1260195 h 1260195"/>
                <a:gd name="connsiteX5" fmla="*/ 409607 w 1644096"/>
                <a:gd name="connsiteY5" fmla="*/ 943991 h 1260195"/>
                <a:gd name="connsiteX6" fmla="*/ 0 w 1644096"/>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395029 w 1634725"/>
                <a:gd name="connsiteY3" fmla="*/ 692458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634725"/>
                <a:gd name="connsiteY0" fmla="*/ 908239 h 1260195"/>
                <a:gd name="connsiteX1" fmla="*/ 1338804 w 1634725"/>
                <a:gd name="connsiteY1" fmla="*/ 0 h 1260195"/>
                <a:gd name="connsiteX2" fmla="*/ 1634725 w 1634725"/>
                <a:gd name="connsiteY2" fmla="*/ 298881 h 1260195"/>
                <a:gd name="connsiteX3" fmla="*/ 1395029 w 1634725"/>
                <a:gd name="connsiteY3" fmla="*/ 692458 h 1260195"/>
                <a:gd name="connsiteX4" fmla="*/ 599107 w 1634725"/>
                <a:gd name="connsiteY4" fmla="*/ 1260195 h 1260195"/>
                <a:gd name="connsiteX5" fmla="*/ 409607 w 1634725"/>
                <a:gd name="connsiteY5" fmla="*/ 943991 h 1260195"/>
                <a:gd name="connsiteX6" fmla="*/ 0 w 1634725"/>
                <a:gd name="connsiteY6" fmla="*/ 908239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260195"/>
                <a:gd name="connsiteX1" fmla="*/ 1440590 w 1736511"/>
                <a:gd name="connsiteY1" fmla="*/ 0 h 1260195"/>
                <a:gd name="connsiteX2" fmla="*/ 1736511 w 1736511"/>
                <a:gd name="connsiteY2" fmla="*/ 298881 h 1260195"/>
                <a:gd name="connsiteX3" fmla="*/ 1496815 w 1736511"/>
                <a:gd name="connsiteY3" fmla="*/ 692458 h 1260195"/>
                <a:gd name="connsiteX4" fmla="*/ 700893 w 1736511"/>
                <a:gd name="connsiteY4" fmla="*/ 1260195 h 1260195"/>
                <a:gd name="connsiteX5" fmla="*/ 511393 w 1736511"/>
                <a:gd name="connsiteY5" fmla="*/ 943991 h 1260195"/>
                <a:gd name="connsiteX6" fmla="*/ 0 w 1736511"/>
                <a:gd name="connsiteY6" fmla="*/ 1073144 h 1260195"/>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511393 w 1736511"/>
                <a:gd name="connsiteY5" fmla="*/ 943991 h 1386289"/>
                <a:gd name="connsiteX6" fmla="*/ 0 w 1736511"/>
                <a:gd name="connsiteY6" fmla="*/ 1073144 h 1386289"/>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511393 w 1736511"/>
                <a:gd name="connsiteY5" fmla="*/ 943991 h 1386289"/>
                <a:gd name="connsiteX6" fmla="*/ 0 w 1736511"/>
                <a:gd name="connsiteY6" fmla="*/ 1073144 h 1386289"/>
                <a:gd name="connsiteX0" fmla="*/ 0 w 1736511"/>
                <a:gd name="connsiteY0" fmla="*/ 1073144 h 1386289"/>
                <a:gd name="connsiteX1" fmla="*/ 1440590 w 1736511"/>
                <a:gd name="connsiteY1" fmla="*/ 0 h 1386289"/>
                <a:gd name="connsiteX2" fmla="*/ 1736511 w 1736511"/>
                <a:gd name="connsiteY2" fmla="*/ 298881 h 1386289"/>
                <a:gd name="connsiteX3" fmla="*/ 1496815 w 1736511"/>
                <a:gd name="connsiteY3" fmla="*/ 692458 h 1386289"/>
                <a:gd name="connsiteX4" fmla="*/ 611645 w 1736511"/>
                <a:gd name="connsiteY4" fmla="*/ 1386289 h 1386289"/>
                <a:gd name="connsiteX5" fmla="*/ 415816 w 1736511"/>
                <a:gd name="connsiteY5" fmla="*/ 984198 h 1386289"/>
                <a:gd name="connsiteX6" fmla="*/ 0 w 1736511"/>
                <a:gd name="connsiteY6" fmla="*/ 1073144 h 138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6511" h="1386289">
                  <a:moveTo>
                    <a:pt x="0" y="1073144"/>
                  </a:moveTo>
                  <a:cubicBezTo>
                    <a:pt x="212802" y="633170"/>
                    <a:pt x="700825" y="99218"/>
                    <a:pt x="1440590" y="0"/>
                  </a:cubicBezTo>
                  <a:cubicBezTo>
                    <a:pt x="1499980" y="49360"/>
                    <a:pt x="1642742" y="191732"/>
                    <a:pt x="1736511" y="298881"/>
                  </a:cubicBezTo>
                  <a:cubicBezTo>
                    <a:pt x="1654146" y="426128"/>
                    <a:pt x="1580641" y="567750"/>
                    <a:pt x="1496815" y="692458"/>
                  </a:cubicBezTo>
                  <a:cubicBezTo>
                    <a:pt x="1235905" y="701978"/>
                    <a:pt x="778315" y="985618"/>
                    <a:pt x="611645" y="1386289"/>
                  </a:cubicBezTo>
                  <a:lnTo>
                    <a:pt x="415816" y="984198"/>
                  </a:lnTo>
                  <a:lnTo>
                    <a:pt x="0" y="1073144"/>
                  </a:lnTo>
                  <a:close/>
                </a:path>
              </a:pathLst>
            </a:custGeom>
            <a:grp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30000"/>
                </a:spcBef>
                <a:spcAft>
                  <a:spcPct val="0"/>
                </a:spcAft>
                <a:buClr>
                  <a:srgbClr val="C62F40"/>
                </a:buClr>
                <a:buFont typeface="Audi Type" pitchFamily="34" charset="0"/>
                <a:buNone/>
              </a:pPr>
              <a:endParaRPr lang="de-DE" sz="4000">
                <a:solidFill>
                  <a:srgbClr val="00285A"/>
                </a:solidFill>
                <a:latin typeface="Audi Type" pitchFamily="34" charset="0"/>
                <a:ea typeface="Arial" pitchFamily="-110" charset="0"/>
                <a:cs typeface="Arial" pitchFamily="-110" charset="0"/>
              </a:endParaRPr>
            </a:p>
          </p:txBody>
        </p:sp>
      </p:grpSp>
      <p:sp>
        <p:nvSpPr>
          <p:cNvPr id="7" name="Bildplatzhalter 6">
            <a:extLst>
              <a:ext uri="{FF2B5EF4-FFF2-40B4-BE49-F238E27FC236}">
                <a16:creationId xmlns:a16="http://schemas.microsoft.com/office/drawing/2014/main" id="{9103CEBE-D101-46BF-95C5-E3A698A902A7}"/>
              </a:ext>
            </a:extLst>
          </p:cNvPr>
          <p:cNvSpPr>
            <a:spLocks noGrp="1"/>
          </p:cNvSpPr>
          <p:nvPr>
            <p:ph type="pic" sz="quarter" idx="14"/>
          </p:nvPr>
        </p:nvSpPr>
        <p:spPr>
          <a:xfrm>
            <a:off x="4507731" y="2812059"/>
            <a:ext cx="2357310" cy="2353808"/>
          </a:xfrm>
          <a:prstGeom prst="ellipse">
            <a:avLst/>
          </a:prstGeom>
          <a:solidFill>
            <a:schemeClr val="accent2"/>
          </a:solidFill>
        </p:spPr>
        <p:txBody>
          <a:bodyPr/>
          <a:lstStyle>
            <a:lvl1pPr marL="0" indent="0">
              <a:buNone/>
              <a:defRPr/>
            </a:lvl1pPr>
          </a:lstStyle>
          <a:p>
            <a:r>
              <a:rPr lang="de-DE"/>
              <a:t>Bild durch Klicken auf Symbol hinzufügen</a:t>
            </a:r>
          </a:p>
        </p:txBody>
      </p:sp>
      <p:sp>
        <p:nvSpPr>
          <p:cNvPr id="40" name="Textplatzhalter 39">
            <a:extLst>
              <a:ext uri="{FF2B5EF4-FFF2-40B4-BE49-F238E27FC236}">
                <a16:creationId xmlns:a16="http://schemas.microsoft.com/office/drawing/2014/main" id="{BDD04CF1-D19A-4904-8427-AED67F9E938D}"/>
              </a:ext>
            </a:extLst>
          </p:cNvPr>
          <p:cNvSpPr>
            <a:spLocks noGrp="1"/>
          </p:cNvSpPr>
          <p:nvPr>
            <p:ph type="body" sz="quarter" idx="15" hasCustomPrompt="1"/>
          </p:nvPr>
        </p:nvSpPr>
        <p:spPr>
          <a:xfrm>
            <a:off x="5060761" y="1500256"/>
            <a:ext cx="1032363" cy="390525"/>
          </a:xfrm>
          <a:prstGeom prst="rect">
            <a:avLst/>
          </a:prstGeom>
        </p:spPr>
        <p:txBody>
          <a:bodyPr/>
          <a:lstStyle>
            <a:lvl1pPr marL="0" indent="0">
              <a:buNone/>
              <a:defRPr>
                <a:latin typeface="M05 Text Office" panose="020B0504040000000004" pitchFamily="34" charset="0"/>
              </a:defRPr>
            </a:lvl1pPr>
          </a:lstStyle>
          <a:p>
            <a:pPr lvl="0"/>
            <a:r>
              <a:rPr lang="de-DE"/>
              <a:t>Topic 1</a:t>
            </a:r>
          </a:p>
        </p:txBody>
      </p:sp>
      <p:sp>
        <p:nvSpPr>
          <p:cNvPr id="41" name="Textplatzhalter 39">
            <a:extLst>
              <a:ext uri="{FF2B5EF4-FFF2-40B4-BE49-F238E27FC236}">
                <a16:creationId xmlns:a16="http://schemas.microsoft.com/office/drawing/2014/main" id="{224C20DE-DDAB-4B3D-BC73-B0965927E0D5}"/>
              </a:ext>
            </a:extLst>
          </p:cNvPr>
          <p:cNvSpPr>
            <a:spLocks noGrp="1"/>
          </p:cNvSpPr>
          <p:nvPr>
            <p:ph type="body" sz="quarter" idx="16" hasCustomPrompt="1"/>
          </p:nvPr>
        </p:nvSpPr>
        <p:spPr>
          <a:xfrm>
            <a:off x="6707379" y="1809309"/>
            <a:ext cx="1032363" cy="390525"/>
          </a:xfrm>
          <a:prstGeom prst="rect">
            <a:avLst/>
          </a:prstGeom>
        </p:spPr>
        <p:txBody>
          <a:bodyPr/>
          <a:lstStyle>
            <a:lvl1pPr marL="0" indent="0">
              <a:buNone/>
              <a:defRPr>
                <a:latin typeface="M05 Text Office" panose="020B0504040000000004" pitchFamily="34" charset="0"/>
              </a:defRPr>
            </a:lvl1pPr>
          </a:lstStyle>
          <a:p>
            <a:pPr lvl="0"/>
            <a:r>
              <a:rPr lang="de-DE"/>
              <a:t>Topic 2</a:t>
            </a:r>
          </a:p>
        </p:txBody>
      </p:sp>
      <p:sp>
        <p:nvSpPr>
          <p:cNvPr id="42" name="Textplatzhalter 39">
            <a:extLst>
              <a:ext uri="{FF2B5EF4-FFF2-40B4-BE49-F238E27FC236}">
                <a16:creationId xmlns:a16="http://schemas.microsoft.com/office/drawing/2014/main" id="{D39B535A-6D4B-4C2F-98F2-7386F67B2439}"/>
              </a:ext>
            </a:extLst>
          </p:cNvPr>
          <p:cNvSpPr>
            <a:spLocks noGrp="1"/>
          </p:cNvSpPr>
          <p:nvPr>
            <p:ph type="body" sz="quarter" idx="17" hasCustomPrompt="1"/>
          </p:nvPr>
        </p:nvSpPr>
        <p:spPr>
          <a:xfrm>
            <a:off x="7592527" y="2684283"/>
            <a:ext cx="1032363" cy="390525"/>
          </a:xfrm>
          <a:prstGeom prst="rect">
            <a:avLst/>
          </a:prstGeom>
        </p:spPr>
        <p:txBody>
          <a:bodyPr/>
          <a:lstStyle>
            <a:lvl1pPr marL="0" indent="0">
              <a:buNone/>
              <a:defRPr>
                <a:latin typeface="M05 Text Office" panose="020B0504040000000004" pitchFamily="34" charset="0"/>
              </a:defRPr>
            </a:lvl1pPr>
          </a:lstStyle>
          <a:p>
            <a:pPr lvl="0"/>
            <a:r>
              <a:rPr lang="de-DE"/>
              <a:t>Topic 3</a:t>
            </a:r>
          </a:p>
        </p:txBody>
      </p:sp>
      <p:sp>
        <p:nvSpPr>
          <p:cNvPr id="43" name="Textplatzhalter 39">
            <a:extLst>
              <a:ext uri="{FF2B5EF4-FFF2-40B4-BE49-F238E27FC236}">
                <a16:creationId xmlns:a16="http://schemas.microsoft.com/office/drawing/2014/main" id="{E1833E2A-E081-4F4B-88B9-16D5A31F48ED}"/>
              </a:ext>
            </a:extLst>
          </p:cNvPr>
          <p:cNvSpPr>
            <a:spLocks noGrp="1"/>
          </p:cNvSpPr>
          <p:nvPr>
            <p:ph type="body" sz="quarter" idx="18" hasCustomPrompt="1"/>
          </p:nvPr>
        </p:nvSpPr>
        <p:spPr>
          <a:xfrm>
            <a:off x="7788343" y="3641785"/>
            <a:ext cx="1032363" cy="390525"/>
          </a:xfrm>
          <a:prstGeom prst="rect">
            <a:avLst/>
          </a:prstGeom>
        </p:spPr>
        <p:txBody>
          <a:bodyPr/>
          <a:lstStyle>
            <a:lvl1pPr marL="0" indent="0">
              <a:buNone/>
              <a:defRPr>
                <a:latin typeface="M05 Text Office" panose="020B0504040000000004" pitchFamily="34" charset="0"/>
              </a:defRPr>
            </a:lvl1pPr>
          </a:lstStyle>
          <a:p>
            <a:pPr lvl="0"/>
            <a:r>
              <a:rPr lang="de-DE"/>
              <a:t>Topic 4</a:t>
            </a:r>
          </a:p>
        </p:txBody>
      </p:sp>
      <p:sp>
        <p:nvSpPr>
          <p:cNvPr id="44" name="Textplatzhalter 39">
            <a:extLst>
              <a:ext uri="{FF2B5EF4-FFF2-40B4-BE49-F238E27FC236}">
                <a16:creationId xmlns:a16="http://schemas.microsoft.com/office/drawing/2014/main" id="{80780DDB-3245-4630-81FA-6C15A60F282F}"/>
              </a:ext>
            </a:extLst>
          </p:cNvPr>
          <p:cNvSpPr>
            <a:spLocks noGrp="1"/>
          </p:cNvSpPr>
          <p:nvPr>
            <p:ph type="body" sz="quarter" idx="19" hasCustomPrompt="1"/>
          </p:nvPr>
        </p:nvSpPr>
        <p:spPr>
          <a:xfrm>
            <a:off x="7691910" y="4687315"/>
            <a:ext cx="1032363" cy="390525"/>
          </a:xfrm>
          <a:prstGeom prst="rect">
            <a:avLst/>
          </a:prstGeom>
        </p:spPr>
        <p:txBody>
          <a:bodyPr/>
          <a:lstStyle>
            <a:lvl1pPr marL="0" indent="0">
              <a:buNone/>
              <a:defRPr>
                <a:latin typeface="M05 Text Office" panose="020B0504040000000004" pitchFamily="34" charset="0"/>
              </a:defRPr>
            </a:lvl1pPr>
          </a:lstStyle>
          <a:p>
            <a:pPr lvl="0"/>
            <a:r>
              <a:rPr lang="de-DE"/>
              <a:t>Topic 5</a:t>
            </a:r>
          </a:p>
        </p:txBody>
      </p:sp>
      <p:sp>
        <p:nvSpPr>
          <p:cNvPr id="45" name="Textplatzhalter 39">
            <a:extLst>
              <a:ext uri="{FF2B5EF4-FFF2-40B4-BE49-F238E27FC236}">
                <a16:creationId xmlns:a16="http://schemas.microsoft.com/office/drawing/2014/main" id="{B289C515-D1C3-4A7B-877A-15EB41242FC9}"/>
              </a:ext>
            </a:extLst>
          </p:cNvPr>
          <p:cNvSpPr>
            <a:spLocks noGrp="1"/>
          </p:cNvSpPr>
          <p:nvPr>
            <p:ph type="body" sz="quarter" idx="20" hasCustomPrompt="1"/>
          </p:nvPr>
        </p:nvSpPr>
        <p:spPr>
          <a:xfrm>
            <a:off x="7037645" y="5583545"/>
            <a:ext cx="1032363" cy="390525"/>
          </a:xfrm>
          <a:prstGeom prst="rect">
            <a:avLst/>
          </a:prstGeom>
        </p:spPr>
        <p:txBody>
          <a:bodyPr/>
          <a:lstStyle>
            <a:lvl1pPr marL="0" indent="0">
              <a:buNone/>
              <a:defRPr>
                <a:latin typeface="M05 Text Office" panose="020B0504040000000004" pitchFamily="34" charset="0"/>
              </a:defRPr>
            </a:lvl1pPr>
          </a:lstStyle>
          <a:p>
            <a:pPr lvl="0"/>
            <a:r>
              <a:rPr lang="de-DE"/>
              <a:t>Topic 6</a:t>
            </a:r>
          </a:p>
        </p:txBody>
      </p:sp>
      <p:sp>
        <p:nvSpPr>
          <p:cNvPr id="46" name="Textplatzhalter 39">
            <a:extLst>
              <a:ext uri="{FF2B5EF4-FFF2-40B4-BE49-F238E27FC236}">
                <a16:creationId xmlns:a16="http://schemas.microsoft.com/office/drawing/2014/main" id="{BE5743B6-3A4C-4DFE-9BF3-4C09C7BB1628}"/>
              </a:ext>
            </a:extLst>
          </p:cNvPr>
          <p:cNvSpPr>
            <a:spLocks noGrp="1"/>
          </p:cNvSpPr>
          <p:nvPr>
            <p:ph type="body" sz="quarter" idx="21" hasCustomPrompt="1"/>
          </p:nvPr>
        </p:nvSpPr>
        <p:spPr>
          <a:xfrm>
            <a:off x="5060761" y="6112586"/>
            <a:ext cx="1032363" cy="390525"/>
          </a:xfrm>
          <a:prstGeom prst="rect">
            <a:avLst/>
          </a:prstGeom>
        </p:spPr>
        <p:txBody>
          <a:bodyPr/>
          <a:lstStyle>
            <a:lvl1pPr marL="0" indent="0">
              <a:buNone/>
              <a:defRPr>
                <a:latin typeface="M05 Text Office" panose="020B0504040000000004" pitchFamily="34" charset="0"/>
              </a:defRPr>
            </a:lvl1pPr>
          </a:lstStyle>
          <a:p>
            <a:pPr lvl="0"/>
            <a:r>
              <a:rPr lang="de-DE"/>
              <a:t>Topic 7</a:t>
            </a:r>
          </a:p>
        </p:txBody>
      </p:sp>
      <p:sp>
        <p:nvSpPr>
          <p:cNvPr id="47" name="Textplatzhalter 39">
            <a:extLst>
              <a:ext uri="{FF2B5EF4-FFF2-40B4-BE49-F238E27FC236}">
                <a16:creationId xmlns:a16="http://schemas.microsoft.com/office/drawing/2014/main" id="{D5A715D2-9532-4C76-8492-BF6C77EE3A97}"/>
              </a:ext>
            </a:extLst>
          </p:cNvPr>
          <p:cNvSpPr>
            <a:spLocks noGrp="1"/>
          </p:cNvSpPr>
          <p:nvPr>
            <p:ph type="body" sz="quarter" idx="22" hasCustomPrompt="1"/>
          </p:nvPr>
        </p:nvSpPr>
        <p:spPr>
          <a:xfrm>
            <a:off x="3297639" y="5578252"/>
            <a:ext cx="1032363" cy="390525"/>
          </a:xfrm>
          <a:prstGeom prst="rect">
            <a:avLst/>
          </a:prstGeom>
        </p:spPr>
        <p:txBody>
          <a:bodyPr/>
          <a:lstStyle>
            <a:lvl1pPr marL="0" indent="0">
              <a:buNone/>
              <a:defRPr>
                <a:latin typeface="M05 Text Office" panose="020B0504040000000004" pitchFamily="34" charset="0"/>
              </a:defRPr>
            </a:lvl1pPr>
          </a:lstStyle>
          <a:p>
            <a:pPr lvl="0"/>
            <a:r>
              <a:rPr lang="de-DE"/>
              <a:t>Topic 8</a:t>
            </a:r>
          </a:p>
        </p:txBody>
      </p:sp>
      <p:sp>
        <p:nvSpPr>
          <p:cNvPr id="48" name="Textplatzhalter 39">
            <a:extLst>
              <a:ext uri="{FF2B5EF4-FFF2-40B4-BE49-F238E27FC236}">
                <a16:creationId xmlns:a16="http://schemas.microsoft.com/office/drawing/2014/main" id="{610EB3FF-7C77-4799-A981-E0D30C3500A2}"/>
              </a:ext>
            </a:extLst>
          </p:cNvPr>
          <p:cNvSpPr>
            <a:spLocks noGrp="1"/>
          </p:cNvSpPr>
          <p:nvPr>
            <p:ph type="body" sz="quarter" idx="23" hasCustomPrompt="1"/>
          </p:nvPr>
        </p:nvSpPr>
        <p:spPr>
          <a:xfrm>
            <a:off x="2578576" y="4687315"/>
            <a:ext cx="1032363" cy="390525"/>
          </a:xfrm>
          <a:prstGeom prst="rect">
            <a:avLst/>
          </a:prstGeom>
        </p:spPr>
        <p:txBody>
          <a:bodyPr/>
          <a:lstStyle>
            <a:lvl1pPr marL="0" indent="0">
              <a:buNone/>
              <a:defRPr>
                <a:latin typeface="M05 Text Office" panose="020B0504040000000004" pitchFamily="34" charset="0"/>
              </a:defRPr>
            </a:lvl1pPr>
          </a:lstStyle>
          <a:p>
            <a:pPr lvl="0"/>
            <a:r>
              <a:rPr lang="de-DE"/>
              <a:t>Topic 9</a:t>
            </a:r>
          </a:p>
        </p:txBody>
      </p:sp>
      <p:sp>
        <p:nvSpPr>
          <p:cNvPr id="49" name="Textplatzhalter 39">
            <a:extLst>
              <a:ext uri="{FF2B5EF4-FFF2-40B4-BE49-F238E27FC236}">
                <a16:creationId xmlns:a16="http://schemas.microsoft.com/office/drawing/2014/main" id="{FB452DA8-F4CB-4253-A888-47F04E43A537}"/>
              </a:ext>
            </a:extLst>
          </p:cNvPr>
          <p:cNvSpPr>
            <a:spLocks noGrp="1"/>
          </p:cNvSpPr>
          <p:nvPr>
            <p:ph type="body" sz="quarter" idx="24" hasCustomPrompt="1"/>
          </p:nvPr>
        </p:nvSpPr>
        <p:spPr>
          <a:xfrm>
            <a:off x="2368062" y="3646059"/>
            <a:ext cx="1139039" cy="390525"/>
          </a:xfrm>
          <a:prstGeom prst="rect">
            <a:avLst/>
          </a:prstGeom>
        </p:spPr>
        <p:txBody>
          <a:bodyPr/>
          <a:lstStyle>
            <a:lvl1pPr marL="0" indent="0">
              <a:buNone/>
              <a:defRPr>
                <a:latin typeface="M05 Text Office" panose="020B0504040000000004" pitchFamily="34" charset="0"/>
              </a:defRPr>
            </a:lvl1pPr>
          </a:lstStyle>
          <a:p>
            <a:pPr lvl="0"/>
            <a:r>
              <a:rPr lang="de-DE"/>
              <a:t>Topic 10</a:t>
            </a:r>
          </a:p>
        </p:txBody>
      </p:sp>
      <p:sp>
        <p:nvSpPr>
          <p:cNvPr id="50" name="Textplatzhalter 39">
            <a:extLst>
              <a:ext uri="{FF2B5EF4-FFF2-40B4-BE49-F238E27FC236}">
                <a16:creationId xmlns:a16="http://schemas.microsoft.com/office/drawing/2014/main" id="{18EBD86B-62AB-4E16-83C1-51B1DF41BD45}"/>
              </a:ext>
            </a:extLst>
          </p:cNvPr>
          <p:cNvSpPr>
            <a:spLocks noGrp="1"/>
          </p:cNvSpPr>
          <p:nvPr>
            <p:ph type="body" sz="quarter" idx="25" hasCustomPrompt="1"/>
          </p:nvPr>
        </p:nvSpPr>
        <p:spPr>
          <a:xfrm>
            <a:off x="2575268" y="2691576"/>
            <a:ext cx="1139039" cy="390525"/>
          </a:xfrm>
          <a:prstGeom prst="rect">
            <a:avLst/>
          </a:prstGeom>
        </p:spPr>
        <p:txBody>
          <a:bodyPr/>
          <a:lstStyle>
            <a:lvl1pPr marL="0" indent="0">
              <a:buNone/>
              <a:defRPr>
                <a:latin typeface="M05 Text Office" panose="020B0504040000000004" pitchFamily="34" charset="0"/>
              </a:defRPr>
            </a:lvl1pPr>
          </a:lstStyle>
          <a:p>
            <a:pPr lvl="0"/>
            <a:r>
              <a:rPr lang="de-DE"/>
              <a:t>Topic 11</a:t>
            </a:r>
          </a:p>
        </p:txBody>
      </p:sp>
      <p:sp>
        <p:nvSpPr>
          <p:cNvPr id="51" name="Textplatzhalter 39">
            <a:extLst>
              <a:ext uri="{FF2B5EF4-FFF2-40B4-BE49-F238E27FC236}">
                <a16:creationId xmlns:a16="http://schemas.microsoft.com/office/drawing/2014/main" id="{B4848CB5-1FEF-4C38-A312-7017F868ABD9}"/>
              </a:ext>
            </a:extLst>
          </p:cNvPr>
          <p:cNvSpPr>
            <a:spLocks noGrp="1"/>
          </p:cNvSpPr>
          <p:nvPr>
            <p:ph type="body" sz="quarter" idx="26" hasCustomPrompt="1"/>
          </p:nvPr>
        </p:nvSpPr>
        <p:spPr>
          <a:xfrm>
            <a:off x="3377287" y="1821210"/>
            <a:ext cx="1139039" cy="390525"/>
          </a:xfrm>
          <a:prstGeom prst="rect">
            <a:avLst/>
          </a:prstGeom>
        </p:spPr>
        <p:txBody>
          <a:bodyPr/>
          <a:lstStyle>
            <a:lvl1pPr marL="0" indent="0">
              <a:buNone/>
              <a:defRPr>
                <a:latin typeface="M05 Text Office" panose="020B0504040000000004" pitchFamily="34" charset="0"/>
              </a:defRPr>
            </a:lvl1pPr>
          </a:lstStyle>
          <a:p>
            <a:pPr lvl="0"/>
            <a:r>
              <a:rPr lang="de-DE"/>
              <a:t>Topic 12</a:t>
            </a:r>
          </a:p>
        </p:txBody>
      </p:sp>
    </p:spTree>
    <p:extLst>
      <p:ext uri="{BB962C8B-B14F-4D97-AF65-F5344CB8AC3E}">
        <p14:creationId xmlns:p14="http://schemas.microsoft.com/office/powerpoint/2010/main" val="15433007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Überschneidungen, Thematischer Fit">
    <p:spTree>
      <p:nvGrpSpPr>
        <p:cNvPr id="1" name=""/>
        <p:cNvGrpSpPr/>
        <p:nvPr/>
      </p:nvGrpSpPr>
      <p:grpSpPr>
        <a:xfrm>
          <a:off x="0" y="0"/>
          <a:ext cx="0" cy="0"/>
          <a:chOff x="0" y="0"/>
          <a:chExt cx="0" cy="0"/>
        </a:xfrm>
      </p:grpSpPr>
      <p:sp>
        <p:nvSpPr>
          <p:cNvPr id="40" name="Oval 19">
            <a:extLst>
              <a:ext uri="{FF2B5EF4-FFF2-40B4-BE49-F238E27FC236}">
                <a16:creationId xmlns:a16="http://schemas.microsoft.com/office/drawing/2014/main" id="{2CF080CE-07A6-4910-B30A-B380CFDE3FEA}"/>
              </a:ext>
            </a:extLst>
          </p:cNvPr>
          <p:cNvSpPr>
            <a:spLocks/>
          </p:cNvSpPr>
          <p:nvPr userDrawn="1"/>
        </p:nvSpPr>
        <p:spPr>
          <a:xfrm>
            <a:off x="2674368" y="1596805"/>
            <a:ext cx="3352798" cy="3483196"/>
          </a:xfrm>
          <a:prstGeom prst="ellipse">
            <a:avLst/>
          </a:prstGeom>
          <a:solidFill>
            <a:srgbClr val="414042"/>
          </a:solidFill>
          <a:ln w="41275">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srgbClr val="C80F2E"/>
              </a:solidFill>
            </a:endParaRPr>
          </a:p>
        </p:txBody>
      </p:sp>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4" name="Oval 20">
            <a:extLst>
              <a:ext uri="{FF2B5EF4-FFF2-40B4-BE49-F238E27FC236}">
                <a16:creationId xmlns:a16="http://schemas.microsoft.com/office/drawing/2014/main" id="{CA3F95CC-8ADB-4667-AAAD-B7CC3C8362C0}"/>
              </a:ext>
            </a:extLst>
          </p:cNvPr>
          <p:cNvSpPr>
            <a:spLocks/>
          </p:cNvSpPr>
          <p:nvPr userDrawn="1"/>
        </p:nvSpPr>
        <p:spPr>
          <a:xfrm flipH="1">
            <a:off x="4806461" y="1596805"/>
            <a:ext cx="3352798" cy="3483196"/>
          </a:xfrm>
          <a:prstGeom prst="ellipse">
            <a:avLst/>
          </a:prstGeom>
          <a:solidFill>
            <a:srgbClr val="E6E7E8">
              <a:alpha val="74118"/>
            </a:srgbClr>
          </a:solidFill>
          <a:ln w="34925">
            <a:noFill/>
          </a:ln>
        </p:spPr>
        <p:style>
          <a:lnRef idx="1">
            <a:schemeClr val="accent1"/>
          </a:lnRef>
          <a:fillRef idx="3">
            <a:schemeClr val="accent1"/>
          </a:fillRef>
          <a:effectRef idx="2">
            <a:schemeClr val="accent1"/>
          </a:effectRef>
          <a:fontRef idx="minor">
            <a:schemeClr val="lt1"/>
          </a:fontRef>
        </p:style>
        <p:txBody>
          <a:bodyPr rtlCol="0" anchor="ctr"/>
          <a:lstStyle/>
          <a:p>
            <a:pPr marL="0" lvl="2" algn="ctr"/>
            <a:endParaRPr lang="de-DE" sz="1500">
              <a:solidFill>
                <a:schemeClr val="bg1"/>
              </a:solidFill>
            </a:endParaRPr>
          </a:p>
          <a:p>
            <a:pPr algn="ctr"/>
            <a:endParaRPr lang="de-DE">
              <a:solidFill>
                <a:schemeClr val="bg1">
                  <a:lumMod val="95000"/>
                </a:schemeClr>
              </a:solidFill>
            </a:endParaRPr>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23" name="Textplatzhalter 22">
            <a:extLst>
              <a:ext uri="{FF2B5EF4-FFF2-40B4-BE49-F238E27FC236}">
                <a16:creationId xmlns:a16="http://schemas.microsoft.com/office/drawing/2014/main" id="{6C69857A-F33D-4E03-8CDA-9AB045F48F0B}"/>
              </a:ext>
            </a:extLst>
          </p:cNvPr>
          <p:cNvSpPr>
            <a:spLocks noGrp="1"/>
          </p:cNvSpPr>
          <p:nvPr>
            <p:ph type="body" sz="quarter" idx="14" hasCustomPrompt="1"/>
          </p:nvPr>
        </p:nvSpPr>
        <p:spPr>
          <a:xfrm>
            <a:off x="3811322" y="1829167"/>
            <a:ext cx="1078889" cy="374772"/>
          </a:xfrm>
          <a:prstGeom prst="rect">
            <a:avLst/>
          </a:prstGeom>
        </p:spPr>
        <p:txBody>
          <a:bodyPr/>
          <a:lstStyle>
            <a:lvl1pPr marL="0" indent="0" algn="ctr">
              <a:buNone/>
              <a:defRPr>
                <a:solidFill>
                  <a:schemeClr val="bg1"/>
                </a:solidFill>
                <a:latin typeface="M05 Text Office Bold" panose="020B0804040000000004" pitchFamily="34" charset="0"/>
              </a:defRPr>
            </a:lvl1pPr>
          </a:lstStyle>
          <a:p>
            <a:pPr lvl="0"/>
            <a:r>
              <a:rPr lang="de-DE"/>
              <a:t>Topic 1</a:t>
            </a:r>
          </a:p>
        </p:txBody>
      </p:sp>
      <p:sp>
        <p:nvSpPr>
          <p:cNvPr id="44" name="Textplatzhalter 22">
            <a:extLst>
              <a:ext uri="{FF2B5EF4-FFF2-40B4-BE49-F238E27FC236}">
                <a16:creationId xmlns:a16="http://schemas.microsoft.com/office/drawing/2014/main" id="{A02BB071-207C-479D-B0C9-28C01440C29F}"/>
              </a:ext>
            </a:extLst>
          </p:cNvPr>
          <p:cNvSpPr>
            <a:spLocks noGrp="1"/>
          </p:cNvSpPr>
          <p:nvPr>
            <p:ph type="body" sz="quarter" idx="15" hasCustomPrompt="1"/>
          </p:nvPr>
        </p:nvSpPr>
        <p:spPr>
          <a:xfrm>
            <a:off x="5943415" y="1852797"/>
            <a:ext cx="1078889" cy="374772"/>
          </a:xfrm>
          <a:prstGeom prst="rect">
            <a:avLst/>
          </a:prstGeom>
        </p:spPr>
        <p:txBody>
          <a:bodyPr/>
          <a:lstStyle>
            <a:lvl1pPr marL="0" indent="0" algn="ctr">
              <a:buNone/>
              <a:defRPr>
                <a:solidFill>
                  <a:schemeClr val="tx1"/>
                </a:solidFill>
                <a:latin typeface="M05 Text Office Bold" panose="020B0804040000000004" pitchFamily="34" charset="0"/>
              </a:defRPr>
            </a:lvl1pPr>
          </a:lstStyle>
          <a:p>
            <a:pPr lvl="0"/>
            <a:r>
              <a:rPr lang="de-DE"/>
              <a:t>Topic 1</a:t>
            </a:r>
          </a:p>
        </p:txBody>
      </p:sp>
      <p:sp>
        <p:nvSpPr>
          <p:cNvPr id="43" name="Textplatzhalter 42">
            <a:extLst>
              <a:ext uri="{FF2B5EF4-FFF2-40B4-BE49-F238E27FC236}">
                <a16:creationId xmlns:a16="http://schemas.microsoft.com/office/drawing/2014/main" id="{3447B2A0-0102-4D2C-BFF0-27BC5045499C}"/>
              </a:ext>
            </a:extLst>
          </p:cNvPr>
          <p:cNvSpPr>
            <a:spLocks noGrp="1"/>
          </p:cNvSpPr>
          <p:nvPr>
            <p:ph type="body" sz="quarter" idx="16" hasCustomPrompt="1"/>
          </p:nvPr>
        </p:nvSpPr>
        <p:spPr>
          <a:xfrm>
            <a:off x="4890210" y="2696308"/>
            <a:ext cx="1078889" cy="1428017"/>
          </a:xfrm>
          <a:prstGeom prst="rect">
            <a:avLst/>
          </a:prstGeom>
        </p:spPr>
        <p:txBody>
          <a:bodyPr/>
          <a:lstStyle>
            <a:lvl1pPr marL="0" indent="0" algn="ctr">
              <a:buNone/>
              <a:defRPr>
                <a:solidFill>
                  <a:schemeClr val="tx1"/>
                </a:solidFill>
              </a:defRPr>
            </a:lvl1pPr>
          </a:lstStyle>
          <a:p>
            <a:pPr lvl="0"/>
            <a:r>
              <a:rPr lang="de-DE"/>
              <a:t>Fans</a:t>
            </a:r>
          </a:p>
          <a:p>
            <a:pPr lvl="0"/>
            <a:r>
              <a:rPr lang="de-DE"/>
              <a:t>Sport</a:t>
            </a:r>
          </a:p>
          <a:p>
            <a:pPr lvl="0"/>
            <a:r>
              <a:rPr lang="de-DE"/>
              <a:t>Tickets</a:t>
            </a:r>
          </a:p>
        </p:txBody>
      </p:sp>
      <p:pic>
        <p:nvPicPr>
          <p:cNvPr id="47" name="Grafik 46">
            <a:extLst>
              <a:ext uri="{FF2B5EF4-FFF2-40B4-BE49-F238E27FC236}">
                <a16:creationId xmlns:a16="http://schemas.microsoft.com/office/drawing/2014/main" id="{02222EFB-BEBB-4D21-A784-675A3E63281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74368" y="5502395"/>
            <a:ext cx="5484891" cy="515450"/>
          </a:xfrm>
          <a:prstGeom prst="rect">
            <a:avLst/>
          </a:prstGeom>
        </p:spPr>
      </p:pic>
      <p:sp>
        <p:nvSpPr>
          <p:cNvPr id="48" name="Pfeil: Chevron 47">
            <a:extLst>
              <a:ext uri="{FF2B5EF4-FFF2-40B4-BE49-F238E27FC236}">
                <a16:creationId xmlns:a16="http://schemas.microsoft.com/office/drawing/2014/main" id="{3014F166-2C42-473F-B404-B85E928B453C}"/>
              </a:ext>
            </a:extLst>
          </p:cNvPr>
          <p:cNvSpPr/>
          <p:nvPr userDrawn="1"/>
        </p:nvSpPr>
        <p:spPr>
          <a:xfrm rot="5400000">
            <a:off x="5295938" y="4754822"/>
            <a:ext cx="243097" cy="685150"/>
          </a:xfrm>
          <a:prstGeom prst="chevron">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49" name="Pfeil: Chevron 48">
            <a:extLst>
              <a:ext uri="{FF2B5EF4-FFF2-40B4-BE49-F238E27FC236}">
                <a16:creationId xmlns:a16="http://schemas.microsoft.com/office/drawing/2014/main" id="{B4178ABF-E6FD-4760-BCAC-B60888E4B616}"/>
              </a:ext>
            </a:extLst>
          </p:cNvPr>
          <p:cNvSpPr/>
          <p:nvPr userDrawn="1"/>
        </p:nvSpPr>
        <p:spPr>
          <a:xfrm rot="5400000">
            <a:off x="5295937" y="4960532"/>
            <a:ext cx="243097" cy="685150"/>
          </a:xfrm>
          <a:prstGeom prst="chevron">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46" name="Textplatzhalter 45">
            <a:extLst>
              <a:ext uri="{FF2B5EF4-FFF2-40B4-BE49-F238E27FC236}">
                <a16:creationId xmlns:a16="http://schemas.microsoft.com/office/drawing/2014/main" id="{61628B00-B5A2-4BC3-8F53-8E41D89AB150}"/>
              </a:ext>
            </a:extLst>
          </p:cNvPr>
          <p:cNvSpPr>
            <a:spLocks noGrp="1"/>
          </p:cNvSpPr>
          <p:nvPr>
            <p:ph type="body" sz="quarter" idx="17" hasCustomPrompt="1"/>
          </p:nvPr>
        </p:nvSpPr>
        <p:spPr>
          <a:xfrm>
            <a:off x="2674938" y="5502275"/>
            <a:ext cx="5241925" cy="515450"/>
          </a:xfrm>
          <a:prstGeom prst="rect">
            <a:avLst/>
          </a:prstGeom>
        </p:spPr>
        <p:txBody>
          <a:bodyPr anchor="ctr"/>
          <a:lstStyle>
            <a:lvl1pPr marL="0" indent="0" algn="ctr">
              <a:buNone/>
              <a:defRPr>
                <a:latin typeface="M05 Text Office Bold" panose="020B0804040000000004" pitchFamily="34" charset="0"/>
              </a:defRPr>
            </a:lvl1pPr>
          </a:lstStyle>
          <a:p>
            <a:pPr lvl="0"/>
            <a:r>
              <a:rPr lang="de-DE"/>
              <a:t>FAZIT</a:t>
            </a:r>
          </a:p>
        </p:txBody>
      </p:sp>
    </p:spTree>
    <p:extLst>
      <p:ext uri="{BB962C8B-B14F-4D97-AF65-F5344CB8AC3E}">
        <p14:creationId xmlns:p14="http://schemas.microsoft.com/office/powerpoint/2010/main" val="26839401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ild rechts mit Headline; versetztes Raster">
    <p:spTree>
      <p:nvGrpSpPr>
        <p:cNvPr id="1" name=""/>
        <p:cNvGrpSpPr/>
        <p:nvPr/>
      </p:nvGrpSpPr>
      <p:grpSpPr>
        <a:xfrm>
          <a:off x="0" y="0"/>
          <a:ext cx="0" cy="0"/>
          <a:chOff x="0" y="0"/>
          <a:chExt cx="0" cy="0"/>
        </a:xfrm>
      </p:grpSpPr>
      <p:sp>
        <p:nvSpPr>
          <p:cNvPr id="9" name="Rechteck: eine Ecke abgeschnitten 8">
            <a:extLst>
              <a:ext uri="{FF2B5EF4-FFF2-40B4-BE49-F238E27FC236}">
                <a16:creationId xmlns:a16="http://schemas.microsoft.com/office/drawing/2014/main" id="{4A4143CF-26EB-4972-968A-2F935DB7DCAF}"/>
              </a:ext>
            </a:extLst>
          </p:cNvPr>
          <p:cNvSpPr/>
          <p:nvPr userDrawn="1"/>
        </p:nvSpPr>
        <p:spPr>
          <a:xfrm>
            <a:off x="0" y="0"/>
            <a:ext cx="4826000" cy="6858000"/>
          </a:xfrm>
          <a:prstGeom prst="snip1Rect">
            <a:avLst>
              <a:gd name="adj" fmla="val 4092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05 Text Office" panose="020B0504040000000004" pitchFamily="34" charset="0"/>
            </a:endParaRPr>
          </a:p>
        </p:txBody>
      </p:sp>
      <p:sp>
        <p:nvSpPr>
          <p:cNvPr id="10" name="Textplatzhalter 13">
            <a:extLst>
              <a:ext uri="{FF2B5EF4-FFF2-40B4-BE49-F238E27FC236}">
                <a16:creationId xmlns:a16="http://schemas.microsoft.com/office/drawing/2014/main" id="{489E0638-C032-4A68-95FC-28D6B8392CF3}"/>
              </a:ext>
            </a:extLst>
          </p:cNvPr>
          <p:cNvSpPr>
            <a:spLocks noGrp="1"/>
          </p:cNvSpPr>
          <p:nvPr>
            <p:ph type="body" sz="quarter" idx="13" hasCustomPrompt="1"/>
          </p:nvPr>
        </p:nvSpPr>
        <p:spPr>
          <a:xfrm>
            <a:off x="361340" y="2266682"/>
            <a:ext cx="3804260" cy="3151511"/>
          </a:xfrm>
          <a:prstGeom prst="rect">
            <a:avLst/>
          </a:prstGeom>
        </p:spPr>
        <p:txBody>
          <a:bodyPr/>
          <a:lstStyle>
            <a:lvl1pPr marL="0" indent="0">
              <a:buNone/>
              <a:defRPr sz="3200" cap="all" baseline="0">
                <a:solidFill>
                  <a:schemeClr val="bg1"/>
                </a:solidFill>
                <a:latin typeface="M05 Text Office Bold" panose="020B0804040000000004" pitchFamily="34" charset="0"/>
              </a:defRPr>
            </a:lvl1pPr>
            <a:lvl2pPr>
              <a:defRPr sz="2000">
                <a:solidFill>
                  <a:schemeClr val="bg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de-DE"/>
              <a:t>Mastertextformat bearbeiten M05 Text </a:t>
            </a:r>
            <a:r>
              <a:rPr lang="de-DE" err="1"/>
              <a:t>bold</a:t>
            </a:r>
            <a:r>
              <a:rPr lang="de-DE"/>
              <a:t> </a:t>
            </a:r>
            <a:r>
              <a:rPr lang="de-DE" err="1"/>
              <a:t>pt</a:t>
            </a:r>
            <a:r>
              <a:rPr lang="de-DE"/>
              <a:t> 32</a:t>
            </a:r>
          </a:p>
        </p:txBody>
      </p:sp>
      <p:grpSp>
        <p:nvGrpSpPr>
          <p:cNvPr id="5" name="Gruppieren 4">
            <a:extLst>
              <a:ext uri="{FF2B5EF4-FFF2-40B4-BE49-F238E27FC236}">
                <a16:creationId xmlns:a16="http://schemas.microsoft.com/office/drawing/2014/main" id="{76C9C31E-07B4-4A55-8EF0-8AA20049D5F4}"/>
              </a:ext>
            </a:extLst>
          </p:cNvPr>
          <p:cNvGrpSpPr>
            <a:grpSpLocks noChangeAspect="1"/>
          </p:cNvGrpSpPr>
          <p:nvPr userDrawn="1"/>
        </p:nvGrpSpPr>
        <p:grpSpPr>
          <a:xfrm>
            <a:off x="2858049" y="0"/>
            <a:ext cx="3935901" cy="1980000"/>
            <a:chOff x="-114411" y="-1"/>
            <a:chExt cx="1100501" cy="553622"/>
          </a:xfrm>
        </p:grpSpPr>
        <p:sp>
          <p:nvSpPr>
            <p:cNvPr id="6" name="Rechtwinkliges Dreieck 5">
              <a:extLst>
                <a:ext uri="{FF2B5EF4-FFF2-40B4-BE49-F238E27FC236}">
                  <a16:creationId xmlns:a16="http://schemas.microsoft.com/office/drawing/2014/main" id="{7830A268-5885-43E1-9716-29AA3C7D44EA}"/>
                </a:ext>
              </a:extLst>
            </p:cNvPr>
            <p:cNvSpPr>
              <a:spLocks noChangeAspect="1"/>
            </p:cNvSpPr>
            <p:nvPr userDrawn="1"/>
          </p:nvSpPr>
          <p:spPr>
            <a:xfrm rot="10800000">
              <a:off x="-114411" y="-1"/>
              <a:ext cx="550350" cy="55362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814" tIns="38407" rIns="76814" bIns="38407" numCol="1" spcCol="0" rtlCol="0" fromWordArt="0" anchor="ctr" anchorCtr="0" forceAA="0" compatLnSpc="1">
              <a:prstTxWarp prst="textNoShape">
                <a:avLst/>
              </a:prstTxWarp>
              <a:noAutofit/>
            </a:bodyPr>
            <a:lstStyle/>
            <a:p>
              <a:pPr algn="ctr"/>
              <a:endParaRPr lang="de-DE" sz="1512">
                <a:latin typeface="M05 Text Office" panose="020B0504040000000004" pitchFamily="34" charset="0"/>
              </a:endParaRPr>
            </a:p>
          </p:txBody>
        </p:sp>
        <p:sp>
          <p:nvSpPr>
            <p:cNvPr id="7" name="Rechtwinkliges Dreieck 6">
              <a:extLst>
                <a:ext uri="{FF2B5EF4-FFF2-40B4-BE49-F238E27FC236}">
                  <a16:creationId xmlns:a16="http://schemas.microsoft.com/office/drawing/2014/main" id="{1FB6CEE0-2AF9-485F-86FF-20F57F02C944}"/>
                </a:ext>
              </a:extLst>
            </p:cNvPr>
            <p:cNvSpPr>
              <a:spLocks noChangeAspect="1"/>
            </p:cNvSpPr>
            <p:nvPr userDrawn="1"/>
          </p:nvSpPr>
          <p:spPr>
            <a:xfrm rot="10800000" flipH="1">
              <a:off x="435939" y="-1"/>
              <a:ext cx="550151" cy="553423"/>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814" tIns="38407" rIns="76814" bIns="38407" numCol="1" spcCol="0" rtlCol="0" fromWordArt="0" anchor="ctr" anchorCtr="0" forceAA="0" compatLnSpc="1">
              <a:prstTxWarp prst="textNoShape">
                <a:avLst/>
              </a:prstTxWarp>
              <a:noAutofit/>
            </a:bodyPr>
            <a:lstStyle/>
            <a:p>
              <a:pPr algn="ctr"/>
              <a:endParaRPr lang="de-DE" sz="1512">
                <a:latin typeface="M05 Text Office" panose="020B0504040000000004" pitchFamily="34" charset="0"/>
              </a:endParaRPr>
            </a:p>
          </p:txBody>
        </p:sp>
      </p:grpSp>
      <p:sp>
        <p:nvSpPr>
          <p:cNvPr id="12" name="Bildplatzhalter 10">
            <a:extLst>
              <a:ext uri="{FF2B5EF4-FFF2-40B4-BE49-F238E27FC236}">
                <a16:creationId xmlns:a16="http://schemas.microsoft.com/office/drawing/2014/main" id="{F2AA071B-847C-43C5-A5CC-0A3320369275}"/>
              </a:ext>
            </a:extLst>
          </p:cNvPr>
          <p:cNvSpPr>
            <a:spLocks noGrp="1"/>
          </p:cNvSpPr>
          <p:nvPr>
            <p:ph type="pic" sz="quarter" idx="12"/>
          </p:nvPr>
        </p:nvSpPr>
        <p:spPr>
          <a:xfrm>
            <a:off x="4826000" y="0"/>
            <a:ext cx="7366000" cy="6858000"/>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17 w 10000"/>
              <a:gd name="connsiteY0" fmla="*/ 2868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17 w 10000"/>
              <a:gd name="connsiteY5" fmla="*/ 2868 h 10000"/>
              <a:gd name="connsiteX0" fmla="*/ 17 w 10000"/>
              <a:gd name="connsiteY0" fmla="*/ 2868 h 10000"/>
              <a:gd name="connsiteX1" fmla="*/ 3238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17 w 10000"/>
              <a:gd name="connsiteY5" fmla="*/ 2868 h 10000"/>
              <a:gd name="connsiteX0" fmla="*/ 5 w 10000"/>
              <a:gd name="connsiteY0" fmla="*/ 2857 h 10000"/>
              <a:gd name="connsiteX1" fmla="*/ 3238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5 w 10000"/>
              <a:gd name="connsiteY5" fmla="*/ 2857 h 10000"/>
              <a:gd name="connsiteX0" fmla="*/ 1 w 10002"/>
              <a:gd name="connsiteY0" fmla="*/ 2879 h 10000"/>
              <a:gd name="connsiteX1" fmla="*/ 3240 w 10002"/>
              <a:gd name="connsiteY1" fmla="*/ 0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879 h 10000"/>
              <a:gd name="connsiteX0" fmla="*/ 1 w 10002"/>
              <a:gd name="connsiteY0" fmla="*/ 2879 h 10000"/>
              <a:gd name="connsiteX1" fmla="*/ 3228 w 10002"/>
              <a:gd name="connsiteY1" fmla="*/ 0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879 h 10000"/>
              <a:gd name="connsiteX0" fmla="*/ 1 w 10002"/>
              <a:gd name="connsiteY0" fmla="*/ 2911 h 10000"/>
              <a:gd name="connsiteX1" fmla="*/ 3228 w 10002"/>
              <a:gd name="connsiteY1" fmla="*/ 0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911 h 10000"/>
              <a:gd name="connsiteX0" fmla="*/ 1 w 10002"/>
              <a:gd name="connsiteY0" fmla="*/ 2911 h 10000"/>
              <a:gd name="connsiteX1" fmla="*/ 3240 w 10002"/>
              <a:gd name="connsiteY1" fmla="*/ 0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911 h 10000"/>
              <a:gd name="connsiteX0" fmla="*/ 1 w 10002"/>
              <a:gd name="connsiteY0" fmla="*/ 2911 h 10000"/>
              <a:gd name="connsiteX1" fmla="*/ 3276 w 10002"/>
              <a:gd name="connsiteY1" fmla="*/ 0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911 h 10000"/>
              <a:gd name="connsiteX0" fmla="*/ 1 w 10002"/>
              <a:gd name="connsiteY0" fmla="*/ 2900 h 10000"/>
              <a:gd name="connsiteX1" fmla="*/ 3276 w 10002"/>
              <a:gd name="connsiteY1" fmla="*/ 0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900 h 10000"/>
              <a:gd name="connsiteX0" fmla="*/ 1 w 10002"/>
              <a:gd name="connsiteY0" fmla="*/ 2911 h 10011"/>
              <a:gd name="connsiteX1" fmla="*/ 3264 w 10002"/>
              <a:gd name="connsiteY1" fmla="*/ 0 h 10011"/>
              <a:gd name="connsiteX2" fmla="*/ 10002 w 10002"/>
              <a:gd name="connsiteY2" fmla="*/ 11 h 10011"/>
              <a:gd name="connsiteX3" fmla="*/ 10002 w 10002"/>
              <a:gd name="connsiteY3" fmla="*/ 10011 h 10011"/>
              <a:gd name="connsiteX4" fmla="*/ 2 w 10002"/>
              <a:gd name="connsiteY4" fmla="*/ 10011 h 10011"/>
              <a:gd name="connsiteX5" fmla="*/ 1 w 10002"/>
              <a:gd name="connsiteY5" fmla="*/ 2911 h 10011"/>
              <a:gd name="connsiteX0" fmla="*/ 1 w 10002"/>
              <a:gd name="connsiteY0" fmla="*/ 2900 h 10011"/>
              <a:gd name="connsiteX1" fmla="*/ 3264 w 10002"/>
              <a:gd name="connsiteY1" fmla="*/ 0 h 10011"/>
              <a:gd name="connsiteX2" fmla="*/ 10002 w 10002"/>
              <a:gd name="connsiteY2" fmla="*/ 11 h 10011"/>
              <a:gd name="connsiteX3" fmla="*/ 10002 w 10002"/>
              <a:gd name="connsiteY3" fmla="*/ 10011 h 10011"/>
              <a:gd name="connsiteX4" fmla="*/ 2 w 10002"/>
              <a:gd name="connsiteY4" fmla="*/ 10011 h 10011"/>
              <a:gd name="connsiteX5" fmla="*/ 1 w 10002"/>
              <a:gd name="connsiteY5" fmla="*/ 2900 h 10011"/>
              <a:gd name="connsiteX0" fmla="*/ 1 w 10002"/>
              <a:gd name="connsiteY0" fmla="*/ 2895 h 10006"/>
              <a:gd name="connsiteX1" fmla="*/ 3246 w 10002"/>
              <a:gd name="connsiteY1" fmla="*/ 0 h 10006"/>
              <a:gd name="connsiteX2" fmla="*/ 10002 w 10002"/>
              <a:gd name="connsiteY2" fmla="*/ 6 h 10006"/>
              <a:gd name="connsiteX3" fmla="*/ 10002 w 10002"/>
              <a:gd name="connsiteY3" fmla="*/ 10006 h 10006"/>
              <a:gd name="connsiteX4" fmla="*/ 2 w 10002"/>
              <a:gd name="connsiteY4" fmla="*/ 10006 h 10006"/>
              <a:gd name="connsiteX5" fmla="*/ 1 w 10002"/>
              <a:gd name="connsiteY5" fmla="*/ 2895 h 10006"/>
              <a:gd name="connsiteX0" fmla="*/ 1 w 10002"/>
              <a:gd name="connsiteY0" fmla="*/ 2890 h 10001"/>
              <a:gd name="connsiteX1" fmla="*/ 3246 w 10002"/>
              <a:gd name="connsiteY1" fmla="*/ 0 h 10001"/>
              <a:gd name="connsiteX2" fmla="*/ 10002 w 10002"/>
              <a:gd name="connsiteY2" fmla="*/ 1 h 10001"/>
              <a:gd name="connsiteX3" fmla="*/ 10002 w 10002"/>
              <a:gd name="connsiteY3" fmla="*/ 10001 h 10001"/>
              <a:gd name="connsiteX4" fmla="*/ 2 w 10002"/>
              <a:gd name="connsiteY4" fmla="*/ 10001 h 10001"/>
              <a:gd name="connsiteX5" fmla="*/ 1 w 10002"/>
              <a:gd name="connsiteY5" fmla="*/ 2890 h 10001"/>
              <a:gd name="connsiteX0" fmla="*/ 1 w 10002"/>
              <a:gd name="connsiteY0" fmla="*/ 2890 h 10001"/>
              <a:gd name="connsiteX1" fmla="*/ 3234 w 10002"/>
              <a:gd name="connsiteY1" fmla="*/ 0 h 10001"/>
              <a:gd name="connsiteX2" fmla="*/ 10002 w 10002"/>
              <a:gd name="connsiteY2" fmla="*/ 1 h 10001"/>
              <a:gd name="connsiteX3" fmla="*/ 10002 w 10002"/>
              <a:gd name="connsiteY3" fmla="*/ 10001 h 10001"/>
              <a:gd name="connsiteX4" fmla="*/ 2 w 10002"/>
              <a:gd name="connsiteY4" fmla="*/ 10001 h 10001"/>
              <a:gd name="connsiteX5" fmla="*/ 1 w 10002"/>
              <a:gd name="connsiteY5" fmla="*/ 2890 h 10001"/>
              <a:gd name="connsiteX0" fmla="*/ 1 w 10002"/>
              <a:gd name="connsiteY0" fmla="*/ 2879 h 10001"/>
              <a:gd name="connsiteX1" fmla="*/ 3234 w 10002"/>
              <a:gd name="connsiteY1" fmla="*/ 0 h 10001"/>
              <a:gd name="connsiteX2" fmla="*/ 10002 w 10002"/>
              <a:gd name="connsiteY2" fmla="*/ 1 h 10001"/>
              <a:gd name="connsiteX3" fmla="*/ 10002 w 10002"/>
              <a:gd name="connsiteY3" fmla="*/ 10001 h 10001"/>
              <a:gd name="connsiteX4" fmla="*/ 2 w 10002"/>
              <a:gd name="connsiteY4" fmla="*/ 10001 h 10001"/>
              <a:gd name="connsiteX5" fmla="*/ 1 w 10002"/>
              <a:gd name="connsiteY5" fmla="*/ 2879 h 10001"/>
              <a:gd name="connsiteX0" fmla="*/ 1 w 10008"/>
              <a:gd name="connsiteY0" fmla="*/ 2879 h 10001"/>
              <a:gd name="connsiteX1" fmla="*/ 3240 w 10008"/>
              <a:gd name="connsiteY1" fmla="*/ 0 h 10001"/>
              <a:gd name="connsiteX2" fmla="*/ 10008 w 10008"/>
              <a:gd name="connsiteY2" fmla="*/ 1 h 10001"/>
              <a:gd name="connsiteX3" fmla="*/ 10008 w 10008"/>
              <a:gd name="connsiteY3" fmla="*/ 10001 h 10001"/>
              <a:gd name="connsiteX4" fmla="*/ 8 w 10008"/>
              <a:gd name="connsiteY4" fmla="*/ 10001 h 10001"/>
              <a:gd name="connsiteX5" fmla="*/ 1 w 10008"/>
              <a:gd name="connsiteY5" fmla="*/ 2879 h 10001"/>
              <a:gd name="connsiteX0" fmla="*/ 2 w 10003"/>
              <a:gd name="connsiteY0" fmla="*/ 2874 h 10001"/>
              <a:gd name="connsiteX1" fmla="*/ 3235 w 10003"/>
              <a:gd name="connsiteY1" fmla="*/ 0 h 10001"/>
              <a:gd name="connsiteX2" fmla="*/ 10003 w 10003"/>
              <a:gd name="connsiteY2" fmla="*/ 1 h 10001"/>
              <a:gd name="connsiteX3" fmla="*/ 10003 w 10003"/>
              <a:gd name="connsiteY3" fmla="*/ 10001 h 10001"/>
              <a:gd name="connsiteX4" fmla="*/ 3 w 10003"/>
              <a:gd name="connsiteY4" fmla="*/ 10001 h 10001"/>
              <a:gd name="connsiteX5" fmla="*/ 2 w 10003"/>
              <a:gd name="connsiteY5" fmla="*/ 2874 h 10001"/>
              <a:gd name="connsiteX0" fmla="*/ 2 w 10003"/>
              <a:gd name="connsiteY0" fmla="*/ 2874 h 10001"/>
              <a:gd name="connsiteX1" fmla="*/ 3235 w 10003"/>
              <a:gd name="connsiteY1" fmla="*/ 0 h 10001"/>
              <a:gd name="connsiteX2" fmla="*/ 10003 w 10003"/>
              <a:gd name="connsiteY2" fmla="*/ 1 h 10001"/>
              <a:gd name="connsiteX3" fmla="*/ 10003 w 10003"/>
              <a:gd name="connsiteY3" fmla="*/ 10001 h 10001"/>
              <a:gd name="connsiteX4" fmla="*/ 3 w 10003"/>
              <a:gd name="connsiteY4" fmla="*/ 10001 h 10001"/>
              <a:gd name="connsiteX5" fmla="*/ 2 w 10003"/>
              <a:gd name="connsiteY5" fmla="*/ 2874 h 10001"/>
              <a:gd name="connsiteX0" fmla="*/ 1 w 10007"/>
              <a:gd name="connsiteY0" fmla="*/ 2882 h 10001"/>
              <a:gd name="connsiteX1" fmla="*/ 3239 w 10007"/>
              <a:gd name="connsiteY1" fmla="*/ 0 h 10001"/>
              <a:gd name="connsiteX2" fmla="*/ 10007 w 10007"/>
              <a:gd name="connsiteY2" fmla="*/ 1 h 10001"/>
              <a:gd name="connsiteX3" fmla="*/ 10007 w 10007"/>
              <a:gd name="connsiteY3" fmla="*/ 10001 h 10001"/>
              <a:gd name="connsiteX4" fmla="*/ 7 w 10007"/>
              <a:gd name="connsiteY4" fmla="*/ 10001 h 10001"/>
              <a:gd name="connsiteX5" fmla="*/ 1 w 10007"/>
              <a:gd name="connsiteY5" fmla="*/ 2882 h 10001"/>
              <a:gd name="connsiteX0" fmla="*/ 1 w 10007"/>
              <a:gd name="connsiteY0" fmla="*/ 2882 h 10001"/>
              <a:gd name="connsiteX1" fmla="*/ 3239 w 10007"/>
              <a:gd name="connsiteY1" fmla="*/ 0 h 10001"/>
              <a:gd name="connsiteX2" fmla="*/ 10007 w 10007"/>
              <a:gd name="connsiteY2" fmla="*/ 1 h 10001"/>
              <a:gd name="connsiteX3" fmla="*/ 10007 w 10007"/>
              <a:gd name="connsiteY3" fmla="*/ 10001 h 10001"/>
              <a:gd name="connsiteX4" fmla="*/ 7 w 10007"/>
              <a:gd name="connsiteY4" fmla="*/ 10001 h 10001"/>
              <a:gd name="connsiteX5" fmla="*/ 1 w 10007"/>
              <a:gd name="connsiteY5" fmla="*/ 2882 h 10001"/>
              <a:gd name="connsiteX0" fmla="*/ 1 w 10007"/>
              <a:gd name="connsiteY0" fmla="*/ 2882 h 10001"/>
              <a:gd name="connsiteX1" fmla="*/ 3239 w 10007"/>
              <a:gd name="connsiteY1" fmla="*/ 0 h 10001"/>
              <a:gd name="connsiteX2" fmla="*/ 10007 w 10007"/>
              <a:gd name="connsiteY2" fmla="*/ 1 h 10001"/>
              <a:gd name="connsiteX3" fmla="*/ 10007 w 10007"/>
              <a:gd name="connsiteY3" fmla="*/ 10001 h 10001"/>
              <a:gd name="connsiteX4" fmla="*/ 7 w 10007"/>
              <a:gd name="connsiteY4" fmla="*/ 10001 h 10001"/>
              <a:gd name="connsiteX5" fmla="*/ 1 w 10007"/>
              <a:gd name="connsiteY5" fmla="*/ 2882 h 10001"/>
              <a:gd name="connsiteX0" fmla="*/ 1 w 10007"/>
              <a:gd name="connsiteY0" fmla="*/ 2882 h 10001"/>
              <a:gd name="connsiteX1" fmla="*/ 3239 w 10007"/>
              <a:gd name="connsiteY1" fmla="*/ 0 h 10001"/>
              <a:gd name="connsiteX2" fmla="*/ 10007 w 10007"/>
              <a:gd name="connsiteY2" fmla="*/ 1 h 10001"/>
              <a:gd name="connsiteX3" fmla="*/ 10007 w 10007"/>
              <a:gd name="connsiteY3" fmla="*/ 10001 h 10001"/>
              <a:gd name="connsiteX4" fmla="*/ 7 w 10007"/>
              <a:gd name="connsiteY4" fmla="*/ 10001 h 10001"/>
              <a:gd name="connsiteX5" fmla="*/ 1 w 10007"/>
              <a:gd name="connsiteY5" fmla="*/ 2882 h 10001"/>
              <a:gd name="connsiteX0" fmla="*/ 2 w 10003"/>
              <a:gd name="connsiteY0" fmla="*/ 2882 h 10001"/>
              <a:gd name="connsiteX1" fmla="*/ 3235 w 10003"/>
              <a:gd name="connsiteY1" fmla="*/ 0 h 10001"/>
              <a:gd name="connsiteX2" fmla="*/ 10003 w 10003"/>
              <a:gd name="connsiteY2" fmla="*/ 1 h 10001"/>
              <a:gd name="connsiteX3" fmla="*/ 10003 w 10003"/>
              <a:gd name="connsiteY3" fmla="*/ 10001 h 10001"/>
              <a:gd name="connsiteX4" fmla="*/ 3 w 10003"/>
              <a:gd name="connsiteY4" fmla="*/ 10001 h 10001"/>
              <a:gd name="connsiteX5" fmla="*/ 2 w 10003"/>
              <a:gd name="connsiteY5" fmla="*/ 2882 h 10001"/>
              <a:gd name="connsiteX0" fmla="*/ 8 w 10000"/>
              <a:gd name="connsiteY0" fmla="*/ 2882 h 10001"/>
              <a:gd name="connsiteX1" fmla="*/ 3232 w 10000"/>
              <a:gd name="connsiteY1" fmla="*/ 0 h 10001"/>
              <a:gd name="connsiteX2" fmla="*/ 10000 w 10000"/>
              <a:gd name="connsiteY2" fmla="*/ 1 h 10001"/>
              <a:gd name="connsiteX3" fmla="*/ 10000 w 10000"/>
              <a:gd name="connsiteY3" fmla="*/ 10001 h 10001"/>
              <a:gd name="connsiteX4" fmla="*/ 0 w 10000"/>
              <a:gd name="connsiteY4" fmla="*/ 10001 h 10001"/>
              <a:gd name="connsiteX5" fmla="*/ 8 w 10000"/>
              <a:gd name="connsiteY5" fmla="*/ 2882 h 10001"/>
              <a:gd name="connsiteX0" fmla="*/ 3 w 10000"/>
              <a:gd name="connsiteY0" fmla="*/ 2886 h 10001"/>
              <a:gd name="connsiteX1" fmla="*/ 3232 w 10000"/>
              <a:gd name="connsiteY1" fmla="*/ 0 h 10001"/>
              <a:gd name="connsiteX2" fmla="*/ 10000 w 10000"/>
              <a:gd name="connsiteY2" fmla="*/ 1 h 10001"/>
              <a:gd name="connsiteX3" fmla="*/ 10000 w 10000"/>
              <a:gd name="connsiteY3" fmla="*/ 10001 h 10001"/>
              <a:gd name="connsiteX4" fmla="*/ 0 w 10000"/>
              <a:gd name="connsiteY4" fmla="*/ 10001 h 10001"/>
              <a:gd name="connsiteX5" fmla="*/ 3 w 10000"/>
              <a:gd name="connsiteY5" fmla="*/ 2886 h 10001"/>
              <a:gd name="connsiteX0" fmla="*/ 3 w 10000"/>
              <a:gd name="connsiteY0" fmla="*/ 2886 h 10001"/>
              <a:gd name="connsiteX1" fmla="*/ 2687 w 10000"/>
              <a:gd name="connsiteY1" fmla="*/ 0 h 10001"/>
              <a:gd name="connsiteX2" fmla="*/ 10000 w 10000"/>
              <a:gd name="connsiteY2" fmla="*/ 1 h 10001"/>
              <a:gd name="connsiteX3" fmla="*/ 10000 w 10000"/>
              <a:gd name="connsiteY3" fmla="*/ 10001 h 10001"/>
              <a:gd name="connsiteX4" fmla="*/ 0 w 10000"/>
              <a:gd name="connsiteY4" fmla="*/ 10001 h 10001"/>
              <a:gd name="connsiteX5" fmla="*/ 3 w 10000"/>
              <a:gd name="connsiteY5" fmla="*/ 2886 h 10001"/>
              <a:gd name="connsiteX0" fmla="*/ 3 w 10000"/>
              <a:gd name="connsiteY0" fmla="*/ 2886 h 10001"/>
              <a:gd name="connsiteX1" fmla="*/ 2664 w 10000"/>
              <a:gd name="connsiteY1" fmla="*/ 0 h 10001"/>
              <a:gd name="connsiteX2" fmla="*/ 10000 w 10000"/>
              <a:gd name="connsiteY2" fmla="*/ 1 h 10001"/>
              <a:gd name="connsiteX3" fmla="*/ 10000 w 10000"/>
              <a:gd name="connsiteY3" fmla="*/ 10001 h 10001"/>
              <a:gd name="connsiteX4" fmla="*/ 0 w 10000"/>
              <a:gd name="connsiteY4" fmla="*/ 10001 h 10001"/>
              <a:gd name="connsiteX5" fmla="*/ 3 w 10000"/>
              <a:gd name="connsiteY5" fmla="*/ 2886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1">
                <a:moveTo>
                  <a:pt x="3" y="2886"/>
                </a:moveTo>
                <a:lnTo>
                  <a:pt x="2664" y="0"/>
                </a:lnTo>
                <a:lnTo>
                  <a:pt x="10000" y="1"/>
                </a:lnTo>
                <a:lnTo>
                  <a:pt x="10000" y="10001"/>
                </a:lnTo>
                <a:lnTo>
                  <a:pt x="0" y="10001"/>
                </a:lnTo>
                <a:cubicBezTo>
                  <a:pt x="6" y="7624"/>
                  <a:pt x="-3" y="5263"/>
                  <a:pt x="3" y="2886"/>
                </a:cubicBezTo>
                <a:close/>
              </a:path>
            </a:pathLst>
          </a:custGeom>
          <a:solidFill>
            <a:schemeClr val="accent2">
              <a:alpha val="74000"/>
            </a:schemeClr>
          </a:solidFill>
        </p:spPr>
        <p:txBody>
          <a:bodyPr/>
          <a:lstStyle>
            <a:lvl1pPr>
              <a:defRPr>
                <a:latin typeface="M05 Text Office" panose="020B0504040000000004" pitchFamily="34" charset="0"/>
              </a:defRPr>
            </a:lvl1pPr>
          </a:lstStyle>
          <a:p>
            <a:r>
              <a:rPr lang="de-DE"/>
              <a:t>Bild durch Klicken auf Symbol hinzufügen</a:t>
            </a:r>
          </a:p>
        </p:txBody>
      </p:sp>
    </p:spTree>
    <p:extLst>
      <p:ext uri="{BB962C8B-B14F-4D97-AF65-F5344CB8AC3E}">
        <p14:creationId xmlns:p14="http://schemas.microsoft.com/office/powerpoint/2010/main" val="17988144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Punkte Fakto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sp>
        <p:nvSpPr>
          <p:cNvPr id="16" name="Oval 25">
            <a:extLst>
              <a:ext uri="{FF2B5EF4-FFF2-40B4-BE49-F238E27FC236}">
                <a16:creationId xmlns:a16="http://schemas.microsoft.com/office/drawing/2014/main" id="{DF5C9CE8-646F-4F86-A4C4-A31094C2B740}"/>
              </a:ext>
            </a:extLst>
          </p:cNvPr>
          <p:cNvSpPr/>
          <p:nvPr userDrawn="1"/>
        </p:nvSpPr>
        <p:spPr>
          <a:xfrm>
            <a:off x="6741589" y="3012515"/>
            <a:ext cx="1712070" cy="1712070"/>
          </a:xfrm>
          <a:prstGeom prst="ellipse">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17" name="Oval 26">
            <a:extLst>
              <a:ext uri="{FF2B5EF4-FFF2-40B4-BE49-F238E27FC236}">
                <a16:creationId xmlns:a16="http://schemas.microsoft.com/office/drawing/2014/main" id="{42EE61F2-DF4E-4464-9E3F-AA3FCC719259}"/>
              </a:ext>
            </a:extLst>
          </p:cNvPr>
          <p:cNvSpPr/>
          <p:nvPr userDrawn="1"/>
        </p:nvSpPr>
        <p:spPr>
          <a:xfrm>
            <a:off x="5434646" y="3012516"/>
            <a:ext cx="1712070" cy="1712070"/>
          </a:xfrm>
          <a:prstGeom prst="ellipse">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18" name="Oval 27">
            <a:extLst>
              <a:ext uri="{FF2B5EF4-FFF2-40B4-BE49-F238E27FC236}">
                <a16:creationId xmlns:a16="http://schemas.microsoft.com/office/drawing/2014/main" id="{BB74C936-559E-4482-8319-0B65432F5BF8}"/>
              </a:ext>
            </a:extLst>
          </p:cNvPr>
          <p:cNvSpPr/>
          <p:nvPr userDrawn="1"/>
        </p:nvSpPr>
        <p:spPr>
          <a:xfrm>
            <a:off x="4073280" y="3012516"/>
            <a:ext cx="1712070" cy="1712070"/>
          </a:xfrm>
          <a:prstGeom prst="ellipse">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19" name="Oval 28">
            <a:extLst>
              <a:ext uri="{FF2B5EF4-FFF2-40B4-BE49-F238E27FC236}">
                <a16:creationId xmlns:a16="http://schemas.microsoft.com/office/drawing/2014/main" id="{59653D60-08FA-4BB2-84FC-1D88D2DBF21D}"/>
              </a:ext>
            </a:extLst>
          </p:cNvPr>
          <p:cNvSpPr/>
          <p:nvPr userDrawn="1"/>
        </p:nvSpPr>
        <p:spPr>
          <a:xfrm>
            <a:off x="2711911" y="3012515"/>
            <a:ext cx="1712070" cy="1712070"/>
          </a:xfrm>
          <a:prstGeom prst="ellipse">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20" name="Arc 29">
            <a:extLst>
              <a:ext uri="{FF2B5EF4-FFF2-40B4-BE49-F238E27FC236}">
                <a16:creationId xmlns:a16="http://schemas.microsoft.com/office/drawing/2014/main" id="{DFF2BBF9-30C9-465D-BBEF-16D7E396E2CE}"/>
              </a:ext>
            </a:extLst>
          </p:cNvPr>
          <p:cNvSpPr/>
          <p:nvPr userDrawn="1"/>
        </p:nvSpPr>
        <p:spPr>
          <a:xfrm>
            <a:off x="1855876" y="2154337"/>
            <a:ext cx="1712070" cy="1739164"/>
          </a:xfrm>
          <a:prstGeom prst="arc">
            <a:avLst/>
          </a:prstGeom>
          <a:ln>
            <a:solidFill>
              <a:schemeClr val="tx2"/>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MY"/>
          </a:p>
        </p:txBody>
      </p:sp>
      <p:sp>
        <p:nvSpPr>
          <p:cNvPr id="21" name="Arc 30">
            <a:extLst>
              <a:ext uri="{FF2B5EF4-FFF2-40B4-BE49-F238E27FC236}">
                <a16:creationId xmlns:a16="http://schemas.microsoft.com/office/drawing/2014/main" id="{6CD3C504-D6B5-4D3B-BB4B-7B5A775FA8E2}"/>
              </a:ext>
            </a:extLst>
          </p:cNvPr>
          <p:cNvSpPr/>
          <p:nvPr userDrawn="1"/>
        </p:nvSpPr>
        <p:spPr>
          <a:xfrm rot="5400000">
            <a:off x="2882655" y="3652280"/>
            <a:ext cx="2113153" cy="2113153"/>
          </a:xfrm>
          <a:prstGeom prst="arc">
            <a:avLst>
              <a:gd name="adj1" fmla="val 16200000"/>
              <a:gd name="adj2" fmla="val 2418269"/>
            </a:avLst>
          </a:prstGeom>
          <a:ln>
            <a:solidFill>
              <a:schemeClr val="accent1"/>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MY"/>
          </a:p>
        </p:txBody>
      </p:sp>
      <p:sp>
        <p:nvSpPr>
          <p:cNvPr id="22" name="Arc 34">
            <a:extLst>
              <a:ext uri="{FF2B5EF4-FFF2-40B4-BE49-F238E27FC236}">
                <a16:creationId xmlns:a16="http://schemas.microsoft.com/office/drawing/2014/main" id="{3125CBB2-73B7-454E-BC29-EBAE54332F45}"/>
              </a:ext>
            </a:extLst>
          </p:cNvPr>
          <p:cNvSpPr/>
          <p:nvPr userDrawn="1"/>
        </p:nvSpPr>
        <p:spPr>
          <a:xfrm rot="16200000">
            <a:off x="7721809" y="2026151"/>
            <a:ext cx="1739166" cy="1987534"/>
          </a:xfrm>
          <a:prstGeom prst="arc">
            <a:avLst/>
          </a:prstGeom>
          <a:ln>
            <a:solidFill>
              <a:schemeClr val="accent3"/>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MY"/>
          </a:p>
        </p:txBody>
      </p:sp>
      <p:sp>
        <p:nvSpPr>
          <p:cNvPr id="24" name="Arc 36">
            <a:extLst>
              <a:ext uri="{FF2B5EF4-FFF2-40B4-BE49-F238E27FC236}">
                <a16:creationId xmlns:a16="http://schemas.microsoft.com/office/drawing/2014/main" id="{EC98CAC3-ADC2-44FA-B039-5CCFC64F3DC9}"/>
              </a:ext>
            </a:extLst>
          </p:cNvPr>
          <p:cNvSpPr/>
          <p:nvPr userDrawn="1"/>
        </p:nvSpPr>
        <p:spPr>
          <a:xfrm rot="8330758">
            <a:off x="6323946" y="3659989"/>
            <a:ext cx="2113153" cy="2113153"/>
          </a:xfrm>
          <a:prstGeom prst="arc">
            <a:avLst>
              <a:gd name="adj1" fmla="val 16200000"/>
              <a:gd name="adj2" fmla="val 2418269"/>
            </a:avLst>
          </a:prstGeom>
          <a:ln>
            <a:solidFill>
              <a:schemeClr val="accent2"/>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MY"/>
          </a:p>
        </p:txBody>
      </p:sp>
      <p:sp>
        <p:nvSpPr>
          <p:cNvPr id="6" name="Bildplatzhalter 5">
            <a:extLst>
              <a:ext uri="{FF2B5EF4-FFF2-40B4-BE49-F238E27FC236}">
                <a16:creationId xmlns:a16="http://schemas.microsoft.com/office/drawing/2014/main" id="{7FF202DF-709B-42D0-B44C-1A8A758B5331}"/>
              </a:ext>
            </a:extLst>
          </p:cNvPr>
          <p:cNvSpPr>
            <a:spLocks noGrp="1"/>
          </p:cNvSpPr>
          <p:nvPr>
            <p:ph type="pic" sz="quarter" idx="14" hasCustomPrompt="1"/>
          </p:nvPr>
        </p:nvSpPr>
        <p:spPr>
          <a:xfrm>
            <a:off x="3127312" y="3405995"/>
            <a:ext cx="876448" cy="830256"/>
          </a:xfrm>
          <a:prstGeom prst="ellipse">
            <a:avLst/>
          </a:prstGeom>
        </p:spPr>
        <p:txBody>
          <a:bodyPr/>
          <a:lstStyle>
            <a:lvl1pPr marL="0" indent="0">
              <a:buNone/>
              <a:defRPr/>
            </a:lvl1pPr>
          </a:lstStyle>
          <a:p>
            <a:r>
              <a:rPr lang="de-DE"/>
              <a:t> </a:t>
            </a:r>
          </a:p>
        </p:txBody>
      </p:sp>
      <p:sp>
        <p:nvSpPr>
          <p:cNvPr id="36" name="Bildplatzhalter 5">
            <a:extLst>
              <a:ext uri="{FF2B5EF4-FFF2-40B4-BE49-F238E27FC236}">
                <a16:creationId xmlns:a16="http://schemas.microsoft.com/office/drawing/2014/main" id="{A2A6C96C-19B4-43A2-8CEE-EA6C43915BE6}"/>
              </a:ext>
            </a:extLst>
          </p:cNvPr>
          <p:cNvSpPr>
            <a:spLocks noGrp="1"/>
          </p:cNvSpPr>
          <p:nvPr>
            <p:ph type="pic" sz="quarter" idx="15" hasCustomPrompt="1"/>
          </p:nvPr>
        </p:nvSpPr>
        <p:spPr>
          <a:xfrm>
            <a:off x="4491089" y="3405995"/>
            <a:ext cx="876448" cy="830256"/>
          </a:xfrm>
          <a:prstGeom prst="ellipse">
            <a:avLst/>
          </a:prstGeom>
        </p:spPr>
        <p:txBody>
          <a:bodyPr/>
          <a:lstStyle>
            <a:lvl1pPr marL="0" indent="0">
              <a:buNone/>
              <a:defRPr/>
            </a:lvl1pPr>
          </a:lstStyle>
          <a:p>
            <a:r>
              <a:rPr lang="de-DE"/>
              <a:t> </a:t>
            </a:r>
          </a:p>
        </p:txBody>
      </p:sp>
      <p:sp>
        <p:nvSpPr>
          <p:cNvPr id="37" name="Bildplatzhalter 5">
            <a:extLst>
              <a:ext uri="{FF2B5EF4-FFF2-40B4-BE49-F238E27FC236}">
                <a16:creationId xmlns:a16="http://schemas.microsoft.com/office/drawing/2014/main" id="{0388DB7A-28AA-4075-8AE1-9AE82D5BB594}"/>
              </a:ext>
            </a:extLst>
          </p:cNvPr>
          <p:cNvSpPr>
            <a:spLocks noGrp="1"/>
          </p:cNvSpPr>
          <p:nvPr>
            <p:ph type="pic" sz="quarter" idx="16" hasCustomPrompt="1"/>
          </p:nvPr>
        </p:nvSpPr>
        <p:spPr>
          <a:xfrm>
            <a:off x="5847735" y="3405995"/>
            <a:ext cx="876448" cy="830256"/>
          </a:xfrm>
          <a:prstGeom prst="ellipse">
            <a:avLst/>
          </a:prstGeom>
        </p:spPr>
        <p:txBody>
          <a:bodyPr/>
          <a:lstStyle>
            <a:lvl1pPr marL="0" indent="0">
              <a:buNone/>
              <a:defRPr/>
            </a:lvl1pPr>
          </a:lstStyle>
          <a:p>
            <a:r>
              <a:rPr lang="de-DE"/>
              <a:t> </a:t>
            </a:r>
          </a:p>
        </p:txBody>
      </p:sp>
      <p:sp>
        <p:nvSpPr>
          <p:cNvPr id="38" name="Bildplatzhalter 5">
            <a:extLst>
              <a:ext uri="{FF2B5EF4-FFF2-40B4-BE49-F238E27FC236}">
                <a16:creationId xmlns:a16="http://schemas.microsoft.com/office/drawing/2014/main" id="{5DA02D40-6F3E-414B-A8AE-331F749C050C}"/>
              </a:ext>
            </a:extLst>
          </p:cNvPr>
          <p:cNvSpPr>
            <a:spLocks noGrp="1"/>
          </p:cNvSpPr>
          <p:nvPr>
            <p:ph type="pic" sz="quarter" idx="16" hasCustomPrompt="1"/>
          </p:nvPr>
        </p:nvSpPr>
        <p:spPr>
          <a:xfrm>
            <a:off x="7181742" y="3405995"/>
            <a:ext cx="876448" cy="830256"/>
          </a:xfrm>
          <a:prstGeom prst="ellipse">
            <a:avLst/>
          </a:prstGeom>
        </p:spPr>
        <p:txBody>
          <a:bodyPr/>
          <a:lstStyle>
            <a:lvl1pPr marL="0" indent="0">
              <a:buNone/>
              <a:defRPr/>
            </a:lvl1pPr>
          </a:lstStyle>
          <a:p>
            <a:r>
              <a:rPr lang="de-DE"/>
              <a:t> </a:t>
            </a:r>
          </a:p>
        </p:txBody>
      </p:sp>
      <p:sp>
        <p:nvSpPr>
          <p:cNvPr id="8" name="Textplatzhalter 7">
            <a:extLst>
              <a:ext uri="{FF2B5EF4-FFF2-40B4-BE49-F238E27FC236}">
                <a16:creationId xmlns:a16="http://schemas.microsoft.com/office/drawing/2014/main" id="{D8E33C81-C877-4999-8E63-E5052EF9C024}"/>
              </a:ext>
            </a:extLst>
          </p:cNvPr>
          <p:cNvSpPr>
            <a:spLocks noGrp="1"/>
          </p:cNvSpPr>
          <p:nvPr>
            <p:ph type="body" sz="quarter" idx="17" hasCustomPrompt="1"/>
          </p:nvPr>
        </p:nvSpPr>
        <p:spPr>
          <a:xfrm>
            <a:off x="498641" y="1886951"/>
            <a:ext cx="2108200" cy="765175"/>
          </a:xfrm>
          <a:prstGeom prst="rect">
            <a:avLst/>
          </a:prstGeom>
        </p:spPr>
        <p:txBody>
          <a:bodyPr/>
          <a:lstStyle>
            <a:lvl1pPr marL="0" indent="0" algn="ctr">
              <a:buNone/>
              <a:defRPr/>
            </a:lvl1pPr>
          </a:lstStyle>
          <a:p>
            <a:pPr lvl="0"/>
            <a:r>
              <a:rPr lang="de-DE"/>
              <a:t>Topic 1</a:t>
            </a:r>
          </a:p>
        </p:txBody>
      </p:sp>
      <p:sp>
        <p:nvSpPr>
          <p:cNvPr id="42" name="Textplatzhalter 7">
            <a:extLst>
              <a:ext uri="{FF2B5EF4-FFF2-40B4-BE49-F238E27FC236}">
                <a16:creationId xmlns:a16="http://schemas.microsoft.com/office/drawing/2014/main" id="{8AB181E3-ABF5-4A73-8587-FE1A0F346A4E}"/>
              </a:ext>
            </a:extLst>
          </p:cNvPr>
          <p:cNvSpPr>
            <a:spLocks noGrp="1"/>
          </p:cNvSpPr>
          <p:nvPr>
            <p:ph type="body" sz="quarter" idx="18" hasCustomPrompt="1"/>
          </p:nvPr>
        </p:nvSpPr>
        <p:spPr>
          <a:xfrm>
            <a:off x="997183" y="5200175"/>
            <a:ext cx="2108200" cy="765175"/>
          </a:xfrm>
          <a:prstGeom prst="rect">
            <a:avLst/>
          </a:prstGeom>
        </p:spPr>
        <p:txBody>
          <a:bodyPr/>
          <a:lstStyle>
            <a:lvl1pPr marL="0" indent="0" algn="ctr">
              <a:buNone/>
              <a:defRPr/>
            </a:lvl1pPr>
          </a:lstStyle>
          <a:p>
            <a:pPr lvl="0"/>
            <a:r>
              <a:rPr lang="de-DE"/>
              <a:t>Topic 2</a:t>
            </a:r>
          </a:p>
        </p:txBody>
      </p:sp>
      <p:sp>
        <p:nvSpPr>
          <p:cNvPr id="45" name="Textplatzhalter 7">
            <a:extLst>
              <a:ext uri="{FF2B5EF4-FFF2-40B4-BE49-F238E27FC236}">
                <a16:creationId xmlns:a16="http://schemas.microsoft.com/office/drawing/2014/main" id="{B11F988E-8C65-49F2-8A22-8CA8BD91A0D4}"/>
              </a:ext>
            </a:extLst>
          </p:cNvPr>
          <p:cNvSpPr>
            <a:spLocks noGrp="1"/>
          </p:cNvSpPr>
          <p:nvPr>
            <p:ph type="body" sz="quarter" idx="19" hasCustomPrompt="1"/>
          </p:nvPr>
        </p:nvSpPr>
        <p:spPr>
          <a:xfrm>
            <a:off x="8750012" y="1922845"/>
            <a:ext cx="2108200" cy="765175"/>
          </a:xfrm>
          <a:prstGeom prst="rect">
            <a:avLst/>
          </a:prstGeom>
        </p:spPr>
        <p:txBody>
          <a:bodyPr/>
          <a:lstStyle>
            <a:lvl1pPr marL="0" indent="0" algn="ctr">
              <a:buNone/>
              <a:defRPr/>
            </a:lvl1pPr>
          </a:lstStyle>
          <a:p>
            <a:pPr lvl="0"/>
            <a:r>
              <a:rPr lang="de-DE"/>
              <a:t>Topic 3</a:t>
            </a:r>
          </a:p>
        </p:txBody>
      </p:sp>
      <p:sp>
        <p:nvSpPr>
          <p:cNvPr id="50" name="Textplatzhalter 7">
            <a:extLst>
              <a:ext uri="{FF2B5EF4-FFF2-40B4-BE49-F238E27FC236}">
                <a16:creationId xmlns:a16="http://schemas.microsoft.com/office/drawing/2014/main" id="{72A433B9-B948-4CC0-95A6-1461D90940C7}"/>
              </a:ext>
            </a:extLst>
          </p:cNvPr>
          <p:cNvSpPr>
            <a:spLocks noGrp="1"/>
          </p:cNvSpPr>
          <p:nvPr>
            <p:ph type="body" sz="quarter" idx="20" hasCustomPrompt="1"/>
          </p:nvPr>
        </p:nvSpPr>
        <p:spPr>
          <a:xfrm>
            <a:off x="8174171" y="5098345"/>
            <a:ext cx="2108200" cy="765175"/>
          </a:xfrm>
          <a:prstGeom prst="rect">
            <a:avLst/>
          </a:prstGeom>
        </p:spPr>
        <p:txBody>
          <a:bodyPr/>
          <a:lstStyle>
            <a:lvl1pPr marL="0" indent="0" algn="ctr">
              <a:buNone/>
              <a:defRPr/>
            </a:lvl1pPr>
          </a:lstStyle>
          <a:p>
            <a:pPr lvl="0"/>
            <a:r>
              <a:rPr lang="de-DE"/>
              <a:t>Topic 4</a:t>
            </a:r>
          </a:p>
        </p:txBody>
      </p:sp>
    </p:spTree>
    <p:extLst>
      <p:ext uri="{BB962C8B-B14F-4D97-AF65-F5344CB8AC3E}">
        <p14:creationId xmlns:p14="http://schemas.microsoft.com/office/powerpoint/2010/main" val="32753864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yram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grpSp>
        <p:nvGrpSpPr>
          <p:cNvPr id="14" name="Gruppieren 18">
            <a:extLst>
              <a:ext uri="{FF2B5EF4-FFF2-40B4-BE49-F238E27FC236}">
                <a16:creationId xmlns:a16="http://schemas.microsoft.com/office/drawing/2014/main" id="{EB1747EF-8B63-459A-A20E-F1547297D4F3}"/>
              </a:ext>
            </a:extLst>
          </p:cNvPr>
          <p:cNvGrpSpPr/>
          <p:nvPr userDrawn="1"/>
        </p:nvGrpSpPr>
        <p:grpSpPr bwMode="gray">
          <a:xfrm>
            <a:off x="2553269" y="1756667"/>
            <a:ext cx="7085462" cy="4127777"/>
            <a:chOff x="380496" y="1312837"/>
            <a:chExt cx="8404729" cy="4917854"/>
          </a:xfrm>
        </p:grpSpPr>
        <p:sp>
          <p:nvSpPr>
            <p:cNvPr id="15" name="Gleichschenkliges Dreieck 14">
              <a:extLst>
                <a:ext uri="{FF2B5EF4-FFF2-40B4-BE49-F238E27FC236}">
                  <a16:creationId xmlns:a16="http://schemas.microsoft.com/office/drawing/2014/main" id="{0AD049B3-867F-4BE6-86E5-5B3E3CC2B001}"/>
                </a:ext>
              </a:extLst>
            </p:cNvPr>
            <p:cNvSpPr/>
            <p:nvPr userDrawn="1"/>
          </p:nvSpPr>
          <p:spPr bwMode="gray">
            <a:xfrm>
              <a:off x="2585495" y="1332687"/>
              <a:ext cx="1080000" cy="1050856"/>
            </a:xfrm>
            <a:prstGeom prst="triangle">
              <a:avLst/>
            </a:prstGeom>
            <a:solidFill>
              <a:schemeClr val="tx1"/>
            </a:solidFill>
            <a:ln w="28575" cap="sq" cmpd="sng" algn="ctr">
              <a:solidFill>
                <a:schemeClr val="tx1"/>
              </a:solidFill>
              <a:prstDash val="solid"/>
              <a:miter lim="800000"/>
            </a:ln>
            <a:effectLst/>
          </p:spPr>
          <p:txBody>
            <a:bodyPr wrap="none" lIns="72000" tIns="72000" rIns="72000" bIns="72000" rtlCol="0" anchor="ctr"/>
            <a:lstStyle/>
            <a:p>
              <a:pPr lvl="0" algn="ctr">
                <a:lnSpc>
                  <a:spcPct val="110000"/>
                </a:lnSpc>
              </a:pPr>
              <a:endParaRPr lang="de-DE" sz="1050" kern="0">
                <a:solidFill>
                  <a:srgbClr val="FFFFFF"/>
                </a:solidFill>
                <a:latin typeface="M05 Text Office" panose="020B0504040000000004" pitchFamily="34" charset="0"/>
                <a:cs typeface="Helvetica Neue Light"/>
              </a:endParaRPr>
            </a:p>
          </p:txBody>
        </p:sp>
        <p:sp>
          <p:nvSpPr>
            <p:cNvPr id="16" name="Trapezoid 4">
              <a:extLst>
                <a:ext uri="{FF2B5EF4-FFF2-40B4-BE49-F238E27FC236}">
                  <a16:creationId xmlns:a16="http://schemas.microsoft.com/office/drawing/2014/main" id="{E9B032B1-C214-492C-B7E0-D741D0A5F0FB}"/>
                </a:ext>
              </a:extLst>
            </p:cNvPr>
            <p:cNvSpPr/>
            <p:nvPr/>
          </p:nvSpPr>
          <p:spPr bwMode="gray">
            <a:xfrm>
              <a:off x="1838496" y="2447869"/>
              <a:ext cx="2573999" cy="1240219"/>
            </a:xfrm>
            <a:prstGeom prst="trapezoid">
              <a:avLst>
                <a:gd name="adj" fmla="val 57298"/>
              </a:avLst>
            </a:prstGeom>
            <a:solidFill>
              <a:srgbClr val="414042"/>
            </a:solidFill>
            <a:ln w="28575" cap="sq" cmpd="sng" algn="ctr">
              <a:solidFill>
                <a:schemeClr val="bg1"/>
              </a:solidFill>
              <a:prstDash val="solid"/>
              <a:miter lim="800000"/>
            </a:ln>
            <a:effectLst/>
          </p:spPr>
          <p:txBody>
            <a:bodyPr lIns="72000" tIns="72000" rIns="72000" bIns="72000" rtlCol="0" anchor="t"/>
            <a:lstStyle/>
            <a:p>
              <a:pPr algn="ctr">
                <a:lnSpc>
                  <a:spcPct val="110000"/>
                </a:lnSpc>
              </a:pPr>
              <a:endParaRPr lang="de-DE" sz="1050" kern="0">
                <a:solidFill>
                  <a:schemeClr val="bg1"/>
                </a:solidFill>
                <a:latin typeface="M05 Text Office" panose="020B0504040000000004" pitchFamily="34" charset="0"/>
                <a:cs typeface="Helvetica Neue Light"/>
              </a:endParaRPr>
            </a:p>
          </p:txBody>
        </p:sp>
        <p:sp>
          <p:nvSpPr>
            <p:cNvPr id="17" name="Trapezoid 5">
              <a:extLst>
                <a:ext uri="{FF2B5EF4-FFF2-40B4-BE49-F238E27FC236}">
                  <a16:creationId xmlns:a16="http://schemas.microsoft.com/office/drawing/2014/main" id="{F04DF17A-1EC3-4C8D-956D-28DD75DF524D}"/>
                </a:ext>
              </a:extLst>
            </p:cNvPr>
            <p:cNvSpPr/>
            <p:nvPr/>
          </p:nvSpPr>
          <p:spPr bwMode="gray">
            <a:xfrm>
              <a:off x="1109497" y="3719170"/>
              <a:ext cx="4031997" cy="1240219"/>
            </a:xfrm>
            <a:prstGeom prst="trapezoid">
              <a:avLst>
                <a:gd name="adj" fmla="val 57298"/>
              </a:avLst>
            </a:prstGeom>
            <a:solidFill>
              <a:schemeClr val="tx2"/>
            </a:solidFill>
            <a:ln w="28575" cap="sq" cmpd="sng" algn="ctr">
              <a:solidFill>
                <a:schemeClr val="bg1"/>
              </a:solidFill>
              <a:prstDash val="solid"/>
              <a:miter lim="800000"/>
            </a:ln>
            <a:effectLst/>
          </p:spPr>
          <p:txBody>
            <a:bodyPr lIns="72000" tIns="72000" rIns="72000" bIns="72000" rtlCol="0" anchor="ctr" anchorCtr="1"/>
            <a:lstStyle/>
            <a:p>
              <a:pPr algn="ctr">
                <a:lnSpc>
                  <a:spcPct val="110000"/>
                </a:lnSpc>
              </a:pPr>
              <a:endParaRPr lang="de-DE" sz="1050" kern="0">
                <a:solidFill>
                  <a:srgbClr val="44484C"/>
                </a:solidFill>
                <a:latin typeface="M05 Text Office" panose="020B0504040000000004" pitchFamily="34" charset="0"/>
                <a:cs typeface="Helvetica Neue Light"/>
              </a:endParaRPr>
            </a:p>
          </p:txBody>
        </p:sp>
        <p:sp>
          <p:nvSpPr>
            <p:cNvPr id="18" name="Trapezoid 6">
              <a:extLst>
                <a:ext uri="{FF2B5EF4-FFF2-40B4-BE49-F238E27FC236}">
                  <a16:creationId xmlns:a16="http://schemas.microsoft.com/office/drawing/2014/main" id="{0C3C26DD-C7C6-4DB8-9124-B06DD7F92E76}"/>
                </a:ext>
              </a:extLst>
            </p:cNvPr>
            <p:cNvSpPr/>
            <p:nvPr/>
          </p:nvSpPr>
          <p:spPr bwMode="gray">
            <a:xfrm>
              <a:off x="380496" y="4990472"/>
              <a:ext cx="5489999" cy="1240219"/>
            </a:xfrm>
            <a:prstGeom prst="trapezoid">
              <a:avLst>
                <a:gd name="adj" fmla="val 57298"/>
              </a:avLst>
            </a:prstGeom>
            <a:solidFill>
              <a:schemeClr val="accent2"/>
            </a:solidFill>
            <a:ln w="28575" cap="sq" cmpd="sng" algn="ctr">
              <a:noFill/>
              <a:prstDash val="solid"/>
              <a:miter lim="800000"/>
            </a:ln>
            <a:effectLst/>
          </p:spPr>
          <p:txBody>
            <a:bodyPr lIns="72000" tIns="72000" rIns="72000" bIns="72000" rtlCol="0" anchor="ctr" anchorCtr="1"/>
            <a:lstStyle/>
            <a:p>
              <a:pPr algn="ctr">
                <a:lnSpc>
                  <a:spcPct val="110000"/>
                </a:lnSpc>
              </a:pPr>
              <a:endParaRPr lang="de-DE" sz="1050" kern="0">
                <a:solidFill>
                  <a:srgbClr val="000000"/>
                </a:solidFill>
                <a:latin typeface="M05 Text Office" panose="020B0504040000000004" pitchFamily="34" charset="0"/>
                <a:cs typeface="Helvetica Neue Light"/>
              </a:endParaRPr>
            </a:p>
          </p:txBody>
        </p:sp>
        <p:cxnSp>
          <p:nvCxnSpPr>
            <p:cNvPr id="19" name="Gerade Verbindung 8">
              <a:extLst>
                <a:ext uri="{FF2B5EF4-FFF2-40B4-BE49-F238E27FC236}">
                  <a16:creationId xmlns:a16="http://schemas.microsoft.com/office/drawing/2014/main" id="{2BF8D65E-2E92-4CA3-B909-3882230B0219}"/>
                </a:ext>
              </a:extLst>
            </p:cNvPr>
            <p:cNvCxnSpPr/>
            <p:nvPr/>
          </p:nvCxnSpPr>
          <p:spPr bwMode="gray">
            <a:xfrm flipV="1">
              <a:off x="3189469" y="1312837"/>
              <a:ext cx="5580000" cy="0"/>
            </a:xfrm>
            <a:prstGeom prst="line">
              <a:avLst/>
            </a:prstGeom>
            <a:noFill/>
            <a:ln w="9525" cap="flat" cmpd="sng" algn="ctr">
              <a:solidFill>
                <a:schemeClr val="tx1"/>
              </a:solidFill>
              <a:prstDash val="solid"/>
            </a:ln>
            <a:effectLst/>
          </p:spPr>
        </p:cxnSp>
        <p:cxnSp>
          <p:nvCxnSpPr>
            <p:cNvPr id="20" name="Gerade Verbindung 9">
              <a:extLst>
                <a:ext uri="{FF2B5EF4-FFF2-40B4-BE49-F238E27FC236}">
                  <a16:creationId xmlns:a16="http://schemas.microsoft.com/office/drawing/2014/main" id="{24FD645E-D914-4C9B-A8A0-0ECECD76415B}"/>
                </a:ext>
              </a:extLst>
            </p:cNvPr>
            <p:cNvCxnSpPr/>
            <p:nvPr/>
          </p:nvCxnSpPr>
          <p:spPr bwMode="gray">
            <a:xfrm>
              <a:off x="3765469" y="2432328"/>
              <a:ext cx="5004000" cy="0"/>
            </a:xfrm>
            <a:prstGeom prst="line">
              <a:avLst/>
            </a:prstGeom>
            <a:noFill/>
            <a:ln w="9525" cap="flat" cmpd="sng" algn="ctr">
              <a:solidFill>
                <a:schemeClr val="tx1"/>
              </a:solidFill>
              <a:prstDash val="solid"/>
            </a:ln>
            <a:effectLst/>
          </p:spPr>
        </p:cxnSp>
        <p:cxnSp>
          <p:nvCxnSpPr>
            <p:cNvPr id="21" name="Gerade Verbindung 10">
              <a:extLst>
                <a:ext uri="{FF2B5EF4-FFF2-40B4-BE49-F238E27FC236}">
                  <a16:creationId xmlns:a16="http://schemas.microsoft.com/office/drawing/2014/main" id="{3B3E46D6-EB04-4988-ABE0-992EE811EE47}"/>
                </a:ext>
              </a:extLst>
            </p:cNvPr>
            <p:cNvCxnSpPr/>
            <p:nvPr/>
          </p:nvCxnSpPr>
          <p:spPr bwMode="gray">
            <a:xfrm>
              <a:off x="4485740" y="3681413"/>
              <a:ext cx="4284000" cy="0"/>
            </a:xfrm>
            <a:prstGeom prst="line">
              <a:avLst/>
            </a:prstGeom>
            <a:noFill/>
            <a:ln w="9525" cap="flat" cmpd="sng" algn="ctr">
              <a:solidFill>
                <a:schemeClr val="tx1"/>
              </a:solidFill>
              <a:prstDash val="solid"/>
            </a:ln>
            <a:effectLst/>
          </p:spPr>
        </p:cxnSp>
        <p:cxnSp>
          <p:nvCxnSpPr>
            <p:cNvPr id="22" name="Gerade Verbindung 11">
              <a:extLst>
                <a:ext uri="{FF2B5EF4-FFF2-40B4-BE49-F238E27FC236}">
                  <a16:creationId xmlns:a16="http://schemas.microsoft.com/office/drawing/2014/main" id="{5A1B2E98-9525-4B6E-9E2D-7E53D346C7CD}"/>
                </a:ext>
              </a:extLst>
            </p:cNvPr>
            <p:cNvCxnSpPr/>
            <p:nvPr/>
          </p:nvCxnSpPr>
          <p:spPr bwMode="gray">
            <a:xfrm flipV="1">
              <a:off x="5227608" y="4974930"/>
              <a:ext cx="3557617" cy="0"/>
            </a:xfrm>
            <a:prstGeom prst="line">
              <a:avLst/>
            </a:prstGeom>
            <a:noFill/>
            <a:ln w="9525" cap="flat" cmpd="sng" algn="ctr">
              <a:solidFill>
                <a:schemeClr val="tx1"/>
              </a:solidFill>
              <a:prstDash val="solid"/>
            </a:ln>
            <a:effectLst/>
          </p:spPr>
        </p:cxnSp>
      </p:grpSp>
      <p:sp>
        <p:nvSpPr>
          <p:cNvPr id="5" name="Textplatzhalter 4">
            <a:extLst>
              <a:ext uri="{FF2B5EF4-FFF2-40B4-BE49-F238E27FC236}">
                <a16:creationId xmlns:a16="http://schemas.microsoft.com/office/drawing/2014/main" id="{9C8718DE-7204-4D90-80B1-7FB11FA69C8A}"/>
              </a:ext>
            </a:extLst>
          </p:cNvPr>
          <p:cNvSpPr>
            <a:spLocks noGrp="1"/>
          </p:cNvSpPr>
          <p:nvPr>
            <p:ph type="body" sz="quarter" idx="14" hasCustomPrompt="1"/>
          </p:nvPr>
        </p:nvSpPr>
        <p:spPr>
          <a:xfrm>
            <a:off x="5406912" y="1831207"/>
            <a:ext cx="4232388" cy="814761"/>
          </a:xfrm>
          <a:prstGeom prst="rect">
            <a:avLst/>
          </a:prstGeom>
        </p:spPr>
        <p:txBody>
          <a:bodyPr/>
          <a:lstStyle>
            <a:lvl1pPr>
              <a:defRPr sz="1400"/>
            </a:lvl1pPr>
          </a:lstStyle>
          <a:p>
            <a:pPr lvl="0"/>
            <a:r>
              <a:rPr lang="de-DE" err="1"/>
              <a:t>Lorem</a:t>
            </a:r>
            <a:r>
              <a:rPr lang="de-DE"/>
              <a:t> </a:t>
            </a:r>
            <a:r>
              <a:rPr lang="de-DE" err="1"/>
              <a:t>ipsum</a:t>
            </a:r>
            <a:endParaRPr lang="de-DE"/>
          </a:p>
          <a:p>
            <a:pPr lvl="0"/>
            <a:r>
              <a:rPr lang="de-DE" err="1"/>
              <a:t>Lorem</a:t>
            </a:r>
            <a:r>
              <a:rPr lang="de-DE"/>
              <a:t> </a:t>
            </a:r>
            <a:r>
              <a:rPr lang="de-DE" err="1"/>
              <a:t>ipsum</a:t>
            </a:r>
            <a:r>
              <a:rPr lang="de-DE"/>
              <a:t> </a:t>
            </a:r>
            <a:r>
              <a:rPr lang="de-DE" err="1"/>
              <a:t>lorem</a:t>
            </a:r>
            <a:endParaRPr lang="de-DE"/>
          </a:p>
          <a:p>
            <a:pPr lvl="0"/>
            <a:endParaRPr lang="de-DE"/>
          </a:p>
        </p:txBody>
      </p:sp>
      <p:sp>
        <p:nvSpPr>
          <p:cNvPr id="29" name="Textplatzhalter 4">
            <a:extLst>
              <a:ext uri="{FF2B5EF4-FFF2-40B4-BE49-F238E27FC236}">
                <a16:creationId xmlns:a16="http://schemas.microsoft.com/office/drawing/2014/main" id="{44DBA994-7BE5-4A65-8102-7A054EEEC744}"/>
              </a:ext>
            </a:extLst>
          </p:cNvPr>
          <p:cNvSpPr>
            <a:spLocks noGrp="1"/>
          </p:cNvSpPr>
          <p:nvPr>
            <p:ph type="body" sz="quarter" idx="15" hasCustomPrompt="1"/>
          </p:nvPr>
        </p:nvSpPr>
        <p:spPr>
          <a:xfrm>
            <a:off x="6014124" y="2745555"/>
            <a:ext cx="3625176" cy="936625"/>
          </a:xfrm>
          <a:prstGeom prst="rect">
            <a:avLst/>
          </a:prstGeom>
        </p:spPr>
        <p:txBody>
          <a:bodyPr/>
          <a:lstStyle>
            <a:lvl1pPr>
              <a:defRPr sz="1400"/>
            </a:lvl1pPr>
          </a:lstStyle>
          <a:p>
            <a:pPr lvl="0"/>
            <a:r>
              <a:rPr lang="de-DE" err="1"/>
              <a:t>Lorem</a:t>
            </a:r>
            <a:r>
              <a:rPr lang="de-DE"/>
              <a:t> </a:t>
            </a:r>
            <a:r>
              <a:rPr lang="de-DE" err="1"/>
              <a:t>ipsum</a:t>
            </a:r>
            <a:endParaRPr lang="de-DE"/>
          </a:p>
          <a:p>
            <a:pPr lvl="0"/>
            <a:r>
              <a:rPr lang="de-DE" err="1"/>
              <a:t>Lorem</a:t>
            </a:r>
            <a:r>
              <a:rPr lang="de-DE"/>
              <a:t> </a:t>
            </a:r>
            <a:r>
              <a:rPr lang="de-DE" err="1"/>
              <a:t>ipsum</a:t>
            </a:r>
            <a:r>
              <a:rPr lang="de-DE"/>
              <a:t> </a:t>
            </a:r>
            <a:r>
              <a:rPr lang="de-DE" err="1"/>
              <a:t>lorem</a:t>
            </a:r>
            <a:endParaRPr lang="de-DE"/>
          </a:p>
          <a:p>
            <a:pPr lvl="0"/>
            <a:endParaRPr lang="de-DE"/>
          </a:p>
        </p:txBody>
      </p:sp>
      <p:sp>
        <p:nvSpPr>
          <p:cNvPr id="30" name="Textplatzhalter 4">
            <a:extLst>
              <a:ext uri="{FF2B5EF4-FFF2-40B4-BE49-F238E27FC236}">
                <a16:creationId xmlns:a16="http://schemas.microsoft.com/office/drawing/2014/main" id="{93A9DA03-0F54-4145-ACCD-0F52719A1F68}"/>
              </a:ext>
            </a:extLst>
          </p:cNvPr>
          <p:cNvSpPr>
            <a:spLocks noGrp="1"/>
          </p:cNvSpPr>
          <p:nvPr>
            <p:ph type="body" sz="quarter" idx="16" hasCustomPrompt="1"/>
          </p:nvPr>
        </p:nvSpPr>
        <p:spPr>
          <a:xfrm>
            <a:off x="6639542" y="3819261"/>
            <a:ext cx="2986935" cy="936625"/>
          </a:xfrm>
          <a:prstGeom prst="rect">
            <a:avLst/>
          </a:prstGeom>
        </p:spPr>
        <p:txBody>
          <a:bodyPr/>
          <a:lstStyle>
            <a:lvl1pPr>
              <a:defRPr sz="1400"/>
            </a:lvl1pPr>
          </a:lstStyle>
          <a:p>
            <a:pPr lvl="0"/>
            <a:r>
              <a:rPr lang="de-DE" err="1"/>
              <a:t>Lorem</a:t>
            </a:r>
            <a:r>
              <a:rPr lang="de-DE"/>
              <a:t> </a:t>
            </a:r>
            <a:r>
              <a:rPr lang="de-DE" err="1"/>
              <a:t>ipsum</a:t>
            </a:r>
            <a:endParaRPr lang="de-DE"/>
          </a:p>
          <a:p>
            <a:pPr lvl="0"/>
            <a:r>
              <a:rPr lang="de-DE" err="1"/>
              <a:t>Lorem</a:t>
            </a:r>
            <a:r>
              <a:rPr lang="de-DE"/>
              <a:t> </a:t>
            </a:r>
            <a:r>
              <a:rPr lang="de-DE" err="1"/>
              <a:t>ipsum</a:t>
            </a:r>
            <a:r>
              <a:rPr lang="de-DE"/>
              <a:t> </a:t>
            </a:r>
            <a:r>
              <a:rPr lang="de-DE" err="1"/>
              <a:t>lorem</a:t>
            </a:r>
            <a:endParaRPr lang="de-DE"/>
          </a:p>
          <a:p>
            <a:pPr lvl="0"/>
            <a:endParaRPr lang="de-DE"/>
          </a:p>
        </p:txBody>
      </p:sp>
      <p:sp>
        <p:nvSpPr>
          <p:cNvPr id="31" name="Textplatzhalter 4">
            <a:extLst>
              <a:ext uri="{FF2B5EF4-FFF2-40B4-BE49-F238E27FC236}">
                <a16:creationId xmlns:a16="http://schemas.microsoft.com/office/drawing/2014/main" id="{E8D1F27B-7034-454C-8908-4C00CC4C10B2}"/>
              </a:ext>
            </a:extLst>
          </p:cNvPr>
          <p:cNvSpPr>
            <a:spLocks noGrp="1"/>
          </p:cNvSpPr>
          <p:nvPr>
            <p:ph type="body" sz="quarter" idx="17" hasCustomPrompt="1"/>
          </p:nvPr>
        </p:nvSpPr>
        <p:spPr>
          <a:xfrm>
            <a:off x="7181518" y="4947819"/>
            <a:ext cx="2457213" cy="936625"/>
          </a:xfrm>
          <a:prstGeom prst="rect">
            <a:avLst/>
          </a:prstGeom>
        </p:spPr>
        <p:txBody>
          <a:bodyPr/>
          <a:lstStyle>
            <a:lvl1pPr>
              <a:defRPr sz="1400"/>
            </a:lvl1pPr>
          </a:lstStyle>
          <a:p>
            <a:pPr lvl="0"/>
            <a:r>
              <a:rPr lang="de-DE" err="1"/>
              <a:t>Lorem</a:t>
            </a:r>
            <a:r>
              <a:rPr lang="de-DE"/>
              <a:t> </a:t>
            </a:r>
            <a:r>
              <a:rPr lang="de-DE" err="1"/>
              <a:t>ipsum</a:t>
            </a:r>
            <a:endParaRPr lang="de-DE"/>
          </a:p>
          <a:p>
            <a:pPr lvl="0"/>
            <a:r>
              <a:rPr lang="de-DE" err="1"/>
              <a:t>Lorem</a:t>
            </a:r>
            <a:r>
              <a:rPr lang="de-DE"/>
              <a:t> </a:t>
            </a:r>
            <a:r>
              <a:rPr lang="de-DE" err="1"/>
              <a:t>ipsum</a:t>
            </a:r>
            <a:r>
              <a:rPr lang="de-DE"/>
              <a:t> </a:t>
            </a:r>
            <a:r>
              <a:rPr lang="de-DE" err="1"/>
              <a:t>lorem</a:t>
            </a:r>
            <a:endParaRPr lang="de-DE"/>
          </a:p>
          <a:p>
            <a:pPr lvl="0"/>
            <a:endParaRPr lang="de-DE"/>
          </a:p>
        </p:txBody>
      </p:sp>
      <p:sp>
        <p:nvSpPr>
          <p:cNvPr id="7" name="Textplatzhalter 6">
            <a:extLst>
              <a:ext uri="{FF2B5EF4-FFF2-40B4-BE49-F238E27FC236}">
                <a16:creationId xmlns:a16="http://schemas.microsoft.com/office/drawing/2014/main" id="{74E1EB75-2A46-4D45-81C4-1C47A08B69D2}"/>
              </a:ext>
            </a:extLst>
          </p:cNvPr>
          <p:cNvSpPr>
            <a:spLocks noGrp="1"/>
          </p:cNvSpPr>
          <p:nvPr>
            <p:ph type="body" sz="quarter" idx="18" hasCustomPrompt="1"/>
          </p:nvPr>
        </p:nvSpPr>
        <p:spPr>
          <a:xfrm>
            <a:off x="4412154" y="2204834"/>
            <a:ext cx="910475" cy="457401"/>
          </a:xfrm>
          <a:prstGeom prst="rect">
            <a:avLst/>
          </a:prstGeom>
        </p:spPr>
        <p:txBody>
          <a:bodyPr/>
          <a:lstStyle>
            <a:lvl1pPr marL="0" indent="0" algn="ctr">
              <a:buNone/>
              <a:defRPr sz="1200">
                <a:solidFill>
                  <a:schemeClr val="bg1"/>
                </a:solidFill>
              </a:defRPr>
            </a:lvl1pPr>
          </a:lstStyle>
          <a:p>
            <a:pPr lvl="0"/>
            <a:r>
              <a:rPr lang="de-DE" err="1"/>
              <a:t>Lorem</a:t>
            </a:r>
            <a:r>
              <a:rPr lang="de-DE"/>
              <a:t> </a:t>
            </a:r>
            <a:r>
              <a:rPr lang="de-DE" err="1"/>
              <a:t>ipsum</a:t>
            </a:r>
            <a:endParaRPr lang="de-DE"/>
          </a:p>
        </p:txBody>
      </p:sp>
      <p:sp>
        <p:nvSpPr>
          <p:cNvPr id="34" name="Textplatzhalter 6">
            <a:extLst>
              <a:ext uri="{FF2B5EF4-FFF2-40B4-BE49-F238E27FC236}">
                <a16:creationId xmlns:a16="http://schemas.microsoft.com/office/drawing/2014/main" id="{E8BFA7A4-5AA1-4226-ABFD-A8AC32B14708}"/>
              </a:ext>
            </a:extLst>
          </p:cNvPr>
          <p:cNvSpPr>
            <a:spLocks noGrp="1"/>
          </p:cNvSpPr>
          <p:nvPr>
            <p:ph type="body" sz="quarter" idx="19" hasCustomPrompt="1"/>
          </p:nvPr>
        </p:nvSpPr>
        <p:spPr>
          <a:xfrm>
            <a:off x="3909084" y="2970204"/>
            <a:ext cx="1913378" cy="759092"/>
          </a:xfrm>
          <a:prstGeom prst="rect">
            <a:avLst/>
          </a:prstGeom>
        </p:spPr>
        <p:txBody>
          <a:bodyPr/>
          <a:lstStyle>
            <a:lvl1pPr marL="0" indent="0" algn="ctr">
              <a:buNone/>
              <a:defRPr sz="1200">
                <a:solidFill>
                  <a:schemeClr val="bg1"/>
                </a:solidFill>
              </a:defRPr>
            </a:lvl1pPr>
          </a:lstStyle>
          <a:p>
            <a:pPr lvl="0"/>
            <a:r>
              <a:rPr lang="de-DE" err="1"/>
              <a:t>Lorem</a:t>
            </a:r>
            <a:r>
              <a:rPr lang="de-DE"/>
              <a:t> </a:t>
            </a:r>
            <a:r>
              <a:rPr lang="de-DE" err="1"/>
              <a:t>ipsum</a:t>
            </a:r>
            <a:endParaRPr lang="de-DE"/>
          </a:p>
          <a:p>
            <a:pPr marL="0" marR="0" lvl="0" indent="0" algn="ctr" defTabSz="914400" rtl="0" eaLnBrk="1" fontAlgn="auto" latinLnBrk="0" hangingPunct="1">
              <a:lnSpc>
                <a:spcPct val="90000"/>
              </a:lnSpc>
              <a:spcBef>
                <a:spcPts val="1000"/>
              </a:spcBef>
              <a:spcAft>
                <a:spcPts val="0"/>
              </a:spcAft>
              <a:buClr>
                <a:schemeClr val="bg2"/>
              </a:buClr>
              <a:buSzTx/>
              <a:buFont typeface="M05 Text BETA" panose="020B0004040000000004" pitchFamily="34" charset="0"/>
              <a:buNone/>
              <a:tabLst/>
              <a:defRPr/>
            </a:pPr>
            <a:r>
              <a:rPr lang="de-DE" err="1"/>
              <a:t>Lorem</a:t>
            </a:r>
            <a:r>
              <a:rPr lang="de-DE"/>
              <a:t> </a:t>
            </a:r>
            <a:r>
              <a:rPr lang="de-DE" err="1"/>
              <a:t>ipsum</a:t>
            </a:r>
            <a:endParaRPr lang="de-DE"/>
          </a:p>
          <a:p>
            <a:pPr lvl="0"/>
            <a:endParaRPr lang="de-DE"/>
          </a:p>
        </p:txBody>
      </p:sp>
      <p:sp>
        <p:nvSpPr>
          <p:cNvPr id="35" name="Textplatzhalter 6">
            <a:extLst>
              <a:ext uri="{FF2B5EF4-FFF2-40B4-BE49-F238E27FC236}">
                <a16:creationId xmlns:a16="http://schemas.microsoft.com/office/drawing/2014/main" id="{DF2B6974-831E-4B44-B04A-C9F51BD75A29}"/>
              </a:ext>
            </a:extLst>
          </p:cNvPr>
          <p:cNvSpPr>
            <a:spLocks noGrp="1"/>
          </p:cNvSpPr>
          <p:nvPr>
            <p:ph type="body" sz="quarter" idx="20" hasCustomPrompt="1"/>
          </p:nvPr>
        </p:nvSpPr>
        <p:spPr>
          <a:xfrm>
            <a:off x="3272130" y="3849910"/>
            <a:ext cx="3159932" cy="899331"/>
          </a:xfrm>
          <a:prstGeom prst="rect">
            <a:avLst/>
          </a:prstGeom>
        </p:spPr>
        <p:txBody>
          <a:bodyPr/>
          <a:lstStyle>
            <a:lvl1pPr marL="0" indent="0" algn="ctr">
              <a:buNone/>
              <a:defRPr sz="1200">
                <a:solidFill>
                  <a:schemeClr val="tx1"/>
                </a:solidFill>
              </a:defRPr>
            </a:lvl1pPr>
          </a:lstStyle>
          <a:p>
            <a:pPr lvl="0"/>
            <a:r>
              <a:rPr lang="de-DE" err="1"/>
              <a:t>Lorem</a:t>
            </a:r>
            <a:r>
              <a:rPr lang="de-DE"/>
              <a:t> </a:t>
            </a:r>
            <a:r>
              <a:rPr lang="de-DE" err="1"/>
              <a:t>ipsum</a:t>
            </a:r>
            <a:endParaRPr lang="de-DE"/>
          </a:p>
          <a:p>
            <a:pPr marL="0" marR="0" lvl="0" indent="0" algn="ctr" defTabSz="914400" rtl="0" eaLnBrk="1" fontAlgn="auto" latinLnBrk="0" hangingPunct="1">
              <a:lnSpc>
                <a:spcPct val="90000"/>
              </a:lnSpc>
              <a:spcBef>
                <a:spcPts val="1000"/>
              </a:spcBef>
              <a:spcAft>
                <a:spcPts val="0"/>
              </a:spcAft>
              <a:buClr>
                <a:schemeClr val="bg2"/>
              </a:buClr>
              <a:buSzTx/>
              <a:buFont typeface="M05 Text BETA" panose="020B0004040000000004" pitchFamily="34" charset="0"/>
              <a:buNone/>
              <a:tabLst/>
              <a:defRPr/>
            </a:pPr>
            <a:r>
              <a:rPr lang="de-DE" err="1"/>
              <a:t>Lorem</a:t>
            </a:r>
            <a:r>
              <a:rPr lang="de-DE"/>
              <a:t> </a:t>
            </a:r>
            <a:r>
              <a:rPr lang="de-DE" err="1"/>
              <a:t>ipsum</a:t>
            </a:r>
            <a:r>
              <a:rPr lang="de-DE"/>
              <a:t> </a:t>
            </a:r>
            <a:r>
              <a:rPr lang="de-DE" err="1"/>
              <a:t>Lorem</a:t>
            </a:r>
            <a:r>
              <a:rPr lang="de-DE"/>
              <a:t> </a:t>
            </a:r>
            <a:r>
              <a:rPr lang="de-DE" err="1"/>
              <a:t>ipsum</a:t>
            </a:r>
            <a:r>
              <a:rPr lang="de-DE"/>
              <a:t> </a:t>
            </a:r>
          </a:p>
          <a:p>
            <a:pPr marL="0" marR="0" lvl="0" indent="0" algn="ctr" defTabSz="914400" rtl="0" eaLnBrk="1" fontAlgn="auto" latinLnBrk="0" hangingPunct="1">
              <a:lnSpc>
                <a:spcPct val="90000"/>
              </a:lnSpc>
              <a:spcBef>
                <a:spcPts val="1000"/>
              </a:spcBef>
              <a:spcAft>
                <a:spcPts val="0"/>
              </a:spcAft>
              <a:buClr>
                <a:schemeClr val="bg2"/>
              </a:buClr>
              <a:buSzTx/>
              <a:buFont typeface="M05 Text BETA" panose="020B0004040000000004" pitchFamily="34" charset="0"/>
              <a:buNone/>
              <a:tabLst/>
              <a:defRPr/>
            </a:pPr>
            <a:r>
              <a:rPr lang="de-DE" err="1"/>
              <a:t>Lorem</a:t>
            </a:r>
            <a:r>
              <a:rPr lang="de-DE"/>
              <a:t> </a:t>
            </a:r>
            <a:r>
              <a:rPr lang="de-DE" err="1"/>
              <a:t>ipsum</a:t>
            </a:r>
            <a:r>
              <a:rPr lang="de-DE"/>
              <a:t> </a:t>
            </a:r>
          </a:p>
          <a:p>
            <a:pPr marL="0" marR="0" lvl="0" indent="0" algn="ctr" defTabSz="914400" rtl="0" eaLnBrk="1" fontAlgn="auto" latinLnBrk="0" hangingPunct="1">
              <a:lnSpc>
                <a:spcPct val="90000"/>
              </a:lnSpc>
              <a:spcBef>
                <a:spcPts val="1000"/>
              </a:spcBef>
              <a:spcAft>
                <a:spcPts val="0"/>
              </a:spcAft>
              <a:buClr>
                <a:schemeClr val="bg2"/>
              </a:buClr>
              <a:buSzTx/>
              <a:buFont typeface="M05 Text BETA" panose="020B0004040000000004" pitchFamily="34" charset="0"/>
              <a:buNone/>
              <a:tabLst/>
              <a:defRPr/>
            </a:pPr>
            <a:endParaRPr lang="de-DE"/>
          </a:p>
          <a:p>
            <a:pPr lvl="0"/>
            <a:endParaRPr lang="de-DE"/>
          </a:p>
        </p:txBody>
      </p:sp>
      <p:sp>
        <p:nvSpPr>
          <p:cNvPr id="37" name="Textplatzhalter 6">
            <a:extLst>
              <a:ext uri="{FF2B5EF4-FFF2-40B4-BE49-F238E27FC236}">
                <a16:creationId xmlns:a16="http://schemas.microsoft.com/office/drawing/2014/main" id="{F317FF0E-9C05-4FFA-8130-0BE49578BD9A}"/>
              </a:ext>
            </a:extLst>
          </p:cNvPr>
          <p:cNvSpPr>
            <a:spLocks noGrp="1"/>
          </p:cNvSpPr>
          <p:nvPr>
            <p:ph type="body" sz="quarter" idx="21" hasCustomPrompt="1"/>
          </p:nvPr>
        </p:nvSpPr>
        <p:spPr>
          <a:xfrm>
            <a:off x="2625903" y="4898571"/>
            <a:ext cx="4447020" cy="985874"/>
          </a:xfrm>
          <a:prstGeom prst="rect">
            <a:avLst/>
          </a:prstGeom>
        </p:spPr>
        <p:txBody>
          <a:bodyPr/>
          <a:lstStyle>
            <a:lvl1pPr marL="0" indent="0" algn="ctr">
              <a:buNone/>
              <a:defRPr sz="1200">
                <a:solidFill>
                  <a:schemeClr val="tx1"/>
                </a:solidFill>
              </a:defRPr>
            </a:lvl1pPr>
          </a:lstStyle>
          <a:p>
            <a:pPr lvl="0"/>
            <a:r>
              <a:rPr lang="de-DE" err="1"/>
              <a:t>Lorem</a:t>
            </a:r>
            <a:r>
              <a:rPr lang="de-DE"/>
              <a:t> </a:t>
            </a:r>
            <a:r>
              <a:rPr lang="de-DE" err="1"/>
              <a:t>ipsum</a:t>
            </a:r>
            <a:endParaRPr lang="de-DE"/>
          </a:p>
          <a:p>
            <a:pPr marL="0" marR="0" lvl="0" indent="0" algn="ctr" defTabSz="914400" rtl="0" eaLnBrk="1" fontAlgn="auto" latinLnBrk="0" hangingPunct="1">
              <a:lnSpc>
                <a:spcPct val="90000"/>
              </a:lnSpc>
              <a:spcBef>
                <a:spcPts val="1000"/>
              </a:spcBef>
              <a:spcAft>
                <a:spcPts val="0"/>
              </a:spcAft>
              <a:buClr>
                <a:schemeClr val="bg2"/>
              </a:buClr>
              <a:buSzTx/>
              <a:buFont typeface="M05 Text BETA" panose="020B0004040000000004" pitchFamily="34" charset="0"/>
              <a:buNone/>
              <a:tabLst/>
              <a:defRPr/>
            </a:pPr>
            <a:r>
              <a:rPr lang="de-DE" err="1"/>
              <a:t>Lorem</a:t>
            </a:r>
            <a:r>
              <a:rPr lang="de-DE"/>
              <a:t> </a:t>
            </a:r>
            <a:r>
              <a:rPr lang="de-DE" err="1"/>
              <a:t>ipsum</a:t>
            </a:r>
            <a:r>
              <a:rPr lang="de-DE"/>
              <a:t> </a:t>
            </a:r>
            <a:r>
              <a:rPr lang="de-DE" err="1"/>
              <a:t>Lorem</a:t>
            </a:r>
            <a:r>
              <a:rPr lang="de-DE"/>
              <a:t> </a:t>
            </a:r>
            <a:r>
              <a:rPr lang="de-DE" err="1"/>
              <a:t>ipsum</a:t>
            </a:r>
            <a:r>
              <a:rPr lang="de-DE"/>
              <a:t> </a:t>
            </a:r>
          </a:p>
          <a:p>
            <a:pPr marL="0" marR="0" lvl="0" indent="0" algn="ctr" defTabSz="914400" rtl="0" eaLnBrk="1" fontAlgn="auto" latinLnBrk="0" hangingPunct="1">
              <a:lnSpc>
                <a:spcPct val="90000"/>
              </a:lnSpc>
              <a:spcBef>
                <a:spcPts val="1000"/>
              </a:spcBef>
              <a:spcAft>
                <a:spcPts val="0"/>
              </a:spcAft>
              <a:buClr>
                <a:schemeClr val="bg2"/>
              </a:buClr>
              <a:buSzTx/>
              <a:buFont typeface="M05 Text BETA" panose="020B0004040000000004" pitchFamily="34" charset="0"/>
              <a:buNone/>
              <a:tabLst/>
              <a:defRPr/>
            </a:pPr>
            <a:r>
              <a:rPr lang="de-DE" err="1"/>
              <a:t>Lorem</a:t>
            </a:r>
            <a:r>
              <a:rPr lang="de-DE"/>
              <a:t> </a:t>
            </a:r>
            <a:r>
              <a:rPr lang="de-DE" err="1"/>
              <a:t>ipsum</a:t>
            </a:r>
            <a:r>
              <a:rPr lang="de-DE"/>
              <a:t> </a:t>
            </a:r>
          </a:p>
          <a:p>
            <a:pPr marL="0" marR="0" lvl="0" indent="0" algn="ctr" defTabSz="914400" rtl="0" eaLnBrk="1" fontAlgn="auto" latinLnBrk="0" hangingPunct="1">
              <a:lnSpc>
                <a:spcPct val="90000"/>
              </a:lnSpc>
              <a:spcBef>
                <a:spcPts val="1000"/>
              </a:spcBef>
              <a:spcAft>
                <a:spcPts val="0"/>
              </a:spcAft>
              <a:buClr>
                <a:schemeClr val="bg2"/>
              </a:buClr>
              <a:buSzTx/>
              <a:buFont typeface="M05 Text BETA" panose="020B0004040000000004" pitchFamily="34" charset="0"/>
              <a:buNone/>
              <a:tabLst/>
              <a:defRPr/>
            </a:pPr>
            <a:endParaRPr lang="de-DE"/>
          </a:p>
          <a:p>
            <a:pPr lvl="0"/>
            <a:endParaRPr lang="de-DE"/>
          </a:p>
        </p:txBody>
      </p:sp>
    </p:spTree>
    <p:extLst>
      <p:ext uri="{BB962C8B-B14F-4D97-AF65-F5344CB8AC3E}">
        <p14:creationId xmlns:p14="http://schemas.microsoft.com/office/powerpoint/2010/main" val="4019534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eltkar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CEFD9-AAB9-4DF9-BF79-42A01DC9D2E6}"/>
              </a:ext>
            </a:extLst>
          </p:cNvPr>
          <p:cNvSpPr>
            <a:spLocks noGrp="1"/>
          </p:cNvSpPr>
          <p:nvPr>
            <p:ph type="title" hasCustomPrompt="1"/>
          </p:nvPr>
        </p:nvSpPr>
        <p:spPr>
          <a:xfrm>
            <a:off x="330201" y="550151"/>
            <a:ext cx="10728000" cy="702000"/>
          </a:xfrm>
        </p:spPr>
        <p:txBody>
          <a:bodyPr/>
          <a:lstStyle>
            <a:lvl1pPr>
              <a:defRPr>
                <a:latin typeface="M05 Text Office Bold" panose="020B0804040000000004" pitchFamily="34" charset="0"/>
              </a:defRPr>
            </a:lvl1pPr>
          </a:lstStyle>
          <a:p>
            <a:r>
              <a:rPr lang="de-DE"/>
              <a:t>MASTERTITELFORMAT BEARBEITEN</a:t>
            </a:r>
          </a:p>
        </p:txBody>
      </p:sp>
      <p:sp>
        <p:nvSpPr>
          <p:cNvPr id="9" name="Foliennummernplatzhalter 52">
            <a:extLst>
              <a:ext uri="{FF2B5EF4-FFF2-40B4-BE49-F238E27FC236}">
                <a16:creationId xmlns:a16="http://schemas.microsoft.com/office/drawing/2014/main" id="{8315D360-AD71-44D5-B831-8853080FD0F3}"/>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Textplatzhalter 3">
            <a:extLst>
              <a:ext uri="{FF2B5EF4-FFF2-40B4-BE49-F238E27FC236}">
                <a16:creationId xmlns:a16="http://schemas.microsoft.com/office/drawing/2014/main" id="{25BFAF6E-92BA-4E19-86B6-E92D0AD4B44E}"/>
              </a:ext>
            </a:extLst>
          </p:cNvPr>
          <p:cNvSpPr>
            <a:spLocks noGrp="1"/>
          </p:cNvSpPr>
          <p:nvPr>
            <p:ph type="body" sz="quarter" idx="13" hasCustomPrompt="1"/>
          </p:nvPr>
        </p:nvSpPr>
        <p:spPr>
          <a:xfrm>
            <a:off x="330201" y="168743"/>
            <a:ext cx="8978717" cy="277200"/>
          </a:xfrm>
          <a:prstGeom prst="rect">
            <a:avLst/>
          </a:prstGeom>
        </p:spPr>
        <p:txBody>
          <a:bodyPr lIns="0" tIns="0" rIns="0" bIns="0" anchor="ctr"/>
          <a:lstStyle>
            <a:lvl1pPr marL="0" indent="0">
              <a:buNone/>
              <a:defRPr sz="1200" b="1" cap="all" baseline="0">
                <a:latin typeface="M05 Text Office" panose="020B0504040000000004" pitchFamily="34" charset="0"/>
              </a:defRPr>
            </a:lvl1pPr>
          </a:lstStyle>
          <a:p>
            <a:pPr lvl="0"/>
            <a:r>
              <a:rPr lang="de-DE"/>
              <a:t>Sachtitel M05 Text Regular 12 PT in </a:t>
            </a:r>
            <a:r>
              <a:rPr lang="de-DE" err="1"/>
              <a:t>Grossbuchstaben</a:t>
            </a:r>
            <a:endParaRPr lang="de-DE"/>
          </a:p>
        </p:txBody>
      </p:sp>
      <p:grpSp>
        <p:nvGrpSpPr>
          <p:cNvPr id="23" name="Group 4">
            <a:extLst>
              <a:ext uri="{FF2B5EF4-FFF2-40B4-BE49-F238E27FC236}">
                <a16:creationId xmlns:a16="http://schemas.microsoft.com/office/drawing/2014/main" id="{51B40184-1099-440D-8CA3-88F5F54B63B8}"/>
              </a:ext>
            </a:extLst>
          </p:cNvPr>
          <p:cNvGrpSpPr>
            <a:grpSpLocks/>
          </p:cNvGrpSpPr>
          <p:nvPr userDrawn="1"/>
        </p:nvGrpSpPr>
        <p:grpSpPr bwMode="gray">
          <a:xfrm>
            <a:off x="1601637" y="1699037"/>
            <a:ext cx="8672822" cy="4381331"/>
            <a:chOff x="285" y="1145"/>
            <a:chExt cx="5201" cy="2557"/>
          </a:xfrm>
          <a:solidFill>
            <a:srgbClr val="414042"/>
          </a:solidFill>
        </p:grpSpPr>
        <p:sp>
          <p:nvSpPr>
            <p:cNvPr id="24" name="Freeform 5">
              <a:extLst>
                <a:ext uri="{FF2B5EF4-FFF2-40B4-BE49-F238E27FC236}">
                  <a16:creationId xmlns:a16="http://schemas.microsoft.com/office/drawing/2014/main" id="{49D8DEE0-304B-4939-B3AE-B45F1D69F2AE}"/>
                </a:ext>
              </a:extLst>
            </p:cNvPr>
            <p:cNvSpPr>
              <a:spLocks/>
            </p:cNvSpPr>
            <p:nvPr/>
          </p:nvSpPr>
          <p:spPr bwMode="gray">
            <a:xfrm>
              <a:off x="2932" y="3168"/>
              <a:ext cx="238" cy="200"/>
            </a:xfrm>
            <a:custGeom>
              <a:avLst/>
              <a:gdLst>
                <a:gd name="T0" fmla="*/ 0 w 238"/>
                <a:gd name="T1" fmla="*/ 95 h 200"/>
                <a:gd name="T2" fmla="*/ 0 w 238"/>
                <a:gd name="T3" fmla="*/ 105 h 200"/>
                <a:gd name="T4" fmla="*/ 9 w 238"/>
                <a:gd name="T5" fmla="*/ 124 h 200"/>
                <a:gd name="T6" fmla="*/ 28 w 238"/>
                <a:gd name="T7" fmla="*/ 143 h 200"/>
                <a:gd name="T8" fmla="*/ 28 w 238"/>
                <a:gd name="T9" fmla="*/ 162 h 200"/>
                <a:gd name="T10" fmla="*/ 28 w 238"/>
                <a:gd name="T11" fmla="*/ 172 h 200"/>
                <a:gd name="T12" fmla="*/ 28 w 238"/>
                <a:gd name="T13" fmla="*/ 172 h 200"/>
                <a:gd name="T14" fmla="*/ 28 w 238"/>
                <a:gd name="T15" fmla="*/ 181 h 200"/>
                <a:gd name="T16" fmla="*/ 57 w 238"/>
                <a:gd name="T17" fmla="*/ 200 h 200"/>
                <a:gd name="T18" fmla="*/ 57 w 238"/>
                <a:gd name="T19" fmla="*/ 200 h 200"/>
                <a:gd name="T20" fmla="*/ 67 w 238"/>
                <a:gd name="T21" fmla="*/ 191 h 200"/>
                <a:gd name="T22" fmla="*/ 86 w 238"/>
                <a:gd name="T23" fmla="*/ 191 h 200"/>
                <a:gd name="T24" fmla="*/ 105 w 238"/>
                <a:gd name="T25" fmla="*/ 191 h 200"/>
                <a:gd name="T26" fmla="*/ 133 w 238"/>
                <a:gd name="T27" fmla="*/ 191 h 200"/>
                <a:gd name="T28" fmla="*/ 133 w 238"/>
                <a:gd name="T29" fmla="*/ 191 h 200"/>
                <a:gd name="T30" fmla="*/ 143 w 238"/>
                <a:gd name="T31" fmla="*/ 181 h 200"/>
                <a:gd name="T32" fmla="*/ 162 w 238"/>
                <a:gd name="T33" fmla="*/ 172 h 200"/>
                <a:gd name="T34" fmla="*/ 181 w 238"/>
                <a:gd name="T35" fmla="*/ 162 h 200"/>
                <a:gd name="T36" fmla="*/ 190 w 238"/>
                <a:gd name="T37" fmla="*/ 152 h 200"/>
                <a:gd name="T38" fmla="*/ 200 w 238"/>
                <a:gd name="T39" fmla="*/ 133 h 200"/>
                <a:gd name="T40" fmla="*/ 210 w 238"/>
                <a:gd name="T41" fmla="*/ 124 h 200"/>
                <a:gd name="T42" fmla="*/ 219 w 238"/>
                <a:gd name="T43" fmla="*/ 105 h 200"/>
                <a:gd name="T44" fmla="*/ 238 w 238"/>
                <a:gd name="T45" fmla="*/ 95 h 200"/>
                <a:gd name="T46" fmla="*/ 238 w 238"/>
                <a:gd name="T47" fmla="*/ 86 h 200"/>
                <a:gd name="T48" fmla="*/ 238 w 238"/>
                <a:gd name="T49" fmla="*/ 76 h 200"/>
                <a:gd name="T50" fmla="*/ 238 w 238"/>
                <a:gd name="T51" fmla="*/ 76 h 200"/>
                <a:gd name="T52" fmla="*/ 229 w 238"/>
                <a:gd name="T53" fmla="*/ 76 h 200"/>
                <a:gd name="T54" fmla="*/ 219 w 238"/>
                <a:gd name="T55" fmla="*/ 57 h 200"/>
                <a:gd name="T56" fmla="*/ 229 w 238"/>
                <a:gd name="T57" fmla="*/ 38 h 200"/>
                <a:gd name="T58" fmla="*/ 219 w 238"/>
                <a:gd name="T59" fmla="*/ 0 h 200"/>
                <a:gd name="T60" fmla="*/ 200 w 238"/>
                <a:gd name="T61" fmla="*/ 0 h 200"/>
                <a:gd name="T62" fmla="*/ 190 w 238"/>
                <a:gd name="T63" fmla="*/ 0 h 200"/>
                <a:gd name="T64" fmla="*/ 181 w 238"/>
                <a:gd name="T65" fmla="*/ 0 h 200"/>
                <a:gd name="T66" fmla="*/ 162 w 238"/>
                <a:gd name="T67" fmla="*/ 19 h 200"/>
                <a:gd name="T68" fmla="*/ 162 w 238"/>
                <a:gd name="T69" fmla="*/ 19 h 200"/>
                <a:gd name="T70" fmla="*/ 143 w 238"/>
                <a:gd name="T71" fmla="*/ 28 h 200"/>
                <a:gd name="T72" fmla="*/ 143 w 238"/>
                <a:gd name="T73" fmla="*/ 47 h 200"/>
                <a:gd name="T74" fmla="*/ 133 w 238"/>
                <a:gd name="T75" fmla="*/ 57 h 200"/>
                <a:gd name="T76" fmla="*/ 114 w 238"/>
                <a:gd name="T77" fmla="*/ 57 h 200"/>
                <a:gd name="T78" fmla="*/ 114 w 238"/>
                <a:gd name="T79" fmla="*/ 47 h 200"/>
                <a:gd name="T80" fmla="*/ 105 w 238"/>
                <a:gd name="T81" fmla="*/ 47 h 200"/>
                <a:gd name="T82" fmla="*/ 86 w 238"/>
                <a:gd name="T83" fmla="*/ 76 h 200"/>
                <a:gd name="T84" fmla="*/ 67 w 238"/>
                <a:gd name="T85" fmla="*/ 76 h 200"/>
                <a:gd name="T86" fmla="*/ 67 w 238"/>
                <a:gd name="T87" fmla="*/ 47 h 200"/>
                <a:gd name="T88" fmla="*/ 57 w 238"/>
                <a:gd name="T89" fmla="*/ 38 h 200"/>
                <a:gd name="T90" fmla="*/ 57 w 238"/>
                <a:gd name="T91" fmla="*/ 95 h 200"/>
                <a:gd name="T92" fmla="*/ 38 w 238"/>
                <a:gd name="T93" fmla="*/ 105 h 200"/>
                <a:gd name="T94" fmla="*/ 28 w 238"/>
                <a:gd name="T95" fmla="*/ 105 h 200"/>
                <a:gd name="T96" fmla="*/ 19 w 238"/>
                <a:gd name="T97" fmla="*/ 95 h 200"/>
                <a:gd name="T98" fmla="*/ 19 w 238"/>
                <a:gd name="T99" fmla="*/ 95 h 200"/>
                <a:gd name="T100" fmla="*/ 9 w 238"/>
                <a:gd name="T101" fmla="*/ 95 h 200"/>
                <a:gd name="T102" fmla="*/ 0 w 238"/>
                <a:gd name="T103" fmla="*/ 95 h 2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8"/>
                <a:gd name="T157" fmla="*/ 0 h 200"/>
                <a:gd name="T158" fmla="*/ 238 w 238"/>
                <a:gd name="T159" fmla="*/ 200 h 2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8" h="200">
                  <a:moveTo>
                    <a:pt x="0" y="95"/>
                  </a:moveTo>
                  <a:lnTo>
                    <a:pt x="0" y="105"/>
                  </a:lnTo>
                  <a:lnTo>
                    <a:pt x="9" y="124"/>
                  </a:lnTo>
                  <a:lnTo>
                    <a:pt x="28" y="143"/>
                  </a:lnTo>
                  <a:lnTo>
                    <a:pt x="28" y="162"/>
                  </a:lnTo>
                  <a:lnTo>
                    <a:pt x="28" y="172"/>
                  </a:lnTo>
                  <a:lnTo>
                    <a:pt x="28" y="181"/>
                  </a:lnTo>
                  <a:lnTo>
                    <a:pt x="57" y="200"/>
                  </a:lnTo>
                  <a:lnTo>
                    <a:pt x="67" y="191"/>
                  </a:lnTo>
                  <a:lnTo>
                    <a:pt x="86" y="191"/>
                  </a:lnTo>
                  <a:lnTo>
                    <a:pt x="105" y="191"/>
                  </a:lnTo>
                  <a:lnTo>
                    <a:pt x="133" y="191"/>
                  </a:lnTo>
                  <a:lnTo>
                    <a:pt x="143" y="181"/>
                  </a:lnTo>
                  <a:lnTo>
                    <a:pt x="162" y="172"/>
                  </a:lnTo>
                  <a:lnTo>
                    <a:pt x="181" y="162"/>
                  </a:lnTo>
                  <a:lnTo>
                    <a:pt x="190" y="152"/>
                  </a:lnTo>
                  <a:lnTo>
                    <a:pt x="200" y="133"/>
                  </a:lnTo>
                  <a:lnTo>
                    <a:pt x="210" y="124"/>
                  </a:lnTo>
                  <a:lnTo>
                    <a:pt x="219" y="105"/>
                  </a:lnTo>
                  <a:lnTo>
                    <a:pt x="238" y="95"/>
                  </a:lnTo>
                  <a:lnTo>
                    <a:pt x="238" y="86"/>
                  </a:lnTo>
                  <a:lnTo>
                    <a:pt x="238" y="76"/>
                  </a:lnTo>
                  <a:lnTo>
                    <a:pt x="229" y="76"/>
                  </a:lnTo>
                  <a:lnTo>
                    <a:pt x="219" y="57"/>
                  </a:lnTo>
                  <a:lnTo>
                    <a:pt x="229" y="38"/>
                  </a:lnTo>
                  <a:lnTo>
                    <a:pt x="219" y="0"/>
                  </a:lnTo>
                  <a:lnTo>
                    <a:pt x="200" y="0"/>
                  </a:lnTo>
                  <a:lnTo>
                    <a:pt x="190" y="0"/>
                  </a:lnTo>
                  <a:lnTo>
                    <a:pt x="181" y="0"/>
                  </a:lnTo>
                  <a:lnTo>
                    <a:pt x="162" y="19"/>
                  </a:lnTo>
                  <a:lnTo>
                    <a:pt x="143" y="28"/>
                  </a:lnTo>
                  <a:lnTo>
                    <a:pt x="143" y="47"/>
                  </a:lnTo>
                  <a:lnTo>
                    <a:pt x="133" y="57"/>
                  </a:lnTo>
                  <a:lnTo>
                    <a:pt x="114" y="57"/>
                  </a:lnTo>
                  <a:lnTo>
                    <a:pt x="114" y="47"/>
                  </a:lnTo>
                  <a:lnTo>
                    <a:pt x="105" y="47"/>
                  </a:lnTo>
                  <a:lnTo>
                    <a:pt x="86" y="76"/>
                  </a:lnTo>
                  <a:lnTo>
                    <a:pt x="67" y="76"/>
                  </a:lnTo>
                  <a:lnTo>
                    <a:pt x="67" y="47"/>
                  </a:lnTo>
                  <a:lnTo>
                    <a:pt x="57" y="38"/>
                  </a:lnTo>
                  <a:lnTo>
                    <a:pt x="57" y="95"/>
                  </a:lnTo>
                  <a:lnTo>
                    <a:pt x="38" y="105"/>
                  </a:lnTo>
                  <a:lnTo>
                    <a:pt x="28" y="105"/>
                  </a:lnTo>
                  <a:lnTo>
                    <a:pt x="19" y="95"/>
                  </a:lnTo>
                  <a:lnTo>
                    <a:pt x="9" y="95"/>
                  </a:lnTo>
                  <a:lnTo>
                    <a:pt x="0" y="95"/>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5" name="Freeform 7">
              <a:extLst>
                <a:ext uri="{FF2B5EF4-FFF2-40B4-BE49-F238E27FC236}">
                  <a16:creationId xmlns:a16="http://schemas.microsoft.com/office/drawing/2014/main" id="{1D0D80F8-7213-4891-AF94-A6A71277BA3B}"/>
                </a:ext>
              </a:extLst>
            </p:cNvPr>
            <p:cNvSpPr>
              <a:spLocks/>
            </p:cNvSpPr>
            <p:nvPr/>
          </p:nvSpPr>
          <p:spPr bwMode="gray">
            <a:xfrm>
              <a:off x="2875" y="2309"/>
              <a:ext cx="38" cy="28"/>
            </a:xfrm>
            <a:custGeom>
              <a:avLst/>
              <a:gdLst>
                <a:gd name="T0" fmla="*/ 38 w 38"/>
                <a:gd name="T1" fmla="*/ 0 h 28"/>
                <a:gd name="T2" fmla="*/ 38 w 38"/>
                <a:gd name="T3" fmla="*/ 9 h 28"/>
                <a:gd name="T4" fmla="*/ 38 w 38"/>
                <a:gd name="T5" fmla="*/ 28 h 28"/>
                <a:gd name="T6" fmla="*/ 19 w 38"/>
                <a:gd name="T7" fmla="*/ 19 h 28"/>
                <a:gd name="T8" fmla="*/ 9 w 38"/>
                <a:gd name="T9" fmla="*/ 9 h 28"/>
                <a:gd name="T10" fmla="*/ 0 w 38"/>
                <a:gd name="T11" fmla="*/ 9 h 28"/>
                <a:gd name="T12" fmla="*/ 0 w 38"/>
                <a:gd name="T13" fmla="*/ 9 h 28"/>
                <a:gd name="T14" fmla="*/ 0 w 38"/>
                <a:gd name="T15" fmla="*/ 0 h 28"/>
                <a:gd name="T16" fmla="*/ 9 w 38"/>
                <a:gd name="T17" fmla="*/ 0 h 28"/>
                <a:gd name="T18" fmla="*/ 19 w 38"/>
                <a:gd name="T19" fmla="*/ 0 h 28"/>
                <a:gd name="T20" fmla="*/ 28 w 38"/>
                <a:gd name="T21" fmla="*/ 0 h 28"/>
                <a:gd name="T22" fmla="*/ 38 w 38"/>
                <a:gd name="T23" fmla="*/ 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28"/>
                <a:gd name="T38" fmla="*/ 38 w 38"/>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28">
                  <a:moveTo>
                    <a:pt x="38" y="0"/>
                  </a:moveTo>
                  <a:lnTo>
                    <a:pt x="38" y="9"/>
                  </a:lnTo>
                  <a:lnTo>
                    <a:pt x="38" y="28"/>
                  </a:lnTo>
                  <a:lnTo>
                    <a:pt x="19" y="19"/>
                  </a:lnTo>
                  <a:lnTo>
                    <a:pt x="9" y="9"/>
                  </a:lnTo>
                  <a:lnTo>
                    <a:pt x="0" y="9"/>
                  </a:lnTo>
                  <a:lnTo>
                    <a:pt x="0" y="0"/>
                  </a:lnTo>
                  <a:lnTo>
                    <a:pt x="9" y="0"/>
                  </a:lnTo>
                  <a:lnTo>
                    <a:pt x="19" y="0"/>
                  </a:lnTo>
                  <a:lnTo>
                    <a:pt x="28" y="0"/>
                  </a:lnTo>
                  <a:lnTo>
                    <a:pt x="38"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6" name="Freeform 8">
              <a:extLst>
                <a:ext uri="{FF2B5EF4-FFF2-40B4-BE49-F238E27FC236}">
                  <a16:creationId xmlns:a16="http://schemas.microsoft.com/office/drawing/2014/main" id="{1D21F491-CEF6-4A45-9EBC-22C6EF73F91B}"/>
                </a:ext>
              </a:extLst>
            </p:cNvPr>
            <p:cNvSpPr>
              <a:spLocks/>
            </p:cNvSpPr>
            <p:nvPr/>
          </p:nvSpPr>
          <p:spPr bwMode="gray">
            <a:xfrm>
              <a:off x="2875" y="2309"/>
              <a:ext cx="38" cy="28"/>
            </a:xfrm>
            <a:custGeom>
              <a:avLst/>
              <a:gdLst>
                <a:gd name="T0" fmla="*/ 38 w 38"/>
                <a:gd name="T1" fmla="*/ 0 h 28"/>
                <a:gd name="T2" fmla="*/ 38 w 38"/>
                <a:gd name="T3" fmla="*/ 9 h 28"/>
                <a:gd name="T4" fmla="*/ 38 w 38"/>
                <a:gd name="T5" fmla="*/ 28 h 28"/>
                <a:gd name="T6" fmla="*/ 19 w 38"/>
                <a:gd name="T7" fmla="*/ 19 h 28"/>
                <a:gd name="T8" fmla="*/ 9 w 38"/>
                <a:gd name="T9" fmla="*/ 9 h 28"/>
                <a:gd name="T10" fmla="*/ 0 w 38"/>
                <a:gd name="T11" fmla="*/ 9 h 28"/>
                <a:gd name="T12" fmla="*/ 0 w 38"/>
                <a:gd name="T13" fmla="*/ 9 h 28"/>
                <a:gd name="T14" fmla="*/ 0 w 38"/>
                <a:gd name="T15" fmla="*/ 0 h 28"/>
                <a:gd name="T16" fmla="*/ 9 w 38"/>
                <a:gd name="T17" fmla="*/ 0 h 28"/>
                <a:gd name="T18" fmla="*/ 19 w 38"/>
                <a:gd name="T19" fmla="*/ 0 h 28"/>
                <a:gd name="T20" fmla="*/ 28 w 38"/>
                <a:gd name="T21" fmla="*/ 0 h 28"/>
                <a:gd name="T22" fmla="*/ 38 w 38"/>
                <a:gd name="T23" fmla="*/ 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28"/>
                <a:gd name="T38" fmla="*/ 38 w 38"/>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28">
                  <a:moveTo>
                    <a:pt x="38" y="0"/>
                  </a:moveTo>
                  <a:lnTo>
                    <a:pt x="38" y="9"/>
                  </a:lnTo>
                  <a:lnTo>
                    <a:pt x="38" y="28"/>
                  </a:lnTo>
                  <a:lnTo>
                    <a:pt x="19" y="19"/>
                  </a:lnTo>
                  <a:lnTo>
                    <a:pt x="9" y="9"/>
                  </a:lnTo>
                  <a:lnTo>
                    <a:pt x="0" y="9"/>
                  </a:lnTo>
                  <a:lnTo>
                    <a:pt x="0" y="0"/>
                  </a:lnTo>
                  <a:lnTo>
                    <a:pt x="9" y="0"/>
                  </a:lnTo>
                  <a:lnTo>
                    <a:pt x="19" y="0"/>
                  </a:lnTo>
                  <a:lnTo>
                    <a:pt x="28" y="0"/>
                  </a:lnTo>
                  <a:lnTo>
                    <a:pt x="38"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7" name="Freeform 9">
              <a:extLst>
                <a:ext uri="{FF2B5EF4-FFF2-40B4-BE49-F238E27FC236}">
                  <a16:creationId xmlns:a16="http://schemas.microsoft.com/office/drawing/2014/main" id="{B5555E75-0FDB-418C-8AF8-F1793DC3F4F5}"/>
                </a:ext>
              </a:extLst>
            </p:cNvPr>
            <p:cNvSpPr>
              <a:spLocks/>
            </p:cNvSpPr>
            <p:nvPr/>
          </p:nvSpPr>
          <p:spPr bwMode="gray">
            <a:xfrm>
              <a:off x="2817" y="2252"/>
              <a:ext cx="20" cy="47"/>
            </a:xfrm>
            <a:custGeom>
              <a:avLst/>
              <a:gdLst>
                <a:gd name="T0" fmla="*/ 0 w 20"/>
                <a:gd name="T1" fmla="*/ 9 h 47"/>
                <a:gd name="T2" fmla="*/ 10 w 20"/>
                <a:gd name="T3" fmla="*/ 9 h 47"/>
                <a:gd name="T4" fmla="*/ 10 w 20"/>
                <a:gd name="T5" fmla="*/ 0 h 47"/>
                <a:gd name="T6" fmla="*/ 10 w 20"/>
                <a:gd name="T7" fmla="*/ 0 h 47"/>
                <a:gd name="T8" fmla="*/ 10 w 20"/>
                <a:gd name="T9" fmla="*/ 9 h 47"/>
                <a:gd name="T10" fmla="*/ 20 w 20"/>
                <a:gd name="T11" fmla="*/ 9 h 47"/>
                <a:gd name="T12" fmla="*/ 20 w 20"/>
                <a:gd name="T13" fmla="*/ 28 h 47"/>
                <a:gd name="T14" fmla="*/ 10 w 20"/>
                <a:gd name="T15" fmla="*/ 38 h 47"/>
                <a:gd name="T16" fmla="*/ 10 w 20"/>
                <a:gd name="T17" fmla="*/ 38 h 47"/>
                <a:gd name="T18" fmla="*/ 10 w 20"/>
                <a:gd name="T19" fmla="*/ 38 h 47"/>
                <a:gd name="T20" fmla="*/ 0 w 20"/>
                <a:gd name="T21" fmla="*/ 47 h 47"/>
                <a:gd name="T22" fmla="*/ 0 w 20"/>
                <a:gd name="T23" fmla="*/ 38 h 47"/>
                <a:gd name="T24" fmla="*/ 0 w 20"/>
                <a:gd name="T25" fmla="*/ 28 h 47"/>
                <a:gd name="T26" fmla="*/ 0 w 20"/>
                <a:gd name="T27" fmla="*/ 19 h 47"/>
                <a:gd name="T28" fmla="*/ 0 w 20"/>
                <a:gd name="T29" fmla="*/ 9 h 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7"/>
                <a:gd name="T47" fmla="*/ 20 w 20"/>
                <a:gd name="T48" fmla="*/ 47 h 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7">
                  <a:moveTo>
                    <a:pt x="0" y="9"/>
                  </a:moveTo>
                  <a:lnTo>
                    <a:pt x="10" y="9"/>
                  </a:lnTo>
                  <a:lnTo>
                    <a:pt x="10" y="0"/>
                  </a:lnTo>
                  <a:lnTo>
                    <a:pt x="10" y="9"/>
                  </a:lnTo>
                  <a:lnTo>
                    <a:pt x="20" y="9"/>
                  </a:lnTo>
                  <a:lnTo>
                    <a:pt x="20" y="28"/>
                  </a:lnTo>
                  <a:lnTo>
                    <a:pt x="10" y="38"/>
                  </a:lnTo>
                  <a:lnTo>
                    <a:pt x="0" y="47"/>
                  </a:lnTo>
                  <a:lnTo>
                    <a:pt x="0" y="38"/>
                  </a:lnTo>
                  <a:lnTo>
                    <a:pt x="0" y="28"/>
                  </a:lnTo>
                  <a:lnTo>
                    <a:pt x="0" y="19"/>
                  </a:lnTo>
                  <a:lnTo>
                    <a:pt x="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8" name="Freeform 10">
              <a:extLst>
                <a:ext uri="{FF2B5EF4-FFF2-40B4-BE49-F238E27FC236}">
                  <a16:creationId xmlns:a16="http://schemas.microsoft.com/office/drawing/2014/main" id="{FA46E41B-37CA-4583-A63A-D58F7C90F658}"/>
                </a:ext>
              </a:extLst>
            </p:cNvPr>
            <p:cNvSpPr>
              <a:spLocks/>
            </p:cNvSpPr>
            <p:nvPr/>
          </p:nvSpPr>
          <p:spPr bwMode="gray">
            <a:xfrm>
              <a:off x="2817" y="2252"/>
              <a:ext cx="20" cy="47"/>
            </a:xfrm>
            <a:custGeom>
              <a:avLst/>
              <a:gdLst>
                <a:gd name="T0" fmla="*/ 0 w 20"/>
                <a:gd name="T1" fmla="*/ 9 h 47"/>
                <a:gd name="T2" fmla="*/ 10 w 20"/>
                <a:gd name="T3" fmla="*/ 9 h 47"/>
                <a:gd name="T4" fmla="*/ 10 w 20"/>
                <a:gd name="T5" fmla="*/ 0 h 47"/>
                <a:gd name="T6" fmla="*/ 10 w 20"/>
                <a:gd name="T7" fmla="*/ 0 h 47"/>
                <a:gd name="T8" fmla="*/ 10 w 20"/>
                <a:gd name="T9" fmla="*/ 9 h 47"/>
                <a:gd name="T10" fmla="*/ 20 w 20"/>
                <a:gd name="T11" fmla="*/ 9 h 47"/>
                <a:gd name="T12" fmla="*/ 20 w 20"/>
                <a:gd name="T13" fmla="*/ 28 h 47"/>
                <a:gd name="T14" fmla="*/ 10 w 20"/>
                <a:gd name="T15" fmla="*/ 38 h 47"/>
                <a:gd name="T16" fmla="*/ 10 w 20"/>
                <a:gd name="T17" fmla="*/ 38 h 47"/>
                <a:gd name="T18" fmla="*/ 10 w 20"/>
                <a:gd name="T19" fmla="*/ 38 h 47"/>
                <a:gd name="T20" fmla="*/ 0 w 20"/>
                <a:gd name="T21" fmla="*/ 47 h 47"/>
                <a:gd name="T22" fmla="*/ 0 w 20"/>
                <a:gd name="T23" fmla="*/ 38 h 47"/>
                <a:gd name="T24" fmla="*/ 0 w 20"/>
                <a:gd name="T25" fmla="*/ 28 h 47"/>
                <a:gd name="T26" fmla="*/ 0 w 20"/>
                <a:gd name="T27" fmla="*/ 19 h 47"/>
                <a:gd name="T28" fmla="*/ 0 w 20"/>
                <a:gd name="T29" fmla="*/ 9 h 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7"/>
                <a:gd name="T47" fmla="*/ 20 w 20"/>
                <a:gd name="T48" fmla="*/ 47 h 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7">
                  <a:moveTo>
                    <a:pt x="0" y="9"/>
                  </a:moveTo>
                  <a:lnTo>
                    <a:pt x="10" y="9"/>
                  </a:lnTo>
                  <a:lnTo>
                    <a:pt x="10" y="0"/>
                  </a:lnTo>
                  <a:lnTo>
                    <a:pt x="10" y="9"/>
                  </a:lnTo>
                  <a:lnTo>
                    <a:pt x="20" y="9"/>
                  </a:lnTo>
                  <a:lnTo>
                    <a:pt x="20" y="28"/>
                  </a:lnTo>
                  <a:lnTo>
                    <a:pt x="10" y="38"/>
                  </a:lnTo>
                  <a:lnTo>
                    <a:pt x="0" y="47"/>
                  </a:lnTo>
                  <a:lnTo>
                    <a:pt x="0" y="38"/>
                  </a:lnTo>
                  <a:lnTo>
                    <a:pt x="0" y="28"/>
                  </a:lnTo>
                  <a:lnTo>
                    <a:pt x="0" y="19"/>
                  </a:lnTo>
                  <a:lnTo>
                    <a:pt x="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2" name="Freeform 11">
              <a:extLst>
                <a:ext uri="{FF2B5EF4-FFF2-40B4-BE49-F238E27FC236}">
                  <a16:creationId xmlns:a16="http://schemas.microsoft.com/office/drawing/2014/main" id="{FD440928-DCAA-4246-B23E-63DA7239C721}"/>
                </a:ext>
              </a:extLst>
            </p:cNvPr>
            <p:cNvSpPr>
              <a:spLocks/>
            </p:cNvSpPr>
            <p:nvPr/>
          </p:nvSpPr>
          <p:spPr bwMode="gray">
            <a:xfrm>
              <a:off x="2817" y="2223"/>
              <a:ext cx="10" cy="29"/>
            </a:xfrm>
            <a:custGeom>
              <a:avLst/>
              <a:gdLst>
                <a:gd name="T0" fmla="*/ 10 w 10"/>
                <a:gd name="T1" fmla="*/ 0 h 29"/>
                <a:gd name="T2" fmla="*/ 10 w 10"/>
                <a:gd name="T3" fmla="*/ 0 h 29"/>
                <a:gd name="T4" fmla="*/ 10 w 10"/>
                <a:gd name="T5" fmla="*/ 10 h 29"/>
                <a:gd name="T6" fmla="*/ 10 w 10"/>
                <a:gd name="T7" fmla="*/ 29 h 29"/>
                <a:gd name="T8" fmla="*/ 10 w 10"/>
                <a:gd name="T9" fmla="*/ 29 h 29"/>
                <a:gd name="T10" fmla="*/ 0 w 10"/>
                <a:gd name="T11" fmla="*/ 19 h 29"/>
                <a:gd name="T12" fmla="*/ 0 w 10"/>
                <a:gd name="T13" fmla="*/ 10 h 29"/>
                <a:gd name="T14" fmla="*/ 0 w 10"/>
                <a:gd name="T15" fmla="*/ 10 h 29"/>
                <a:gd name="T16" fmla="*/ 10 w 10"/>
                <a:gd name="T17" fmla="*/ 10 h 29"/>
                <a:gd name="T18" fmla="*/ 10 w 10"/>
                <a:gd name="T19" fmla="*/ 0 h 29"/>
                <a:gd name="T20" fmla="*/ 10 w 10"/>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29"/>
                <a:gd name="T35" fmla="*/ 10 w 10"/>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29">
                  <a:moveTo>
                    <a:pt x="10" y="0"/>
                  </a:moveTo>
                  <a:lnTo>
                    <a:pt x="10" y="0"/>
                  </a:lnTo>
                  <a:lnTo>
                    <a:pt x="10" y="10"/>
                  </a:lnTo>
                  <a:lnTo>
                    <a:pt x="10" y="29"/>
                  </a:lnTo>
                  <a:lnTo>
                    <a:pt x="0" y="19"/>
                  </a:lnTo>
                  <a:lnTo>
                    <a:pt x="0" y="10"/>
                  </a:lnTo>
                  <a:lnTo>
                    <a:pt x="10" y="1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3" name="Freeform 12">
              <a:extLst>
                <a:ext uri="{FF2B5EF4-FFF2-40B4-BE49-F238E27FC236}">
                  <a16:creationId xmlns:a16="http://schemas.microsoft.com/office/drawing/2014/main" id="{B5425621-9381-46B0-B9CA-72B2D6508EA2}"/>
                </a:ext>
              </a:extLst>
            </p:cNvPr>
            <p:cNvSpPr>
              <a:spLocks/>
            </p:cNvSpPr>
            <p:nvPr/>
          </p:nvSpPr>
          <p:spPr bwMode="gray">
            <a:xfrm>
              <a:off x="2817" y="2223"/>
              <a:ext cx="10" cy="29"/>
            </a:xfrm>
            <a:custGeom>
              <a:avLst/>
              <a:gdLst>
                <a:gd name="T0" fmla="*/ 10 w 10"/>
                <a:gd name="T1" fmla="*/ 0 h 29"/>
                <a:gd name="T2" fmla="*/ 10 w 10"/>
                <a:gd name="T3" fmla="*/ 0 h 29"/>
                <a:gd name="T4" fmla="*/ 10 w 10"/>
                <a:gd name="T5" fmla="*/ 10 h 29"/>
                <a:gd name="T6" fmla="*/ 10 w 10"/>
                <a:gd name="T7" fmla="*/ 29 h 29"/>
                <a:gd name="T8" fmla="*/ 10 w 10"/>
                <a:gd name="T9" fmla="*/ 29 h 29"/>
                <a:gd name="T10" fmla="*/ 0 w 10"/>
                <a:gd name="T11" fmla="*/ 19 h 29"/>
                <a:gd name="T12" fmla="*/ 0 w 10"/>
                <a:gd name="T13" fmla="*/ 10 h 29"/>
                <a:gd name="T14" fmla="*/ 0 w 10"/>
                <a:gd name="T15" fmla="*/ 10 h 29"/>
                <a:gd name="T16" fmla="*/ 10 w 10"/>
                <a:gd name="T17" fmla="*/ 10 h 29"/>
                <a:gd name="T18" fmla="*/ 10 w 10"/>
                <a:gd name="T19" fmla="*/ 0 h 29"/>
                <a:gd name="T20" fmla="*/ 10 w 10"/>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29"/>
                <a:gd name="T35" fmla="*/ 10 w 10"/>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29">
                  <a:moveTo>
                    <a:pt x="10" y="0"/>
                  </a:moveTo>
                  <a:lnTo>
                    <a:pt x="10" y="0"/>
                  </a:lnTo>
                  <a:lnTo>
                    <a:pt x="10" y="10"/>
                  </a:lnTo>
                  <a:lnTo>
                    <a:pt x="10" y="29"/>
                  </a:lnTo>
                  <a:lnTo>
                    <a:pt x="0" y="19"/>
                  </a:lnTo>
                  <a:lnTo>
                    <a:pt x="0" y="10"/>
                  </a:lnTo>
                  <a:lnTo>
                    <a:pt x="10" y="1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6" name="Freeform 13">
              <a:extLst>
                <a:ext uri="{FF2B5EF4-FFF2-40B4-BE49-F238E27FC236}">
                  <a16:creationId xmlns:a16="http://schemas.microsoft.com/office/drawing/2014/main" id="{722101FC-9357-4876-946D-01A216EAC4C1}"/>
                </a:ext>
              </a:extLst>
            </p:cNvPr>
            <p:cNvSpPr>
              <a:spLocks/>
            </p:cNvSpPr>
            <p:nvPr/>
          </p:nvSpPr>
          <p:spPr bwMode="gray">
            <a:xfrm>
              <a:off x="3037" y="2357"/>
              <a:ext cx="38" cy="9"/>
            </a:xfrm>
            <a:custGeom>
              <a:avLst/>
              <a:gdLst>
                <a:gd name="T0" fmla="*/ 0 w 38"/>
                <a:gd name="T1" fmla="*/ 0 h 9"/>
                <a:gd name="T2" fmla="*/ 0 w 38"/>
                <a:gd name="T3" fmla="*/ 0 h 9"/>
                <a:gd name="T4" fmla="*/ 9 w 38"/>
                <a:gd name="T5" fmla="*/ 0 h 9"/>
                <a:gd name="T6" fmla="*/ 19 w 38"/>
                <a:gd name="T7" fmla="*/ 0 h 9"/>
                <a:gd name="T8" fmla="*/ 19 w 38"/>
                <a:gd name="T9" fmla="*/ 0 h 9"/>
                <a:gd name="T10" fmla="*/ 28 w 38"/>
                <a:gd name="T11" fmla="*/ 0 h 9"/>
                <a:gd name="T12" fmla="*/ 28 w 38"/>
                <a:gd name="T13" fmla="*/ 0 h 9"/>
                <a:gd name="T14" fmla="*/ 38 w 38"/>
                <a:gd name="T15" fmla="*/ 0 h 9"/>
                <a:gd name="T16" fmla="*/ 38 w 38"/>
                <a:gd name="T17" fmla="*/ 0 h 9"/>
                <a:gd name="T18" fmla="*/ 38 w 38"/>
                <a:gd name="T19" fmla="*/ 9 h 9"/>
                <a:gd name="T20" fmla="*/ 38 w 38"/>
                <a:gd name="T21" fmla="*/ 9 h 9"/>
                <a:gd name="T22" fmla="*/ 28 w 38"/>
                <a:gd name="T23" fmla="*/ 9 h 9"/>
                <a:gd name="T24" fmla="*/ 19 w 38"/>
                <a:gd name="T25" fmla="*/ 9 h 9"/>
                <a:gd name="T26" fmla="*/ 9 w 38"/>
                <a:gd name="T27" fmla="*/ 0 h 9"/>
                <a:gd name="T28" fmla="*/ 0 w 38"/>
                <a:gd name="T29" fmla="*/ 0 h 9"/>
                <a:gd name="T30" fmla="*/ 0 w 38"/>
                <a:gd name="T31" fmla="*/ 0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9"/>
                <a:gd name="T50" fmla="*/ 38 w 38"/>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9">
                  <a:moveTo>
                    <a:pt x="0" y="0"/>
                  </a:moveTo>
                  <a:lnTo>
                    <a:pt x="0" y="0"/>
                  </a:lnTo>
                  <a:lnTo>
                    <a:pt x="9" y="0"/>
                  </a:lnTo>
                  <a:lnTo>
                    <a:pt x="19" y="0"/>
                  </a:lnTo>
                  <a:lnTo>
                    <a:pt x="28" y="0"/>
                  </a:lnTo>
                  <a:lnTo>
                    <a:pt x="38" y="0"/>
                  </a:lnTo>
                  <a:lnTo>
                    <a:pt x="38" y="9"/>
                  </a:lnTo>
                  <a:lnTo>
                    <a:pt x="28" y="9"/>
                  </a:lnTo>
                  <a:lnTo>
                    <a:pt x="19" y="9"/>
                  </a:lnTo>
                  <a:lnTo>
                    <a:pt x="9"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8" name="Freeform 14">
              <a:extLst>
                <a:ext uri="{FF2B5EF4-FFF2-40B4-BE49-F238E27FC236}">
                  <a16:creationId xmlns:a16="http://schemas.microsoft.com/office/drawing/2014/main" id="{79E7744B-F304-4778-BE72-2DDC560E7A22}"/>
                </a:ext>
              </a:extLst>
            </p:cNvPr>
            <p:cNvSpPr>
              <a:spLocks/>
            </p:cNvSpPr>
            <p:nvPr/>
          </p:nvSpPr>
          <p:spPr bwMode="gray">
            <a:xfrm>
              <a:off x="3037" y="2357"/>
              <a:ext cx="38" cy="9"/>
            </a:xfrm>
            <a:custGeom>
              <a:avLst/>
              <a:gdLst>
                <a:gd name="T0" fmla="*/ 0 w 38"/>
                <a:gd name="T1" fmla="*/ 0 h 9"/>
                <a:gd name="T2" fmla="*/ 0 w 38"/>
                <a:gd name="T3" fmla="*/ 0 h 9"/>
                <a:gd name="T4" fmla="*/ 9 w 38"/>
                <a:gd name="T5" fmla="*/ 0 h 9"/>
                <a:gd name="T6" fmla="*/ 19 w 38"/>
                <a:gd name="T7" fmla="*/ 0 h 9"/>
                <a:gd name="T8" fmla="*/ 19 w 38"/>
                <a:gd name="T9" fmla="*/ 0 h 9"/>
                <a:gd name="T10" fmla="*/ 28 w 38"/>
                <a:gd name="T11" fmla="*/ 0 h 9"/>
                <a:gd name="T12" fmla="*/ 28 w 38"/>
                <a:gd name="T13" fmla="*/ 0 h 9"/>
                <a:gd name="T14" fmla="*/ 38 w 38"/>
                <a:gd name="T15" fmla="*/ 0 h 9"/>
                <a:gd name="T16" fmla="*/ 38 w 38"/>
                <a:gd name="T17" fmla="*/ 0 h 9"/>
                <a:gd name="T18" fmla="*/ 38 w 38"/>
                <a:gd name="T19" fmla="*/ 9 h 9"/>
                <a:gd name="T20" fmla="*/ 38 w 38"/>
                <a:gd name="T21" fmla="*/ 9 h 9"/>
                <a:gd name="T22" fmla="*/ 28 w 38"/>
                <a:gd name="T23" fmla="*/ 9 h 9"/>
                <a:gd name="T24" fmla="*/ 19 w 38"/>
                <a:gd name="T25" fmla="*/ 9 h 9"/>
                <a:gd name="T26" fmla="*/ 9 w 38"/>
                <a:gd name="T27" fmla="*/ 0 h 9"/>
                <a:gd name="T28" fmla="*/ 0 w 38"/>
                <a:gd name="T29" fmla="*/ 0 h 9"/>
                <a:gd name="T30" fmla="*/ 0 w 38"/>
                <a:gd name="T31" fmla="*/ 0 h 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9"/>
                <a:gd name="T50" fmla="*/ 38 w 38"/>
                <a:gd name="T51" fmla="*/ 9 h 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9">
                  <a:moveTo>
                    <a:pt x="0" y="0"/>
                  </a:moveTo>
                  <a:lnTo>
                    <a:pt x="0" y="0"/>
                  </a:lnTo>
                  <a:lnTo>
                    <a:pt x="9" y="0"/>
                  </a:lnTo>
                  <a:lnTo>
                    <a:pt x="19" y="0"/>
                  </a:lnTo>
                  <a:lnTo>
                    <a:pt x="28" y="0"/>
                  </a:lnTo>
                  <a:lnTo>
                    <a:pt x="38" y="0"/>
                  </a:lnTo>
                  <a:lnTo>
                    <a:pt x="38" y="9"/>
                  </a:lnTo>
                  <a:lnTo>
                    <a:pt x="28" y="9"/>
                  </a:lnTo>
                  <a:lnTo>
                    <a:pt x="19" y="9"/>
                  </a:lnTo>
                  <a:lnTo>
                    <a:pt x="9"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9" name="Freeform 15">
              <a:extLst>
                <a:ext uri="{FF2B5EF4-FFF2-40B4-BE49-F238E27FC236}">
                  <a16:creationId xmlns:a16="http://schemas.microsoft.com/office/drawing/2014/main" id="{2FE4EE25-3F21-4951-98D6-0237244CAC77}"/>
                </a:ext>
              </a:extLst>
            </p:cNvPr>
            <p:cNvSpPr>
              <a:spLocks/>
            </p:cNvSpPr>
            <p:nvPr/>
          </p:nvSpPr>
          <p:spPr bwMode="gray">
            <a:xfrm>
              <a:off x="4152" y="1326"/>
              <a:ext cx="86" cy="38"/>
            </a:xfrm>
            <a:custGeom>
              <a:avLst/>
              <a:gdLst>
                <a:gd name="T0" fmla="*/ 86 w 86"/>
                <a:gd name="T1" fmla="*/ 29 h 38"/>
                <a:gd name="T2" fmla="*/ 86 w 86"/>
                <a:gd name="T3" fmla="*/ 19 h 38"/>
                <a:gd name="T4" fmla="*/ 86 w 86"/>
                <a:gd name="T5" fmla="*/ 9 h 38"/>
                <a:gd name="T6" fmla="*/ 86 w 86"/>
                <a:gd name="T7" fmla="*/ 9 h 38"/>
                <a:gd name="T8" fmla="*/ 76 w 86"/>
                <a:gd name="T9" fmla="*/ 9 h 38"/>
                <a:gd name="T10" fmla="*/ 67 w 86"/>
                <a:gd name="T11" fmla="*/ 0 h 38"/>
                <a:gd name="T12" fmla="*/ 67 w 86"/>
                <a:gd name="T13" fmla="*/ 0 h 38"/>
                <a:gd name="T14" fmla="*/ 57 w 86"/>
                <a:gd name="T15" fmla="*/ 9 h 38"/>
                <a:gd name="T16" fmla="*/ 57 w 86"/>
                <a:gd name="T17" fmla="*/ 9 h 38"/>
                <a:gd name="T18" fmla="*/ 57 w 86"/>
                <a:gd name="T19" fmla="*/ 0 h 38"/>
                <a:gd name="T20" fmla="*/ 57 w 86"/>
                <a:gd name="T21" fmla="*/ 0 h 38"/>
                <a:gd name="T22" fmla="*/ 57 w 86"/>
                <a:gd name="T23" fmla="*/ 0 h 38"/>
                <a:gd name="T24" fmla="*/ 48 w 86"/>
                <a:gd name="T25" fmla="*/ 0 h 38"/>
                <a:gd name="T26" fmla="*/ 48 w 86"/>
                <a:gd name="T27" fmla="*/ 0 h 38"/>
                <a:gd name="T28" fmla="*/ 48 w 86"/>
                <a:gd name="T29" fmla="*/ 0 h 38"/>
                <a:gd name="T30" fmla="*/ 48 w 86"/>
                <a:gd name="T31" fmla="*/ 0 h 38"/>
                <a:gd name="T32" fmla="*/ 38 w 86"/>
                <a:gd name="T33" fmla="*/ 0 h 38"/>
                <a:gd name="T34" fmla="*/ 38 w 86"/>
                <a:gd name="T35" fmla="*/ 0 h 38"/>
                <a:gd name="T36" fmla="*/ 38 w 86"/>
                <a:gd name="T37" fmla="*/ 0 h 38"/>
                <a:gd name="T38" fmla="*/ 29 w 86"/>
                <a:gd name="T39" fmla="*/ 0 h 38"/>
                <a:gd name="T40" fmla="*/ 29 w 86"/>
                <a:gd name="T41" fmla="*/ 0 h 38"/>
                <a:gd name="T42" fmla="*/ 29 w 86"/>
                <a:gd name="T43" fmla="*/ 9 h 38"/>
                <a:gd name="T44" fmla="*/ 29 w 86"/>
                <a:gd name="T45" fmla="*/ 9 h 38"/>
                <a:gd name="T46" fmla="*/ 29 w 86"/>
                <a:gd name="T47" fmla="*/ 9 h 38"/>
                <a:gd name="T48" fmla="*/ 19 w 86"/>
                <a:gd name="T49" fmla="*/ 9 h 38"/>
                <a:gd name="T50" fmla="*/ 9 w 86"/>
                <a:gd name="T51" fmla="*/ 19 h 38"/>
                <a:gd name="T52" fmla="*/ 9 w 86"/>
                <a:gd name="T53" fmla="*/ 29 h 38"/>
                <a:gd name="T54" fmla="*/ 9 w 86"/>
                <a:gd name="T55" fmla="*/ 29 h 38"/>
                <a:gd name="T56" fmla="*/ 0 w 86"/>
                <a:gd name="T57" fmla="*/ 29 h 38"/>
                <a:gd name="T58" fmla="*/ 0 w 86"/>
                <a:gd name="T59" fmla="*/ 38 h 38"/>
                <a:gd name="T60" fmla="*/ 9 w 86"/>
                <a:gd name="T61" fmla="*/ 38 h 38"/>
                <a:gd name="T62" fmla="*/ 19 w 86"/>
                <a:gd name="T63" fmla="*/ 38 h 38"/>
                <a:gd name="T64" fmla="*/ 29 w 86"/>
                <a:gd name="T65" fmla="*/ 38 h 38"/>
                <a:gd name="T66" fmla="*/ 38 w 86"/>
                <a:gd name="T67" fmla="*/ 29 h 38"/>
                <a:gd name="T68" fmla="*/ 48 w 86"/>
                <a:gd name="T69" fmla="*/ 29 h 38"/>
                <a:gd name="T70" fmla="*/ 57 w 86"/>
                <a:gd name="T71" fmla="*/ 38 h 38"/>
                <a:gd name="T72" fmla="*/ 57 w 86"/>
                <a:gd name="T73" fmla="*/ 29 h 38"/>
                <a:gd name="T74" fmla="*/ 67 w 86"/>
                <a:gd name="T75" fmla="*/ 29 h 38"/>
                <a:gd name="T76" fmla="*/ 86 w 86"/>
                <a:gd name="T77" fmla="*/ 29 h 3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6"/>
                <a:gd name="T118" fmla="*/ 0 h 38"/>
                <a:gd name="T119" fmla="*/ 86 w 86"/>
                <a:gd name="T120" fmla="*/ 38 h 3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6" h="38">
                  <a:moveTo>
                    <a:pt x="86" y="29"/>
                  </a:moveTo>
                  <a:lnTo>
                    <a:pt x="86" y="19"/>
                  </a:lnTo>
                  <a:lnTo>
                    <a:pt x="86" y="9"/>
                  </a:lnTo>
                  <a:lnTo>
                    <a:pt x="76" y="9"/>
                  </a:lnTo>
                  <a:lnTo>
                    <a:pt x="67" y="0"/>
                  </a:lnTo>
                  <a:lnTo>
                    <a:pt x="57" y="9"/>
                  </a:lnTo>
                  <a:lnTo>
                    <a:pt x="57" y="0"/>
                  </a:lnTo>
                  <a:lnTo>
                    <a:pt x="48" y="0"/>
                  </a:lnTo>
                  <a:lnTo>
                    <a:pt x="38" y="0"/>
                  </a:lnTo>
                  <a:lnTo>
                    <a:pt x="29" y="0"/>
                  </a:lnTo>
                  <a:lnTo>
                    <a:pt x="29" y="9"/>
                  </a:lnTo>
                  <a:lnTo>
                    <a:pt x="19" y="9"/>
                  </a:lnTo>
                  <a:lnTo>
                    <a:pt x="9" y="19"/>
                  </a:lnTo>
                  <a:lnTo>
                    <a:pt x="9" y="29"/>
                  </a:lnTo>
                  <a:lnTo>
                    <a:pt x="0" y="29"/>
                  </a:lnTo>
                  <a:lnTo>
                    <a:pt x="0" y="38"/>
                  </a:lnTo>
                  <a:lnTo>
                    <a:pt x="9" y="38"/>
                  </a:lnTo>
                  <a:lnTo>
                    <a:pt x="19" y="38"/>
                  </a:lnTo>
                  <a:lnTo>
                    <a:pt x="29" y="38"/>
                  </a:lnTo>
                  <a:lnTo>
                    <a:pt x="38" y="29"/>
                  </a:lnTo>
                  <a:lnTo>
                    <a:pt x="48" y="29"/>
                  </a:lnTo>
                  <a:lnTo>
                    <a:pt x="57" y="38"/>
                  </a:lnTo>
                  <a:lnTo>
                    <a:pt x="57" y="29"/>
                  </a:lnTo>
                  <a:lnTo>
                    <a:pt x="67" y="29"/>
                  </a:lnTo>
                  <a:lnTo>
                    <a:pt x="86" y="2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0" name="Freeform 16">
              <a:extLst>
                <a:ext uri="{FF2B5EF4-FFF2-40B4-BE49-F238E27FC236}">
                  <a16:creationId xmlns:a16="http://schemas.microsoft.com/office/drawing/2014/main" id="{37CB5007-7EBA-48DD-A457-B7A1CBAA7771}"/>
                </a:ext>
              </a:extLst>
            </p:cNvPr>
            <p:cNvSpPr>
              <a:spLocks/>
            </p:cNvSpPr>
            <p:nvPr/>
          </p:nvSpPr>
          <p:spPr bwMode="gray">
            <a:xfrm>
              <a:off x="4152" y="1326"/>
              <a:ext cx="86" cy="38"/>
            </a:xfrm>
            <a:custGeom>
              <a:avLst/>
              <a:gdLst>
                <a:gd name="T0" fmla="*/ 86 w 86"/>
                <a:gd name="T1" fmla="*/ 29 h 38"/>
                <a:gd name="T2" fmla="*/ 86 w 86"/>
                <a:gd name="T3" fmla="*/ 19 h 38"/>
                <a:gd name="T4" fmla="*/ 86 w 86"/>
                <a:gd name="T5" fmla="*/ 9 h 38"/>
                <a:gd name="T6" fmla="*/ 86 w 86"/>
                <a:gd name="T7" fmla="*/ 9 h 38"/>
                <a:gd name="T8" fmla="*/ 76 w 86"/>
                <a:gd name="T9" fmla="*/ 9 h 38"/>
                <a:gd name="T10" fmla="*/ 67 w 86"/>
                <a:gd name="T11" fmla="*/ 0 h 38"/>
                <a:gd name="T12" fmla="*/ 67 w 86"/>
                <a:gd name="T13" fmla="*/ 0 h 38"/>
                <a:gd name="T14" fmla="*/ 57 w 86"/>
                <a:gd name="T15" fmla="*/ 9 h 38"/>
                <a:gd name="T16" fmla="*/ 57 w 86"/>
                <a:gd name="T17" fmla="*/ 9 h 38"/>
                <a:gd name="T18" fmla="*/ 57 w 86"/>
                <a:gd name="T19" fmla="*/ 0 h 38"/>
                <a:gd name="T20" fmla="*/ 57 w 86"/>
                <a:gd name="T21" fmla="*/ 0 h 38"/>
                <a:gd name="T22" fmla="*/ 57 w 86"/>
                <a:gd name="T23" fmla="*/ 0 h 38"/>
                <a:gd name="T24" fmla="*/ 48 w 86"/>
                <a:gd name="T25" fmla="*/ 0 h 38"/>
                <a:gd name="T26" fmla="*/ 48 w 86"/>
                <a:gd name="T27" fmla="*/ 0 h 38"/>
                <a:gd name="T28" fmla="*/ 48 w 86"/>
                <a:gd name="T29" fmla="*/ 0 h 38"/>
                <a:gd name="T30" fmla="*/ 48 w 86"/>
                <a:gd name="T31" fmla="*/ 0 h 38"/>
                <a:gd name="T32" fmla="*/ 38 w 86"/>
                <a:gd name="T33" fmla="*/ 0 h 38"/>
                <a:gd name="T34" fmla="*/ 38 w 86"/>
                <a:gd name="T35" fmla="*/ 0 h 38"/>
                <a:gd name="T36" fmla="*/ 38 w 86"/>
                <a:gd name="T37" fmla="*/ 0 h 38"/>
                <a:gd name="T38" fmla="*/ 29 w 86"/>
                <a:gd name="T39" fmla="*/ 0 h 38"/>
                <a:gd name="T40" fmla="*/ 29 w 86"/>
                <a:gd name="T41" fmla="*/ 0 h 38"/>
                <a:gd name="T42" fmla="*/ 29 w 86"/>
                <a:gd name="T43" fmla="*/ 9 h 38"/>
                <a:gd name="T44" fmla="*/ 29 w 86"/>
                <a:gd name="T45" fmla="*/ 9 h 38"/>
                <a:gd name="T46" fmla="*/ 29 w 86"/>
                <a:gd name="T47" fmla="*/ 9 h 38"/>
                <a:gd name="T48" fmla="*/ 19 w 86"/>
                <a:gd name="T49" fmla="*/ 9 h 38"/>
                <a:gd name="T50" fmla="*/ 9 w 86"/>
                <a:gd name="T51" fmla="*/ 19 h 38"/>
                <a:gd name="T52" fmla="*/ 9 w 86"/>
                <a:gd name="T53" fmla="*/ 29 h 38"/>
                <a:gd name="T54" fmla="*/ 9 w 86"/>
                <a:gd name="T55" fmla="*/ 29 h 38"/>
                <a:gd name="T56" fmla="*/ 0 w 86"/>
                <a:gd name="T57" fmla="*/ 29 h 38"/>
                <a:gd name="T58" fmla="*/ 0 w 86"/>
                <a:gd name="T59" fmla="*/ 38 h 38"/>
                <a:gd name="T60" fmla="*/ 9 w 86"/>
                <a:gd name="T61" fmla="*/ 38 h 38"/>
                <a:gd name="T62" fmla="*/ 19 w 86"/>
                <a:gd name="T63" fmla="*/ 38 h 38"/>
                <a:gd name="T64" fmla="*/ 29 w 86"/>
                <a:gd name="T65" fmla="*/ 38 h 38"/>
                <a:gd name="T66" fmla="*/ 38 w 86"/>
                <a:gd name="T67" fmla="*/ 29 h 38"/>
                <a:gd name="T68" fmla="*/ 48 w 86"/>
                <a:gd name="T69" fmla="*/ 29 h 38"/>
                <a:gd name="T70" fmla="*/ 57 w 86"/>
                <a:gd name="T71" fmla="*/ 38 h 38"/>
                <a:gd name="T72" fmla="*/ 57 w 86"/>
                <a:gd name="T73" fmla="*/ 29 h 38"/>
                <a:gd name="T74" fmla="*/ 67 w 86"/>
                <a:gd name="T75" fmla="*/ 29 h 38"/>
                <a:gd name="T76" fmla="*/ 86 w 86"/>
                <a:gd name="T77" fmla="*/ 29 h 3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6"/>
                <a:gd name="T118" fmla="*/ 0 h 38"/>
                <a:gd name="T119" fmla="*/ 86 w 86"/>
                <a:gd name="T120" fmla="*/ 38 h 3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6" h="38">
                  <a:moveTo>
                    <a:pt x="86" y="29"/>
                  </a:moveTo>
                  <a:lnTo>
                    <a:pt x="86" y="19"/>
                  </a:lnTo>
                  <a:lnTo>
                    <a:pt x="86" y="9"/>
                  </a:lnTo>
                  <a:lnTo>
                    <a:pt x="76" y="9"/>
                  </a:lnTo>
                  <a:lnTo>
                    <a:pt x="67" y="0"/>
                  </a:lnTo>
                  <a:lnTo>
                    <a:pt x="57" y="9"/>
                  </a:lnTo>
                  <a:lnTo>
                    <a:pt x="57" y="0"/>
                  </a:lnTo>
                  <a:lnTo>
                    <a:pt x="48" y="0"/>
                  </a:lnTo>
                  <a:lnTo>
                    <a:pt x="38" y="0"/>
                  </a:lnTo>
                  <a:lnTo>
                    <a:pt x="29" y="0"/>
                  </a:lnTo>
                  <a:lnTo>
                    <a:pt x="29" y="9"/>
                  </a:lnTo>
                  <a:lnTo>
                    <a:pt x="19" y="9"/>
                  </a:lnTo>
                  <a:lnTo>
                    <a:pt x="9" y="19"/>
                  </a:lnTo>
                  <a:lnTo>
                    <a:pt x="9" y="29"/>
                  </a:lnTo>
                  <a:lnTo>
                    <a:pt x="0" y="29"/>
                  </a:lnTo>
                  <a:lnTo>
                    <a:pt x="0" y="38"/>
                  </a:lnTo>
                  <a:lnTo>
                    <a:pt x="9" y="38"/>
                  </a:lnTo>
                  <a:lnTo>
                    <a:pt x="19" y="38"/>
                  </a:lnTo>
                  <a:lnTo>
                    <a:pt x="29" y="38"/>
                  </a:lnTo>
                  <a:lnTo>
                    <a:pt x="38" y="29"/>
                  </a:lnTo>
                  <a:lnTo>
                    <a:pt x="48" y="29"/>
                  </a:lnTo>
                  <a:lnTo>
                    <a:pt x="57" y="38"/>
                  </a:lnTo>
                  <a:lnTo>
                    <a:pt x="57" y="29"/>
                  </a:lnTo>
                  <a:lnTo>
                    <a:pt x="67" y="29"/>
                  </a:lnTo>
                  <a:lnTo>
                    <a:pt x="86" y="2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1" name="Freeform 17">
              <a:extLst>
                <a:ext uri="{FF2B5EF4-FFF2-40B4-BE49-F238E27FC236}">
                  <a16:creationId xmlns:a16="http://schemas.microsoft.com/office/drawing/2014/main" id="{CEC95B27-B9F4-420B-822C-819D7C4780C7}"/>
                </a:ext>
              </a:extLst>
            </p:cNvPr>
            <p:cNvSpPr>
              <a:spLocks/>
            </p:cNvSpPr>
            <p:nvPr/>
          </p:nvSpPr>
          <p:spPr bwMode="gray">
            <a:xfrm>
              <a:off x="4066" y="1297"/>
              <a:ext cx="95" cy="48"/>
            </a:xfrm>
            <a:custGeom>
              <a:avLst/>
              <a:gdLst>
                <a:gd name="T0" fmla="*/ 76 w 95"/>
                <a:gd name="T1" fmla="*/ 0 h 48"/>
                <a:gd name="T2" fmla="*/ 86 w 95"/>
                <a:gd name="T3" fmla="*/ 0 h 48"/>
                <a:gd name="T4" fmla="*/ 95 w 95"/>
                <a:gd name="T5" fmla="*/ 10 h 48"/>
                <a:gd name="T6" fmla="*/ 95 w 95"/>
                <a:gd name="T7" fmla="*/ 29 h 48"/>
                <a:gd name="T8" fmla="*/ 86 w 95"/>
                <a:gd name="T9" fmla="*/ 29 h 48"/>
                <a:gd name="T10" fmla="*/ 76 w 95"/>
                <a:gd name="T11" fmla="*/ 29 h 48"/>
                <a:gd name="T12" fmla="*/ 76 w 95"/>
                <a:gd name="T13" fmla="*/ 29 h 48"/>
                <a:gd name="T14" fmla="*/ 95 w 95"/>
                <a:gd name="T15" fmla="*/ 38 h 48"/>
                <a:gd name="T16" fmla="*/ 95 w 95"/>
                <a:gd name="T17" fmla="*/ 38 h 48"/>
                <a:gd name="T18" fmla="*/ 67 w 95"/>
                <a:gd name="T19" fmla="*/ 48 h 48"/>
                <a:gd name="T20" fmla="*/ 57 w 95"/>
                <a:gd name="T21" fmla="*/ 38 h 48"/>
                <a:gd name="T22" fmla="*/ 57 w 95"/>
                <a:gd name="T23" fmla="*/ 38 h 48"/>
                <a:gd name="T24" fmla="*/ 29 w 95"/>
                <a:gd name="T25" fmla="*/ 38 h 48"/>
                <a:gd name="T26" fmla="*/ 19 w 95"/>
                <a:gd name="T27" fmla="*/ 38 h 48"/>
                <a:gd name="T28" fmla="*/ 10 w 95"/>
                <a:gd name="T29" fmla="*/ 29 h 48"/>
                <a:gd name="T30" fmla="*/ 10 w 95"/>
                <a:gd name="T31" fmla="*/ 29 h 48"/>
                <a:gd name="T32" fmla="*/ 10 w 95"/>
                <a:gd name="T33" fmla="*/ 19 h 48"/>
                <a:gd name="T34" fmla="*/ 10 w 95"/>
                <a:gd name="T35" fmla="*/ 19 h 48"/>
                <a:gd name="T36" fmla="*/ 0 w 95"/>
                <a:gd name="T37" fmla="*/ 19 h 48"/>
                <a:gd name="T38" fmla="*/ 0 w 95"/>
                <a:gd name="T39" fmla="*/ 19 h 48"/>
                <a:gd name="T40" fmla="*/ 0 w 95"/>
                <a:gd name="T41" fmla="*/ 10 h 48"/>
                <a:gd name="T42" fmla="*/ 10 w 95"/>
                <a:gd name="T43" fmla="*/ 10 h 48"/>
                <a:gd name="T44" fmla="*/ 10 w 95"/>
                <a:gd name="T45" fmla="*/ 10 h 48"/>
                <a:gd name="T46" fmla="*/ 19 w 95"/>
                <a:gd name="T47" fmla="*/ 0 h 48"/>
                <a:gd name="T48" fmla="*/ 29 w 95"/>
                <a:gd name="T49" fmla="*/ 0 h 48"/>
                <a:gd name="T50" fmla="*/ 38 w 95"/>
                <a:gd name="T51" fmla="*/ 0 h 48"/>
                <a:gd name="T52" fmla="*/ 57 w 95"/>
                <a:gd name="T53" fmla="*/ 0 h 48"/>
                <a:gd name="T54" fmla="*/ 67 w 95"/>
                <a:gd name="T55" fmla="*/ 0 h 48"/>
                <a:gd name="T56" fmla="*/ 57 w 95"/>
                <a:gd name="T57" fmla="*/ 10 h 48"/>
                <a:gd name="T58" fmla="*/ 67 w 95"/>
                <a:gd name="T59" fmla="*/ 10 h 48"/>
                <a:gd name="T60" fmla="*/ 67 w 95"/>
                <a:gd name="T61" fmla="*/ 10 h 48"/>
                <a:gd name="T62" fmla="*/ 76 w 95"/>
                <a:gd name="T63" fmla="*/ 0 h 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48"/>
                <a:gd name="T98" fmla="*/ 95 w 95"/>
                <a:gd name="T99" fmla="*/ 48 h 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48">
                  <a:moveTo>
                    <a:pt x="76" y="0"/>
                  </a:moveTo>
                  <a:lnTo>
                    <a:pt x="86" y="0"/>
                  </a:lnTo>
                  <a:lnTo>
                    <a:pt x="95" y="10"/>
                  </a:lnTo>
                  <a:lnTo>
                    <a:pt x="95" y="29"/>
                  </a:lnTo>
                  <a:lnTo>
                    <a:pt x="86" y="29"/>
                  </a:lnTo>
                  <a:lnTo>
                    <a:pt x="76" y="29"/>
                  </a:lnTo>
                  <a:lnTo>
                    <a:pt x="95" y="38"/>
                  </a:lnTo>
                  <a:lnTo>
                    <a:pt x="67" y="48"/>
                  </a:lnTo>
                  <a:lnTo>
                    <a:pt x="57" y="38"/>
                  </a:lnTo>
                  <a:lnTo>
                    <a:pt x="29" y="38"/>
                  </a:lnTo>
                  <a:lnTo>
                    <a:pt x="19" y="38"/>
                  </a:lnTo>
                  <a:lnTo>
                    <a:pt x="10" y="29"/>
                  </a:lnTo>
                  <a:lnTo>
                    <a:pt x="10" y="19"/>
                  </a:lnTo>
                  <a:lnTo>
                    <a:pt x="0" y="19"/>
                  </a:lnTo>
                  <a:lnTo>
                    <a:pt x="0" y="10"/>
                  </a:lnTo>
                  <a:lnTo>
                    <a:pt x="10" y="10"/>
                  </a:lnTo>
                  <a:lnTo>
                    <a:pt x="19" y="0"/>
                  </a:lnTo>
                  <a:lnTo>
                    <a:pt x="29" y="0"/>
                  </a:lnTo>
                  <a:lnTo>
                    <a:pt x="38" y="0"/>
                  </a:lnTo>
                  <a:lnTo>
                    <a:pt x="57" y="0"/>
                  </a:lnTo>
                  <a:lnTo>
                    <a:pt x="67" y="0"/>
                  </a:lnTo>
                  <a:lnTo>
                    <a:pt x="57" y="10"/>
                  </a:lnTo>
                  <a:lnTo>
                    <a:pt x="67" y="10"/>
                  </a:lnTo>
                  <a:lnTo>
                    <a:pt x="76"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2" name="Freeform 18">
              <a:extLst>
                <a:ext uri="{FF2B5EF4-FFF2-40B4-BE49-F238E27FC236}">
                  <a16:creationId xmlns:a16="http://schemas.microsoft.com/office/drawing/2014/main" id="{918A6FA7-470E-4AE2-A2EC-E42ECF45573C}"/>
                </a:ext>
              </a:extLst>
            </p:cNvPr>
            <p:cNvSpPr>
              <a:spLocks/>
            </p:cNvSpPr>
            <p:nvPr/>
          </p:nvSpPr>
          <p:spPr bwMode="gray">
            <a:xfrm>
              <a:off x="4066" y="1297"/>
              <a:ext cx="95" cy="48"/>
            </a:xfrm>
            <a:custGeom>
              <a:avLst/>
              <a:gdLst>
                <a:gd name="T0" fmla="*/ 76 w 95"/>
                <a:gd name="T1" fmla="*/ 0 h 48"/>
                <a:gd name="T2" fmla="*/ 86 w 95"/>
                <a:gd name="T3" fmla="*/ 0 h 48"/>
                <a:gd name="T4" fmla="*/ 95 w 95"/>
                <a:gd name="T5" fmla="*/ 10 h 48"/>
                <a:gd name="T6" fmla="*/ 95 w 95"/>
                <a:gd name="T7" fmla="*/ 29 h 48"/>
                <a:gd name="T8" fmla="*/ 86 w 95"/>
                <a:gd name="T9" fmla="*/ 29 h 48"/>
                <a:gd name="T10" fmla="*/ 76 w 95"/>
                <a:gd name="T11" fmla="*/ 29 h 48"/>
                <a:gd name="T12" fmla="*/ 76 w 95"/>
                <a:gd name="T13" fmla="*/ 29 h 48"/>
                <a:gd name="T14" fmla="*/ 95 w 95"/>
                <a:gd name="T15" fmla="*/ 38 h 48"/>
                <a:gd name="T16" fmla="*/ 95 w 95"/>
                <a:gd name="T17" fmla="*/ 38 h 48"/>
                <a:gd name="T18" fmla="*/ 67 w 95"/>
                <a:gd name="T19" fmla="*/ 48 h 48"/>
                <a:gd name="T20" fmla="*/ 57 w 95"/>
                <a:gd name="T21" fmla="*/ 38 h 48"/>
                <a:gd name="T22" fmla="*/ 57 w 95"/>
                <a:gd name="T23" fmla="*/ 38 h 48"/>
                <a:gd name="T24" fmla="*/ 29 w 95"/>
                <a:gd name="T25" fmla="*/ 38 h 48"/>
                <a:gd name="T26" fmla="*/ 19 w 95"/>
                <a:gd name="T27" fmla="*/ 38 h 48"/>
                <a:gd name="T28" fmla="*/ 10 w 95"/>
                <a:gd name="T29" fmla="*/ 29 h 48"/>
                <a:gd name="T30" fmla="*/ 10 w 95"/>
                <a:gd name="T31" fmla="*/ 29 h 48"/>
                <a:gd name="T32" fmla="*/ 10 w 95"/>
                <a:gd name="T33" fmla="*/ 19 h 48"/>
                <a:gd name="T34" fmla="*/ 10 w 95"/>
                <a:gd name="T35" fmla="*/ 19 h 48"/>
                <a:gd name="T36" fmla="*/ 0 w 95"/>
                <a:gd name="T37" fmla="*/ 19 h 48"/>
                <a:gd name="T38" fmla="*/ 0 w 95"/>
                <a:gd name="T39" fmla="*/ 19 h 48"/>
                <a:gd name="T40" fmla="*/ 0 w 95"/>
                <a:gd name="T41" fmla="*/ 10 h 48"/>
                <a:gd name="T42" fmla="*/ 10 w 95"/>
                <a:gd name="T43" fmla="*/ 10 h 48"/>
                <a:gd name="T44" fmla="*/ 10 w 95"/>
                <a:gd name="T45" fmla="*/ 10 h 48"/>
                <a:gd name="T46" fmla="*/ 19 w 95"/>
                <a:gd name="T47" fmla="*/ 0 h 48"/>
                <a:gd name="T48" fmla="*/ 29 w 95"/>
                <a:gd name="T49" fmla="*/ 0 h 48"/>
                <a:gd name="T50" fmla="*/ 38 w 95"/>
                <a:gd name="T51" fmla="*/ 0 h 48"/>
                <a:gd name="T52" fmla="*/ 57 w 95"/>
                <a:gd name="T53" fmla="*/ 0 h 48"/>
                <a:gd name="T54" fmla="*/ 67 w 95"/>
                <a:gd name="T55" fmla="*/ 0 h 48"/>
                <a:gd name="T56" fmla="*/ 57 w 95"/>
                <a:gd name="T57" fmla="*/ 10 h 48"/>
                <a:gd name="T58" fmla="*/ 67 w 95"/>
                <a:gd name="T59" fmla="*/ 10 h 48"/>
                <a:gd name="T60" fmla="*/ 67 w 95"/>
                <a:gd name="T61" fmla="*/ 10 h 48"/>
                <a:gd name="T62" fmla="*/ 76 w 95"/>
                <a:gd name="T63" fmla="*/ 0 h 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48"/>
                <a:gd name="T98" fmla="*/ 95 w 95"/>
                <a:gd name="T99" fmla="*/ 48 h 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48">
                  <a:moveTo>
                    <a:pt x="76" y="0"/>
                  </a:moveTo>
                  <a:lnTo>
                    <a:pt x="86" y="0"/>
                  </a:lnTo>
                  <a:lnTo>
                    <a:pt x="95" y="10"/>
                  </a:lnTo>
                  <a:lnTo>
                    <a:pt x="95" y="29"/>
                  </a:lnTo>
                  <a:lnTo>
                    <a:pt x="86" y="29"/>
                  </a:lnTo>
                  <a:lnTo>
                    <a:pt x="76" y="29"/>
                  </a:lnTo>
                  <a:lnTo>
                    <a:pt x="95" y="38"/>
                  </a:lnTo>
                  <a:lnTo>
                    <a:pt x="67" y="48"/>
                  </a:lnTo>
                  <a:lnTo>
                    <a:pt x="57" y="38"/>
                  </a:lnTo>
                  <a:lnTo>
                    <a:pt x="29" y="38"/>
                  </a:lnTo>
                  <a:lnTo>
                    <a:pt x="19" y="38"/>
                  </a:lnTo>
                  <a:lnTo>
                    <a:pt x="10" y="29"/>
                  </a:lnTo>
                  <a:lnTo>
                    <a:pt x="10" y="19"/>
                  </a:lnTo>
                  <a:lnTo>
                    <a:pt x="0" y="19"/>
                  </a:lnTo>
                  <a:lnTo>
                    <a:pt x="0" y="10"/>
                  </a:lnTo>
                  <a:lnTo>
                    <a:pt x="10" y="10"/>
                  </a:lnTo>
                  <a:lnTo>
                    <a:pt x="19" y="0"/>
                  </a:lnTo>
                  <a:lnTo>
                    <a:pt x="29" y="0"/>
                  </a:lnTo>
                  <a:lnTo>
                    <a:pt x="38" y="0"/>
                  </a:lnTo>
                  <a:lnTo>
                    <a:pt x="57" y="0"/>
                  </a:lnTo>
                  <a:lnTo>
                    <a:pt x="67" y="0"/>
                  </a:lnTo>
                  <a:lnTo>
                    <a:pt x="57" y="10"/>
                  </a:lnTo>
                  <a:lnTo>
                    <a:pt x="67" y="10"/>
                  </a:lnTo>
                  <a:lnTo>
                    <a:pt x="76"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3" name="Freeform 19">
              <a:extLst>
                <a:ext uri="{FF2B5EF4-FFF2-40B4-BE49-F238E27FC236}">
                  <a16:creationId xmlns:a16="http://schemas.microsoft.com/office/drawing/2014/main" id="{ECE26F5C-264A-432A-9FBB-266F7BAED91A}"/>
                </a:ext>
              </a:extLst>
            </p:cNvPr>
            <p:cNvSpPr>
              <a:spLocks/>
            </p:cNvSpPr>
            <p:nvPr/>
          </p:nvSpPr>
          <p:spPr bwMode="gray">
            <a:xfrm>
              <a:off x="4038" y="1259"/>
              <a:ext cx="95" cy="38"/>
            </a:xfrm>
            <a:custGeom>
              <a:avLst/>
              <a:gdLst>
                <a:gd name="T0" fmla="*/ 95 w 95"/>
                <a:gd name="T1" fmla="*/ 19 h 38"/>
                <a:gd name="T2" fmla="*/ 85 w 95"/>
                <a:gd name="T3" fmla="*/ 19 h 38"/>
                <a:gd name="T4" fmla="*/ 85 w 95"/>
                <a:gd name="T5" fmla="*/ 29 h 38"/>
                <a:gd name="T6" fmla="*/ 85 w 95"/>
                <a:gd name="T7" fmla="*/ 29 h 38"/>
                <a:gd name="T8" fmla="*/ 57 w 95"/>
                <a:gd name="T9" fmla="*/ 38 h 38"/>
                <a:gd name="T10" fmla="*/ 47 w 95"/>
                <a:gd name="T11" fmla="*/ 38 h 38"/>
                <a:gd name="T12" fmla="*/ 38 w 95"/>
                <a:gd name="T13" fmla="*/ 38 h 38"/>
                <a:gd name="T14" fmla="*/ 28 w 95"/>
                <a:gd name="T15" fmla="*/ 38 h 38"/>
                <a:gd name="T16" fmla="*/ 9 w 95"/>
                <a:gd name="T17" fmla="*/ 38 h 38"/>
                <a:gd name="T18" fmla="*/ 9 w 95"/>
                <a:gd name="T19" fmla="*/ 29 h 38"/>
                <a:gd name="T20" fmla="*/ 0 w 95"/>
                <a:gd name="T21" fmla="*/ 29 h 38"/>
                <a:gd name="T22" fmla="*/ 0 w 95"/>
                <a:gd name="T23" fmla="*/ 29 h 38"/>
                <a:gd name="T24" fmla="*/ 0 w 95"/>
                <a:gd name="T25" fmla="*/ 29 h 38"/>
                <a:gd name="T26" fmla="*/ 9 w 95"/>
                <a:gd name="T27" fmla="*/ 29 h 38"/>
                <a:gd name="T28" fmla="*/ 19 w 95"/>
                <a:gd name="T29" fmla="*/ 19 h 38"/>
                <a:gd name="T30" fmla="*/ 9 w 95"/>
                <a:gd name="T31" fmla="*/ 19 h 38"/>
                <a:gd name="T32" fmla="*/ 19 w 95"/>
                <a:gd name="T33" fmla="*/ 10 h 38"/>
                <a:gd name="T34" fmla="*/ 47 w 95"/>
                <a:gd name="T35" fmla="*/ 0 h 38"/>
                <a:gd name="T36" fmla="*/ 57 w 95"/>
                <a:gd name="T37" fmla="*/ 0 h 38"/>
                <a:gd name="T38" fmla="*/ 57 w 95"/>
                <a:gd name="T39" fmla="*/ 0 h 38"/>
                <a:gd name="T40" fmla="*/ 66 w 95"/>
                <a:gd name="T41" fmla="*/ 0 h 38"/>
                <a:gd name="T42" fmla="*/ 76 w 95"/>
                <a:gd name="T43" fmla="*/ 10 h 38"/>
                <a:gd name="T44" fmla="*/ 95 w 95"/>
                <a:gd name="T45" fmla="*/ 19 h 38"/>
                <a:gd name="T46" fmla="*/ 95 w 95"/>
                <a:gd name="T47" fmla="*/ 19 h 3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5"/>
                <a:gd name="T73" fmla="*/ 0 h 38"/>
                <a:gd name="T74" fmla="*/ 95 w 95"/>
                <a:gd name="T75" fmla="*/ 38 h 3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5" h="38">
                  <a:moveTo>
                    <a:pt x="95" y="19"/>
                  </a:moveTo>
                  <a:lnTo>
                    <a:pt x="85" y="19"/>
                  </a:lnTo>
                  <a:lnTo>
                    <a:pt x="85" y="29"/>
                  </a:lnTo>
                  <a:lnTo>
                    <a:pt x="57" y="38"/>
                  </a:lnTo>
                  <a:lnTo>
                    <a:pt x="47" y="38"/>
                  </a:lnTo>
                  <a:lnTo>
                    <a:pt x="38" y="38"/>
                  </a:lnTo>
                  <a:lnTo>
                    <a:pt x="28" y="38"/>
                  </a:lnTo>
                  <a:lnTo>
                    <a:pt x="9" y="38"/>
                  </a:lnTo>
                  <a:lnTo>
                    <a:pt x="9" y="29"/>
                  </a:lnTo>
                  <a:lnTo>
                    <a:pt x="0" y="29"/>
                  </a:lnTo>
                  <a:lnTo>
                    <a:pt x="9" y="29"/>
                  </a:lnTo>
                  <a:lnTo>
                    <a:pt x="19" y="19"/>
                  </a:lnTo>
                  <a:lnTo>
                    <a:pt x="9" y="19"/>
                  </a:lnTo>
                  <a:lnTo>
                    <a:pt x="19" y="10"/>
                  </a:lnTo>
                  <a:lnTo>
                    <a:pt x="47" y="0"/>
                  </a:lnTo>
                  <a:lnTo>
                    <a:pt x="57" y="0"/>
                  </a:lnTo>
                  <a:lnTo>
                    <a:pt x="66" y="0"/>
                  </a:lnTo>
                  <a:lnTo>
                    <a:pt x="76" y="10"/>
                  </a:lnTo>
                  <a:lnTo>
                    <a:pt x="95"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4" name="Freeform 20">
              <a:extLst>
                <a:ext uri="{FF2B5EF4-FFF2-40B4-BE49-F238E27FC236}">
                  <a16:creationId xmlns:a16="http://schemas.microsoft.com/office/drawing/2014/main" id="{67162C83-6F28-463E-95A3-0634E083CC65}"/>
                </a:ext>
              </a:extLst>
            </p:cNvPr>
            <p:cNvSpPr>
              <a:spLocks/>
            </p:cNvSpPr>
            <p:nvPr/>
          </p:nvSpPr>
          <p:spPr bwMode="gray">
            <a:xfrm>
              <a:off x="4038" y="1259"/>
              <a:ext cx="95" cy="38"/>
            </a:xfrm>
            <a:custGeom>
              <a:avLst/>
              <a:gdLst>
                <a:gd name="T0" fmla="*/ 95 w 95"/>
                <a:gd name="T1" fmla="*/ 19 h 38"/>
                <a:gd name="T2" fmla="*/ 85 w 95"/>
                <a:gd name="T3" fmla="*/ 19 h 38"/>
                <a:gd name="T4" fmla="*/ 85 w 95"/>
                <a:gd name="T5" fmla="*/ 29 h 38"/>
                <a:gd name="T6" fmla="*/ 85 w 95"/>
                <a:gd name="T7" fmla="*/ 29 h 38"/>
                <a:gd name="T8" fmla="*/ 57 w 95"/>
                <a:gd name="T9" fmla="*/ 38 h 38"/>
                <a:gd name="T10" fmla="*/ 47 w 95"/>
                <a:gd name="T11" fmla="*/ 38 h 38"/>
                <a:gd name="T12" fmla="*/ 38 w 95"/>
                <a:gd name="T13" fmla="*/ 38 h 38"/>
                <a:gd name="T14" fmla="*/ 28 w 95"/>
                <a:gd name="T15" fmla="*/ 38 h 38"/>
                <a:gd name="T16" fmla="*/ 9 w 95"/>
                <a:gd name="T17" fmla="*/ 38 h 38"/>
                <a:gd name="T18" fmla="*/ 9 w 95"/>
                <a:gd name="T19" fmla="*/ 29 h 38"/>
                <a:gd name="T20" fmla="*/ 0 w 95"/>
                <a:gd name="T21" fmla="*/ 29 h 38"/>
                <a:gd name="T22" fmla="*/ 0 w 95"/>
                <a:gd name="T23" fmla="*/ 29 h 38"/>
                <a:gd name="T24" fmla="*/ 0 w 95"/>
                <a:gd name="T25" fmla="*/ 29 h 38"/>
                <a:gd name="T26" fmla="*/ 9 w 95"/>
                <a:gd name="T27" fmla="*/ 29 h 38"/>
                <a:gd name="T28" fmla="*/ 19 w 95"/>
                <a:gd name="T29" fmla="*/ 19 h 38"/>
                <a:gd name="T30" fmla="*/ 9 w 95"/>
                <a:gd name="T31" fmla="*/ 19 h 38"/>
                <a:gd name="T32" fmla="*/ 19 w 95"/>
                <a:gd name="T33" fmla="*/ 10 h 38"/>
                <a:gd name="T34" fmla="*/ 47 w 95"/>
                <a:gd name="T35" fmla="*/ 0 h 38"/>
                <a:gd name="T36" fmla="*/ 57 w 95"/>
                <a:gd name="T37" fmla="*/ 0 h 38"/>
                <a:gd name="T38" fmla="*/ 57 w 95"/>
                <a:gd name="T39" fmla="*/ 0 h 38"/>
                <a:gd name="T40" fmla="*/ 66 w 95"/>
                <a:gd name="T41" fmla="*/ 0 h 38"/>
                <a:gd name="T42" fmla="*/ 76 w 95"/>
                <a:gd name="T43" fmla="*/ 10 h 38"/>
                <a:gd name="T44" fmla="*/ 95 w 95"/>
                <a:gd name="T45" fmla="*/ 19 h 38"/>
                <a:gd name="T46" fmla="*/ 95 w 95"/>
                <a:gd name="T47" fmla="*/ 19 h 3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5"/>
                <a:gd name="T73" fmla="*/ 0 h 38"/>
                <a:gd name="T74" fmla="*/ 95 w 95"/>
                <a:gd name="T75" fmla="*/ 38 h 3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5" h="38">
                  <a:moveTo>
                    <a:pt x="95" y="19"/>
                  </a:moveTo>
                  <a:lnTo>
                    <a:pt x="85" y="19"/>
                  </a:lnTo>
                  <a:lnTo>
                    <a:pt x="85" y="29"/>
                  </a:lnTo>
                  <a:lnTo>
                    <a:pt x="57" y="38"/>
                  </a:lnTo>
                  <a:lnTo>
                    <a:pt x="47" y="38"/>
                  </a:lnTo>
                  <a:lnTo>
                    <a:pt x="38" y="38"/>
                  </a:lnTo>
                  <a:lnTo>
                    <a:pt x="28" y="38"/>
                  </a:lnTo>
                  <a:lnTo>
                    <a:pt x="9" y="38"/>
                  </a:lnTo>
                  <a:lnTo>
                    <a:pt x="9" y="29"/>
                  </a:lnTo>
                  <a:lnTo>
                    <a:pt x="0" y="29"/>
                  </a:lnTo>
                  <a:lnTo>
                    <a:pt x="9" y="29"/>
                  </a:lnTo>
                  <a:lnTo>
                    <a:pt x="19" y="19"/>
                  </a:lnTo>
                  <a:lnTo>
                    <a:pt x="9" y="19"/>
                  </a:lnTo>
                  <a:lnTo>
                    <a:pt x="19" y="10"/>
                  </a:lnTo>
                  <a:lnTo>
                    <a:pt x="47" y="0"/>
                  </a:lnTo>
                  <a:lnTo>
                    <a:pt x="57" y="0"/>
                  </a:lnTo>
                  <a:lnTo>
                    <a:pt x="66" y="0"/>
                  </a:lnTo>
                  <a:lnTo>
                    <a:pt x="76" y="10"/>
                  </a:lnTo>
                  <a:lnTo>
                    <a:pt x="95"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5" name="Freeform 21">
              <a:extLst>
                <a:ext uri="{FF2B5EF4-FFF2-40B4-BE49-F238E27FC236}">
                  <a16:creationId xmlns:a16="http://schemas.microsoft.com/office/drawing/2014/main" id="{3D49314E-A3ED-43E5-A2CC-44B585719CA5}"/>
                </a:ext>
              </a:extLst>
            </p:cNvPr>
            <p:cNvSpPr>
              <a:spLocks/>
            </p:cNvSpPr>
            <p:nvPr/>
          </p:nvSpPr>
          <p:spPr bwMode="gray">
            <a:xfrm>
              <a:off x="3818" y="1507"/>
              <a:ext cx="19" cy="10"/>
            </a:xfrm>
            <a:custGeom>
              <a:avLst/>
              <a:gdLst>
                <a:gd name="T0" fmla="*/ 10 w 19"/>
                <a:gd name="T1" fmla="*/ 0 h 10"/>
                <a:gd name="T2" fmla="*/ 19 w 19"/>
                <a:gd name="T3" fmla="*/ 0 h 10"/>
                <a:gd name="T4" fmla="*/ 19 w 19"/>
                <a:gd name="T5" fmla="*/ 10 h 10"/>
                <a:gd name="T6" fmla="*/ 10 w 19"/>
                <a:gd name="T7" fmla="*/ 10 h 10"/>
                <a:gd name="T8" fmla="*/ 0 w 19"/>
                <a:gd name="T9" fmla="*/ 10 h 10"/>
                <a:gd name="T10" fmla="*/ 0 w 19"/>
                <a:gd name="T11" fmla="*/ 10 h 10"/>
                <a:gd name="T12" fmla="*/ 10 w 19"/>
                <a:gd name="T13" fmla="*/ 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10" y="0"/>
                  </a:moveTo>
                  <a:lnTo>
                    <a:pt x="19" y="0"/>
                  </a:lnTo>
                  <a:lnTo>
                    <a:pt x="19" y="10"/>
                  </a:lnTo>
                  <a:lnTo>
                    <a:pt x="10" y="10"/>
                  </a:lnTo>
                  <a:lnTo>
                    <a:pt x="0" y="1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6" name="Freeform 22">
              <a:extLst>
                <a:ext uri="{FF2B5EF4-FFF2-40B4-BE49-F238E27FC236}">
                  <a16:creationId xmlns:a16="http://schemas.microsoft.com/office/drawing/2014/main" id="{F4E38450-122A-4787-9755-0BEF91E27E81}"/>
                </a:ext>
              </a:extLst>
            </p:cNvPr>
            <p:cNvSpPr>
              <a:spLocks/>
            </p:cNvSpPr>
            <p:nvPr/>
          </p:nvSpPr>
          <p:spPr bwMode="gray">
            <a:xfrm>
              <a:off x="3818" y="1507"/>
              <a:ext cx="19" cy="10"/>
            </a:xfrm>
            <a:custGeom>
              <a:avLst/>
              <a:gdLst>
                <a:gd name="T0" fmla="*/ 10 w 19"/>
                <a:gd name="T1" fmla="*/ 0 h 10"/>
                <a:gd name="T2" fmla="*/ 19 w 19"/>
                <a:gd name="T3" fmla="*/ 0 h 10"/>
                <a:gd name="T4" fmla="*/ 19 w 19"/>
                <a:gd name="T5" fmla="*/ 10 h 10"/>
                <a:gd name="T6" fmla="*/ 10 w 19"/>
                <a:gd name="T7" fmla="*/ 10 h 10"/>
                <a:gd name="T8" fmla="*/ 0 w 19"/>
                <a:gd name="T9" fmla="*/ 10 h 10"/>
                <a:gd name="T10" fmla="*/ 0 w 19"/>
                <a:gd name="T11" fmla="*/ 10 h 10"/>
                <a:gd name="T12" fmla="*/ 10 w 19"/>
                <a:gd name="T13" fmla="*/ 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10" y="0"/>
                  </a:moveTo>
                  <a:lnTo>
                    <a:pt x="19" y="0"/>
                  </a:lnTo>
                  <a:lnTo>
                    <a:pt x="19" y="10"/>
                  </a:lnTo>
                  <a:lnTo>
                    <a:pt x="10" y="10"/>
                  </a:lnTo>
                  <a:lnTo>
                    <a:pt x="0" y="1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7" name="Freeform 23">
              <a:extLst>
                <a:ext uri="{FF2B5EF4-FFF2-40B4-BE49-F238E27FC236}">
                  <a16:creationId xmlns:a16="http://schemas.microsoft.com/office/drawing/2014/main" id="{CB871E16-4DA2-4ADF-95F3-C4AD75613D97}"/>
                </a:ext>
              </a:extLst>
            </p:cNvPr>
            <p:cNvSpPr>
              <a:spLocks/>
            </p:cNvSpPr>
            <p:nvPr/>
          </p:nvSpPr>
          <p:spPr bwMode="gray">
            <a:xfrm>
              <a:off x="3639" y="1250"/>
              <a:ext cx="38" cy="28"/>
            </a:xfrm>
            <a:custGeom>
              <a:avLst/>
              <a:gdLst>
                <a:gd name="T0" fmla="*/ 19 w 38"/>
                <a:gd name="T1" fmla="*/ 0 h 28"/>
                <a:gd name="T2" fmla="*/ 19 w 38"/>
                <a:gd name="T3" fmla="*/ 9 h 28"/>
                <a:gd name="T4" fmla="*/ 9 w 38"/>
                <a:gd name="T5" fmla="*/ 9 h 28"/>
                <a:gd name="T6" fmla="*/ 9 w 38"/>
                <a:gd name="T7" fmla="*/ 9 h 28"/>
                <a:gd name="T8" fmla="*/ 9 w 38"/>
                <a:gd name="T9" fmla="*/ 9 h 28"/>
                <a:gd name="T10" fmla="*/ 0 w 38"/>
                <a:gd name="T11" fmla="*/ 19 h 28"/>
                <a:gd name="T12" fmla="*/ 9 w 38"/>
                <a:gd name="T13" fmla="*/ 19 h 28"/>
                <a:gd name="T14" fmla="*/ 9 w 38"/>
                <a:gd name="T15" fmla="*/ 19 h 28"/>
                <a:gd name="T16" fmla="*/ 19 w 38"/>
                <a:gd name="T17" fmla="*/ 28 h 28"/>
                <a:gd name="T18" fmla="*/ 19 w 38"/>
                <a:gd name="T19" fmla="*/ 19 h 28"/>
                <a:gd name="T20" fmla="*/ 19 w 38"/>
                <a:gd name="T21" fmla="*/ 19 h 28"/>
                <a:gd name="T22" fmla="*/ 38 w 38"/>
                <a:gd name="T23" fmla="*/ 19 h 28"/>
                <a:gd name="T24" fmla="*/ 38 w 38"/>
                <a:gd name="T25" fmla="*/ 9 h 28"/>
                <a:gd name="T26" fmla="*/ 28 w 38"/>
                <a:gd name="T27" fmla="*/ 9 h 28"/>
                <a:gd name="T28" fmla="*/ 38 w 38"/>
                <a:gd name="T29" fmla="*/ 9 h 28"/>
                <a:gd name="T30" fmla="*/ 28 w 38"/>
                <a:gd name="T31" fmla="*/ 0 h 28"/>
                <a:gd name="T32" fmla="*/ 19 w 38"/>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8"/>
                <a:gd name="T53" fmla="*/ 38 w 38"/>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8">
                  <a:moveTo>
                    <a:pt x="19" y="0"/>
                  </a:moveTo>
                  <a:lnTo>
                    <a:pt x="19" y="9"/>
                  </a:lnTo>
                  <a:lnTo>
                    <a:pt x="9" y="9"/>
                  </a:lnTo>
                  <a:lnTo>
                    <a:pt x="0" y="19"/>
                  </a:lnTo>
                  <a:lnTo>
                    <a:pt x="9" y="19"/>
                  </a:lnTo>
                  <a:lnTo>
                    <a:pt x="19" y="28"/>
                  </a:lnTo>
                  <a:lnTo>
                    <a:pt x="19" y="19"/>
                  </a:lnTo>
                  <a:lnTo>
                    <a:pt x="38" y="19"/>
                  </a:lnTo>
                  <a:lnTo>
                    <a:pt x="38" y="9"/>
                  </a:lnTo>
                  <a:lnTo>
                    <a:pt x="28" y="9"/>
                  </a:lnTo>
                  <a:lnTo>
                    <a:pt x="38" y="9"/>
                  </a:lnTo>
                  <a:lnTo>
                    <a:pt x="28" y="0"/>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8" name="Freeform 24">
              <a:extLst>
                <a:ext uri="{FF2B5EF4-FFF2-40B4-BE49-F238E27FC236}">
                  <a16:creationId xmlns:a16="http://schemas.microsoft.com/office/drawing/2014/main" id="{B7347A35-DF6F-4D44-A6B4-308D36D93A9A}"/>
                </a:ext>
              </a:extLst>
            </p:cNvPr>
            <p:cNvSpPr>
              <a:spLocks/>
            </p:cNvSpPr>
            <p:nvPr/>
          </p:nvSpPr>
          <p:spPr bwMode="gray">
            <a:xfrm>
              <a:off x="3639" y="1250"/>
              <a:ext cx="38" cy="28"/>
            </a:xfrm>
            <a:custGeom>
              <a:avLst/>
              <a:gdLst>
                <a:gd name="T0" fmla="*/ 19 w 38"/>
                <a:gd name="T1" fmla="*/ 0 h 28"/>
                <a:gd name="T2" fmla="*/ 19 w 38"/>
                <a:gd name="T3" fmla="*/ 9 h 28"/>
                <a:gd name="T4" fmla="*/ 9 w 38"/>
                <a:gd name="T5" fmla="*/ 9 h 28"/>
                <a:gd name="T6" fmla="*/ 9 w 38"/>
                <a:gd name="T7" fmla="*/ 9 h 28"/>
                <a:gd name="T8" fmla="*/ 9 w 38"/>
                <a:gd name="T9" fmla="*/ 9 h 28"/>
                <a:gd name="T10" fmla="*/ 0 w 38"/>
                <a:gd name="T11" fmla="*/ 19 h 28"/>
                <a:gd name="T12" fmla="*/ 9 w 38"/>
                <a:gd name="T13" fmla="*/ 19 h 28"/>
                <a:gd name="T14" fmla="*/ 9 w 38"/>
                <a:gd name="T15" fmla="*/ 19 h 28"/>
                <a:gd name="T16" fmla="*/ 19 w 38"/>
                <a:gd name="T17" fmla="*/ 28 h 28"/>
                <a:gd name="T18" fmla="*/ 19 w 38"/>
                <a:gd name="T19" fmla="*/ 19 h 28"/>
                <a:gd name="T20" fmla="*/ 19 w 38"/>
                <a:gd name="T21" fmla="*/ 19 h 28"/>
                <a:gd name="T22" fmla="*/ 38 w 38"/>
                <a:gd name="T23" fmla="*/ 19 h 28"/>
                <a:gd name="T24" fmla="*/ 38 w 38"/>
                <a:gd name="T25" fmla="*/ 9 h 28"/>
                <a:gd name="T26" fmla="*/ 28 w 38"/>
                <a:gd name="T27" fmla="*/ 9 h 28"/>
                <a:gd name="T28" fmla="*/ 38 w 38"/>
                <a:gd name="T29" fmla="*/ 9 h 28"/>
                <a:gd name="T30" fmla="*/ 28 w 38"/>
                <a:gd name="T31" fmla="*/ 0 h 28"/>
                <a:gd name="T32" fmla="*/ 19 w 38"/>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28"/>
                <a:gd name="T53" fmla="*/ 38 w 38"/>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28">
                  <a:moveTo>
                    <a:pt x="19" y="0"/>
                  </a:moveTo>
                  <a:lnTo>
                    <a:pt x="19" y="9"/>
                  </a:lnTo>
                  <a:lnTo>
                    <a:pt x="9" y="9"/>
                  </a:lnTo>
                  <a:lnTo>
                    <a:pt x="0" y="19"/>
                  </a:lnTo>
                  <a:lnTo>
                    <a:pt x="9" y="19"/>
                  </a:lnTo>
                  <a:lnTo>
                    <a:pt x="19" y="28"/>
                  </a:lnTo>
                  <a:lnTo>
                    <a:pt x="19" y="19"/>
                  </a:lnTo>
                  <a:lnTo>
                    <a:pt x="38" y="19"/>
                  </a:lnTo>
                  <a:lnTo>
                    <a:pt x="38" y="9"/>
                  </a:lnTo>
                  <a:lnTo>
                    <a:pt x="28" y="9"/>
                  </a:lnTo>
                  <a:lnTo>
                    <a:pt x="38" y="9"/>
                  </a:lnTo>
                  <a:lnTo>
                    <a:pt x="28" y="0"/>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9" name="Freeform 25">
              <a:extLst>
                <a:ext uri="{FF2B5EF4-FFF2-40B4-BE49-F238E27FC236}">
                  <a16:creationId xmlns:a16="http://schemas.microsoft.com/office/drawing/2014/main" id="{C85C9A05-5069-453A-8B05-FB3612A510DA}"/>
                </a:ext>
              </a:extLst>
            </p:cNvPr>
            <p:cNvSpPr>
              <a:spLocks/>
            </p:cNvSpPr>
            <p:nvPr/>
          </p:nvSpPr>
          <p:spPr bwMode="gray">
            <a:xfrm>
              <a:off x="3591" y="1269"/>
              <a:ext cx="38" cy="19"/>
            </a:xfrm>
            <a:custGeom>
              <a:avLst/>
              <a:gdLst>
                <a:gd name="T0" fmla="*/ 38 w 38"/>
                <a:gd name="T1" fmla="*/ 0 h 19"/>
                <a:gd name="T2" fmla="*/ 38 w 38"/>
                <a:gd name="T3" fmla="*/ 9 h 19"/>
                <a:gd name="T4" fmla="*/ 29 w 38"/>
                <a:gd name="T5" fmla="*/ 9 h 19"/>
                <a:gd name="T6" fmla="*/ 29 w 38"/>
                <a:gd name="T7" fmla="*/ 9 h 19"/>
                <a:gd name="T8" fmla="*/ 29 w 38"/>
                <a:gd name="T9" fmla="*/ 19 h 19"/>
                <a:gd name="T10" fmla="*/ 29 w 38"/>
                <a:gd name="T11" fmla="*/ 19 h 19"/>
                <a:gd name="T12" fmla="*/ 9 w 38"/>
                <a:gd name="T13" fmla="*/ 19 h 19"/>
                <a:gd name="T14" fmla="*/ 0 w 38"/>
                <a:gd name="T15" fmla="*/ 19 h 19"/>
                <a:gd name="T16" fmla="*/ 0 w 38"/>
                <a:gd name="T17" fmla="*/ 9 h 19"/>
                <a:gd name="T18" fmla="*/ 9 w 38"/>
                <a:gd name="T19" fmla="*/ 9 h 19"/>
                <a:gd name="T20" fmla="*/ 9 w 38"/>
                <a:gd name="T21" fmla="*/ 0 h 19"/>
                <a:gd name="T22" fmla="*/ 29 w 38"/>
                <a:gd name="T23" fmla="*/ 0 h 19"/>
                <a:gd name="T24" fmla="*/ 29 w 38"/>
                <a:gd name="T25" fmla="*/ 0 h 19"/>
                <a:gd name="T26" fmla="*/ 38 w 38"/>
                <a:gd name="T27" fmla="*/ 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8"/>
                <a:gd name="T43" fmla="*/ 0 h 19"/>
                <a:gd name="T44" fmla="*/ 38 w 38"/>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8" h="19">
                  <a:moveTo>
                    <a:pt x="38" y="0"/>
                  </a:moveTo>
                  <a:lnTo>
                    <a:pt x="38" y="9"/>
                  </a:lnTo>
                  <a:lnTo>
                    <a:pt x="29" y="9"/>
                  </a:lnTo>
                  <a:lnTo>
                    <a:pt x="29" y="19"/>
                  </a:lnTo>
                  <a:lnTo>
                    <a:pt x="9" y="19"/>
                  </a:lnTo>
                  <a:lnTo>
                    <a:pt x="0" y="19"/>
                  </a:lnTo>
                  <a:lnTo>
                    <a:pt x="0" y="9"/>
                  </a:lnTo>
                  <a:lnTo>
                    <a:pt x="9" y="9"/>
                  </a:lnTo>
                  <a:lnTo>
                    <a:pt x="9" y="0"/>
                  </a:lnTo>
                  <a:lnTo>
                    <a:pt x="29" y="0"/>
                  </a:lnTo>
                  <a:lnTo>
                    <a:pt x="38"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0" name="Freeform 26">
              <a:extLst>
                <a:ext uri="{FF2B5EF4-FFF2-40B4-BE49-F238E27FC236}">
                  <a16:creationId xmlns:a16="http://schemas.microsoft.com/office/drawing/2014/main" id="{5F6FA287-E4CA-4C61-9CF6-DB5CEF6415E9}"/>
                </a:ext>
              </a:extLst>
            </p:cNvPr>
            <p:cNvSpPr>
              <a:spLocks/>
            </p:cNvSpPr>
            <p:nvPr/>
          </p:nvSpPr>
          <p:spPr bwMode="gray">
            <a:xfrm>
              <a:off x="3591" y="1269"/>
              <a:ext cx="38" cy="19"/>
            </a:xfrm>
            <a:custGeom>
              <a:avLst/>
              <a:gdLst>
                <a:gd name="T0" fmla="*/ 38 w 38"/>
                <a:gd name="T1" fmla="*/ 0 h 19"/>
                <a:gd name="T2" fmla="*/ 38 w 38"/>
                <a:gd name="T3" fmla="*/ 9 h 19"/>
                <a:gd name="T4" fmla="*/ 29 w 38"/>
                <a:gd name="T5" fmla="*/ 9 h 19"/>
                <a:gd name="T6" fmla="*/ 29 w 38"/>
                <a:gd name="T7" fmla="*/ 9 h 19"/>
                <a:gd name="T8" fmla="*/ 29 w 38"/>
                <a:gd name="T9" fmla="*/ 19 h 19"/>
                <a:gd name="T10" fmla="*/ 29 w 38"/>
                <a:gd name="T11" fmla="*/ 19 h 19"/>
                <a:gd name="T12" fmla="*/ 9 w 38"/>
                <a:gd name="T13" fmla="*/ 19 h 19"/>
                <a:gd name="T14" fmla="*/ 0 w 38"/>
                <a:gd name="T15" fmla="*/ 19 h 19"/>
                <a:gd name="T16" fmla="*/ 0 w 38"/>
                <a:gd name="T17" fmla="*/ 9 h 19"/>
                <a:gd name="T18" fmla="*/ 9 w 38"/>
                <a:gd name="T19" fmla="*/ 9 h 19"/>
                <a:gd name="T20" fmla="*/ 9 w 38"/>
                <a:gd name="T21" fmla="*/ 0 h 19"/>
                <a:gd name="T22" fmla="*/ 29 w 38"/>
                <a:gd name="T23" fmla="*/ 0 h 19"/>
                <a:gd name="T24" fmla="*/ 29 w 38"/>
                <a:gd name="T25" fmla="*/ 0 h 19"/>
                <a:gd name="T26" fmla="*/ 38 w 38"/>
                <a:gd name="T27" fmla="*/ 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8"/>
                <a:gd name="T43" fmla="*/ 0 h 19"/>
                <a:gd name="T44" fmla="*/ 38 w 38"/>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8" h="19">
                  <a:moveTo>
                    <a:pt x="38" y="0"/>
                  </a:moveTo>
                  <a:lnTo>
                    <a:pt x="38" y="9"/>
                  </a:lnTo>
                  <a:lnTo>
                    <a:pt x="29" y="9"/>
                  </a:lnTo>
                  <a:lnTo>
                    <a:pt x="29" y="19"/>
                  </a:lnTo>
                  <a:lnTo>
                    <a:pt x="9" y="19"/>
                  </a:lnTo>
                  <a:lnTo>
                    <a:pt x="0" y="19"/>
                  </a:lnTo>
                  <a:lnTo>
                    <a:pt x="0" y="9"/>
                  </a:lnTo>
                  <a:lnTo>
                    <a:pt x="9" y="9"/>
                  </a:lnTo>
                  <a:lnTo>
                    <a:pt x="9" y="0"/>
                  </a:lnTo>
                  <a:lnTo>
                    <a:pt x="29" y="0"/>
                  </a:lnTo>
                  <a:lnTo>
                    <a:pt x="38"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1" name="Freeform 27">
              <a:extLst>
                <a:ext uri="{FF2B5EF4-FFF2-40B4-BE49-F238E27FC236}">
                  <a16:creationId xmlns:a16="http://schemas.microsoft.com/office/drawing/2014/main" id="{C6AAC206-A96F-4983-ADC7-EB2FB61869E2}"/>
                </a:ext>
              </a:extLst>
            </p:cNvPr>
            <p:cNvSpPr>
              <a:spLocks/>
            </p:cNvSpPr>
            <p:nvPr/>
          </p:nvSpPr>
          <p:spPr bwMode="gray">
            <a:xfrm>
              <a:off x="3562" y="1230"/>
              <a:ext cx="19" cy="10"/>
            </a:xfrm>
            <a:custGeom>
              <a:avLst/>
              <a:gdLst>
                <a:gd name="T0" fmla="*/ 19 w 19"/>
                <a:gd name="T1" fmla="*/ 0 h 10"/>
                <a:gd name="T2" fmla="*/ 19 w 19"/>
                <a:gd name="T3" fmla="*/ 10 h 10"/>
                <a:gd name="T4" fmla="*/ 19 w 19"/>
                <a:gd name="T5" fmla="*/ 10 h 10"/>
                <a:gd name="T6" fmla="*/ 0 w 19"/>
                <a:gd name="T7" fmla="*/ 10 h 10"/>
                <a:gd name="T8" fmla="*/ 10 w 19"/>
                <a:gd name="T9" fmla="*/ 0 h 10"/>
                <a:gd name="T10" fmla="*/ 10 w 19"/>
                <a:gd name="T11" fmla="*/ 0 h 10"/>
                <a:gd name="T12" fmla="*/ 19 w 19"/>
                <a:gd name="T13" fmla="*/ 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19" y="0"/>
                  </a:moveTo>
                  <a:lnTo>
                    <a:pt x="19" y="10"/>
                  </a:lnTo>
                  <a:lnTo>
                    <a:pt x="0" y="10"/>
                  </a:lnTo>
                  <a:lnTo>
                    <a:pt x="10" y="0"/>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2" name="Freeform 28">
              <a:extLst>
                <a:ext uri="{FF2B5EF4-FFF2-40B4-BE49-F238E27FC236}">
                  <a16:creationId xmlns:a16="http://schemas.microsoft.com/office/drawing/2014/main" id="{8D86B5DA-4CA5-4575-8DB5-E5579033A61C}"/>
                </a:ext>
              </a:extLst>
            </p:cNvPr>
            <p:cNvSpPr>
              <a:spLocks/>
            </p:cNvSpPr>
            <p:nvPr/>
          </p:nvSpPr>
          <p:spPr bwMode="gray">
            <a:xfrm>
              <a:off x="3562" y="1230"/>
              <a:ext cx="19" cy="10"/>
            </a:xfrm>
            <a:custGeom>
              <a:avLst/>
              <a:gdLst>
                <a:gd name="T0" fmla="*/ 19 w 19"/>
                <a:gd name="T1" fmla="*/ 0 h 10"/>
                <a:gd name="T2" fmla="*/ 19 w 19"/>
                <a:gd name="T3" fmla="*/ 10 h 10"/>
                <a:gd name="T4" fmla="*/ 19 w 19"/>
                <a:gd name="T5" fmla="*/ 10 h 10"/>
                <a:gd name="T6" fmla="*/ 0 w 19"/>
                <a:gd name="T7" fmla="*/ 10 h 10"/>
                <a:gd name="T8" fmla="*/ 10 w 19"/>
                <a:gd name="T9" fmla="*/ 0 h 10"/>
                <a:gd name="T10" fmla="*/ 10 w 19"/>
                <a:gd name="T11" fmla="*/ 0 h 10"/>
                <a:gd name="T12" fmla="*/ 19 w 19"/>
                <a:gd name="T13" fmla="*/ 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19" y="0"/>
                  </a:moveTo>
                  <a:lnTo>
                    <a:pt x="19" y="10"/>
                  </a:lnTo>
                  <a:lnTo>
                    <a:pt x="0" y="10"/>
                  </a:lnTo>
                  <a:lnTo>
                    <a:pt x="10" y="0"/>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3" name="Freeform 29">
              <a:extLst>
                <a:ext uri="{FF2B5EF4-FFF2-40B4-BE49-F238E27FC236}">
                  <a16:creationId xmlns:a16="http://schemas.microsoft.com/office/drawing/2014/main" id="{E523687C-9A62-4E60-A841-BD53D291032C}"/>
                </a:ext>
              </a:extLst>
            </p:cNvPr>
            <p:cNvSpPr>
              <a:spLocks/>
            </p:cNvSpPr>
            <p:nvPr/>
          </p:nvSpPr>
          <p:spPr bwMode="gray">
            <a:xfrm>
              <a:off x="3553" y="1250"/>
              <a:ext cx="19" cy="1"/>
            </a:xfrm>
            <a:custGeom>
              <a:avLst/>
              <a:gdLst>
                <a:gd name="T0" fmla="*/ 9 w 19"/>
                <a:gd name="T1" fmla="*/ 0 h 1"/>
                <a:gd name="T2" fmla="*/ 19 w 19"/>
                <a:gd name="T3" fmla="*/ 0 h 1"/>
                <a:gd name="T4" fmla="*/ 9 w 19"/>
                <a:gd name="T5" fmla="*/ 0 h 1"/>
                <a:gd name="T6" fmla="*/ 0 w 19"/>
                <a:gd name="T7" fmla="*/ 0 h 1"/>
                <a:gd name="T8" fmla="*/ 0 w 19"/>
                <a:gd name="T9" fmla="*/ 0 h 1"/>
                <a:gd name="T10" fmla="*/ 9 w 19"/>
                <a:gd name="T11" fmla="*/ 0 h 1"/>
                <a:gd name="T12" fmla="*/ 0 60000 65536"/>
                <a:gd name="T13" fmla="*/ 0 60000 65536"/>
                <a:gd name="T14" fmla="*/ 0 60000 65536"/>
                <a:gd name="T15" fmla="*/ 0 60000 65536"/>
                <a:gd name="T16" fmla="*/ 0 60000 65536"/>
                <a:gd name="T17" fmla="*/ 0 60000 65536"/>
                <a:gd name="T18" fmla="*/ 0 w 19"/>
                <a:gd name="T19" fmla="*/ 0 h 1"/>
                <a:gd name="T20" fmla="*/ 19 w 19"/>
                <a:gd name="T21" fmla="*/ 1 h 1"/>
              </a:gdLst>
              <a:ahLst/>
              <a:cxnLst>
                <a:cxn ang="T12">
                  <a:pos x="T0" y="T1"/>
                </a:cxn>
                <a:cxn ang="T13">
                  <a:pos x="T2" y="T3"/>
                </a:cxn>
                <a:cxn ang="T14">
                  <a:pos x="T4" y="T5"/>
                </a:cxn>
                <a:cxn ang="T15">
                  <a:pos x="T6" y="T7"/>
                </a:cxn>
                <a:cxn ang="T16">
                  <a:pos x="T8" y="T9"/>
                </a:cxn>
                <a:cxn ang="T17">
                  <a:pos x="T10" y="T11"/>
                </a:cxn>
              </a:cxnLst>
              <a:rect l="T18" t="T19" r="T20" b="T21"/>
              <a:pathLst>
                <a:path w="19" h="1">
                  <a:moveTo>
                    <a:pt x="9" y="0"/>
                  </a:moveTo>
                  <a:lnTo>
                    <a:pt x="19" y="0"/>
                  </a:lnTo>
                  <a:lnTo>
                    <a:pt x="9" y="0"/>
                  </a:lnTo>
                  <a:lnTo>
                    <a:pt x="0" y="0"/>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4" name="Freeform 30">
              <a:extLst>
                <a:ext uri="{FF2B5EF4-FFF2-40B4-BE49-F238E27FC236}">
                  <a16:creationId xmlns:a16="http://schemas.microsoft.com/office/drawing/2014/main" id="{9D64BE0A-5E83-4CD1-B81F-A80611DEB498}"/>
                </a:ext>
              </a:extLst>
            </p:cNvPr>
            <p:cNvSpPr>
              <a:spLocks/>
            </p:cNvSpPr>
            <p:nvPr/>
          </p:nvSpPr>
          <p:spPr bwMode="gray">
            <a:xfrm>
              <a:off x="3553" y="1250"/>
              <a:ext cx="19" cy="1"/>
            </a:xfrm>
            <a:custGeom>
              <a:avLst/>
              <a:gdLst>
                <a:gd name="T0" fmla="*/ 9 w 19"/>
                <a:gd name="T1" fmla="*/ 0 h 1"/>
                <a:gd name="T2" fmla="*/ 19 w 19"/>
                <a:gd name="T3" fmla="*/ 0 h 1"/>
                <a:gd name="T4" fmla="*/ 9 w 19"/>
                <a:gd name="T5" fmla="*/ 0 h 1"/>
                <a:gd name="T6" fmla="*/ 0 w 19"/>
                <a:gd name="T7" fmla="*/ 0 h 1"/>
                <a:gd name="T8" fmla="*/ 0 w 19"/>
                <a:gd name="T9" fmla="*/ 0 h 1"/>
                <a:gd name="T10" fmla="*/ 9 w 19"/>
                <a:gd name="T11" fmla="*/ 0 h 1"/>
                <a:gd name="T12" fmla="*/ 0 60000 65536"/>
                <a:gd name="T13" fmla="*/ 0 60000 65536"/>
                <a:gd name="T14" fmla="*/ 0 60000 65536"/>
                <a:gd name="T15" fmla="*/ 0 60000 65536"/>
                <a:gd name="T16" fmla="*/ 0 60000 65536"/>
                <a:gd name="T17" fmla="*/ 0 60000 65536"/>
                <a:gd name="T18" fmla="*/ 0 w 19"/>
                <a:gd name="T19" fmla="*/ 0 h 1"/>
                <a:gd name="T20" fmla="*/ 19 w 19"/>
                <a:gd name="T21" fmla="*/ 1 h 1"/>
              </a:gdLst>
              <a:ahLst/>
              <a:cxnLst>
                <a:cxn ang="T12">
                  <a:pos x="T0" y="T1"/>
                </a:cxn>
                <a:cxn ang="T13">
                  <a:pos x="T2" y="T3"/>
                </a:cxn>
                <a:cxn ang="T14">
                  <a:pos x="T4" y="T5"/>
                </a:cxn>
                <a:cxn ang="T15">
                  <a:pos x="T6" y="T7"/>
                </a:cxn>
                <a:cxn ang="T16">
                  <a:pos x="T8" y="T9"/>
                </a:cxn>
                <a:cxn ang="T17">
                  <a:pos x="T10" y="T11"/>
                </a:cxn>
              </a:cxnLst>
              <a:rect l="T18" t="T19" r="T20" b="T21"/>
              <a:pathLst>
                <a:path w="19" h="1">
                  <a:moveTo>
                    <a:pt x="9" y="0"/>
                  </a:moveTo>
                  <a:lnTo>
                    <a:pt x="19" y="0"/>
                  </a:lnTo>
                  <a:lnTo>
                    <a:pt x="9" y="0"/>
                  </a:lnTo>
                  <a:lnTo>
                    <a:pt x="0" y="0"/>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5" name="Freeform 31">
              <a:extLst>
                <a:ext uri="{FF2B5EF4-FFF2-40B4-BE49-F238E27FC236}">
                  <a16:creationId xmlns:a16="http://schemas.microsoft.com/office/drawing/2014/main" id="{385391C1-1A0B-4340-8712-62BEE1F551C1}"/>
                </a:ext>
              </a:extLst>
            </p:cNvPr>
            <p:cNvSpPr>
              <a:spLocks/>
            </p:cNvSpPr>
            <p:nvPr/>
          </p:nvSpPr>
          <p:spPr bwMode="gray">
            <a:xfrm>
              <a:off x="3543" y="1259"/>
              <a:ext cx="29" cy="10"/>
            </a:xfrm>
            <a:custGeom>
              <a:avLst/>
              <a:gdLst>
                <a:gd name="T0" fmla="*/ 0 w 29"/>
                <a:gd name="T1" fmla="*/ 0 h 10"/>
                <a:gd name="T2" fmla="*/ 10 w 29"/>
                <a:gd name="T3" fmla="*/ 0 h 10"/>
                <a:gd name="T4" fmla="*/ 19 w 29"/>
                <a:gd name="T5" fmla="*/ 10 h 10"/>
                <a:gd name="T6" fmla="*/ 29 w 29"/>
                <a:gd name="T7" fmla="*/ 10 h 10"/>
                <a:gd name="T8" fmla="*/ 29 w 29"/>
                <a:gd name="T9" fmla="*/ 10 h 10"/>
                <a:gd name="T10" fmla="*/ 19 w 29"/>
                <a:gd name="T11" fmla="*/ 10 h 10"/>
                <a:gd name="T12" fmla="*/ 10 w 29"/>
                <a:gd name="T13" fmla="*/ 10 h 10"/>
                <a:gd name="T14" fmla="*/ 0 w 29"/>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29"/>
                <a:gd name="T25" fmla="*/ 0 h 10"/>
                <a:gd name="T26" fmla="*/ 29 w 2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 h="10">
                  <a:moveTo>
                    <a:pt x="0" y="0"/>
                  </a:moveTo>
                  <a:lnTo>
                    <a:pt x="10" y="0"/>
                  </a:lnTo>
                  <a:lnTo>
                    <a:pt x="19" y="10"/>
                  </a:lnTo>
                  <a:lnTo>
                    <a:pt x="29" y="10"/>
                  </a:lnTo>
                  <a:lnTo>
                    <a:pt x="19" y="10"/>
                  </a:lnTo>
                  <a:lnTo>
                    <a:pt x="10"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6" name="Freeform 32">
              <a:extLst>
                <a:ext uri="{FF2B5EF4-FFF2-40B4-BE49-F238E27FC236}">
                  <a16:creationId xmlns:a16="http://schemas.microsoft.com/office/drawing/2014/main" id="{20233352-3075-4E67-9591-F7B7EC042F42}"/>
                </a:ext>
              </a:extLst>
            </p:cNvPr>
            <p:cNvSpPr>
              <a:spLocks/>
            </p:cNvSpPr>
            <p:nvPr/>
          </p:nvSpPr>
          <p:spPr bwMode="gray">
            <a:xfrm>
              <a:off x="3543" y="1259"/>
              <a:ext cx="29" cy="10"/>
            </a:xfrm>
            <a:custGeom>
              <a:avLst/>
              <a:gdLst>
                <a:gd name="T0" fmla="*/ 0 w 29"/>
                <a:gd name="T1" fmla="*/ 0 h 10"/>
                <a:gd name="T2" fmla="*/ 10 w 29"/>
                <a:gd name="T3" fmla="*/ 0 h 10"/>
                <a:gd name="T4" fmla="*/ 19 w 29"/>
                <a:gd name="T5" fmla="*/ 10 h 10"/>
                <a:gd name="T6" fmla="*/ 29 w 29"/>
                <a:gd name="T7" fmla="*/ 10 h 10"/>
                <a:gd name="T8" fmla="*/ 29 w 29"/>
                <a:gd name="T9" fmla="*/ 10 h 10"/>
                <a:gd name="T10" fmla="*/ 19 w 29"/>
                <a:gd name="T11" fmla="*/ 10 h 10"/>
                <a:gd name="T12" fmla="*/ 10 w 29"/>
                <a:gd name="T13" fmla="*/ 10 h 10"/>
                <a:gd name="T14" fmla="*/ 0 w 29"/>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29"/>
                <a:gd name="T25" fmla="*/ 0 h 10"/>
                <a:gd name="T26" fmla="*/ 29 w 2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 h="10">
                  <a:moveTo>
                    <a:pt x="0" y="0"/>
                  </a:moveTo>
                  <a:lnTo>
                    <a:pt x="10" y="0"/>
                  </a:lnTo>
                  <a:lnTo>
                    <a:pt x="19" y="10"/>
                  </a:lnTo>
                  <a:lnTo>
                    <a:pt x="29" y="10"/>
                  </a:lnTo>
                  <a:lnTo>
                    <a:pt x="19" y="10"/>
                  </a:lnTo>
                  <a:lnTo>
                    <a:pt x="10"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7" name="Freeform 33">
              <a:extLst>
                <a:ext uri="{FF2B5EF4-FFF2-40B4-BE49-F238E27FC236}">
                  <a16:creationId xmlns:a16="http://schemas.microsoft.com/office/drawing/2014/main" id="{939B5A28-0043-4B27-A500-372CE893DD9A}"/>
                </a:ext>
              </a:extLst>
            </p:cNvPr>
            <p:cNvSpPr>
              <a:spLocks/>
            </p:cNvSpPr>
            <p:nvPr/>
          </p:nvSpPr>
          <p:spPr bwMode="gray">
            <a:xfrm>
              <a:off x="3562" y="1288"/>
              <a:ext cx="29" cy="9"/>
            </a:xfrm>
            <a:custGeom>
              <a:avLst/>
              <a:gdLst>
                <a:gd name="T0" fmla="*/ 10 w 29"/>
                <a:gd name="T1" fmla="*/ 0 h 9"/>
                <a:gd name="T2" fmla="*/ 0 w 29"/>
                <a:gd name="T3" fmla="*/ 0 h 9"/>
                <a:gd name="T4" fmla="*/ 0 w 29"/>
                <a:gd name="T5" fmla="*/ 0 h 9"/>
                <a:gd name="T6" fmla="*/ 0 w 29"/>
                <a:gd name="T7" fmla="*/ 9 h 9"/>
                <a:gd name="T8" fmla="*/ 0 w 29"/>
                <a:gd name="T9" fmla="*/ 9 h 9"/>
                <a:gd name="T10" fmla="*/ 10 w 29"/>
                <a:gd name="T11" fmla="*/ 9 h 9"/>
                <a:gd name="T12" fmla="*/ 10 w 29"/>
                <a:gd name="T13" fmla="*/ 9 h 9"/>
                <a:gd name="T14" fmla="*/ 19 w 29"/>
                <a:gd name="T15" fmla="*/ 0 h 9"/>
                <a:gd name="T16" fmla="*/ 29 w 29"/>
                <a:gd name="T17" fmla="*/ 0 h 9"/>
                <a:gd name="T18" fmla="*/ 29 w 29"/>
                <a:gd name="T19" fmla="*/ 0 h 9"/>
                <a:gd name="T20" fmla="*/ 19 w 29"/>
                <a:gd name="T21" fmla="*/ 0 h 9"/>
                <a:gd name="T22" fmla="*/ 10 w 29"/>
                <a:gd name="T23" fmla="*/ 0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
                <a:gd name="T37" fmla="*/ 0 h 9"/>
                <a:gd name="T38" fmla="*/ 29 w 29"/>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 h="9">
                  <a:moveTo>
                    <a:pt x="10" y="0"/>
                  </a:moveTo>
                  <a:lnTo>
                    <a:pt x="0" y="0"/>
                  </a:lnTo>
                  <a:lnTo>
                    <a:pt x="0" y="9"/>
                  </a:lnTo>
                  <a:lnTo>
                    <a:pt x="10" y="9"/>
                  </a:lnTo>
                  <a:lnTo>
                    <a:pt x="19" y="0"/>
                  </a:lnTo>
                  <a:lnTo>
                    <a:pt x="29" y="0"/>
                  </a:lnTo>
                  <a:lnTo>
                    <a:pt x="19" y="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8" name="Freeform 34">
              <a:extLst>
                <a:ext uri="{FF2B5EF4-FFF2-40B4-BE49-F238E27FC236}">
                  <a16:creationId xmlns:a16="http://schemas.microsoft.com/office/drawing/2014/main" id="{B2466BA9-913D-4B35-A590-CD079A35DFD9}"/>
                </a:ext>
              </a:extLst>
            </p:cNvPr>
            <p:cNvSpPr>
              <a:spLocks/>
            </p:cNvSpPr>
            <p:nvPr/>
          </p:nvSpPr>
          <p:spPr bwMode="gray">
            <a:xfrm>
              <a:off x="3562" y="1288"/>
              <a:ext cx="29" cy="9"/>
            </a:xfrm>
            <a:custGeom>
              <a:avLst/>
              <a:gdLst>
                <a:gd name="T0" fmla="*/ 10 w 29"/>
                <a:gd name="T1" fmla="*/ 0 h 9"/>
                <a:gd name="T2" fmla="*/ 0 w 29"/>
                <a:gd name="T3" fmla="*/ 0 h 9"/>
                <a:gd name="T4" fmla="*/ 0 w 29"/>
                <a:gd name="T5" fmla="*/ 0 h 9"/>
                <a:gd name="T6" fmla="*/ 0 w 29"/>
                <a:gd name="T7" fmla="*/ 9 h 9"/>
                <a:gd name="T8" fmla="*/ 0 w 29"/>
                <a:gd name="T9" fmla="*/ 9 h 9"/>
                <a:gd name="T10" fmla="*/ 10 w 29"/>
                <a:gd name="T11" fmla="*/ 9 h 9"/>
                <a:gd name="T12" fmla="*/ 10 w 29"/>
                <a:gd name="T13" fmla="*/ 9 h 9"/>
                <a:gd name="T14" fmla="*/ 19 w 29"/>
                <a:gd name="T15" fmla="*/ 0 h 9"/>
                <a:gd name="T16" fmla="*/ 29 w 29"/>
                <a:gd name="T17" fmla="*/ 0 h 9"/>
                <a:gd name="T18" fmla="*/ 29 w 29"/>
                <a:gd name="T19" fmla="*/ 0 h 9"/>
                <a:gd name="T20" fmla="*/ 19 w 29"/>
                <a:gd name="T21" fmla="*/ 0 h 9"/>
                <a:gd name="T22" fmla="*/ 10 w 29"/>
                <a:gd name="T23" fmla="*/ 0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
                <a:gd name="T37" fmla="*/ 0 h 9"/>
                <a:gd name="T38" fmla="*/ 29 w 29"/>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 h="9">
                  <a:moveTo>
                    <a:pt x="10" y="0"/>
                  </a:moveTo>
                  <a:lnTo>
                    <a:pt x="0" y="0"/>
                  </a:lnTo>
                  <a:lnTo>
                    <a:pt x="0" y="9"/>
                  </a:lnTo>
                  <a:lnTo>
                    <a:pt x="10" y="9"/>
                  </a:lnTo>
                  <a:lnTo>
                    <a:pt x="19" y="0"/>
                  </a:lnTo>
                  <a:lnTo>
                    <a:pt x="29" y="0"/>
                  </a:lnTo>
                  <a:lnTo>
                    <a:pt x="19" y="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9" name="Freeform 35">
              <a:extLst>
                <a:ext uri="{FF2B5EF4-FFF2-40B4-BE49-F238E27FC236}">
                  <a16:creationId xmlns:a16="http://schemas.microsoft.com/office/drawing/2014/main" id="{9F02155A-E130-4CF3-86B4-02A4B79CC01F}"/>
                </a:ext>
              </a:extLst>
            </p:cNvPr>
            <p:cNvSpPr>
              <a:spLocks/>
            </p:cNvSpPr>
            <p:nvPr/>
          </p:nvSpPr>
          <p:spPr bwMode="gray">
            <a:xfrm>
              <a:off x="3581" y="1297"/>
              <a:ext cx="10" cy="10"/>
            </a:xfrm>
            <a:custGeom>
              <a:avLst/>
              <a:gdLst>
                <a:gd name="T0" fmla="*/ 10 w 10"/>
                <a:gd name="T1" fmla="*/ 0 h 10"/>
                <a:gd name="T2" fmla="*/ 0 w 10"/>
                <a:gd name="T3" fmla="*/ 0 h 10"/>
                <a:gd name="T4" fmla="*/ 0 w 10"/>
                <a:gd name="T5" fmla="*/ 0 h 10"/>
                <a:gd name="T6" fmla="*/ 0 w 10"/>
                <a:gd name="T7" fmla="*/ 10 h 10"/>
                <a:gd name="T8" fmla="*/ 10 w 10"/>
                <a:gd name="T9" fmla="*/ 10 h 10"/>
                <a:gd name="T10" fmla="*/ 10 w 10"/>
                <a:gd name="T11" fmla="*/ 10 h 10"/>
                <a:gd name="T12" fmla="*/ 10 w 10"/>
                <a:gd name="T13" fmla="*/ 0 h 10"/>
                <a:gd name="T14" fmla="*/ 10 w 10"/>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0"/>
                <a:gd name="T26" fmla="*/ 10 w 10"/>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0">
                  <a:moveTo>
                    <a:pt x="10" y="0"/>
                  </a:moveTo>
                  <a:lnTo>
                    <a:pt x="0" y="0"/>
                  </a:lnTo>
                  <a:lnTo>
                    <a:pt x="0" y="10"/>
                  </a:lnTo>
                  <a:lnTo>
                    <a:pt x="10" y="1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60" name="Freeform 36">
              <a:extLst>
                <a:ext uri="{FF2B5EF4-FFF2-40B4-BE49-F238E27FC236}">
                  <a16:creationId xmlns:a16="http://schemas.microsoft.com/office/drawing/2014/main" id="{904EB16E-FC09-45F3-B23D-66D734C33F21}"/>
                </a:ext>
              </a:extLst>
            </p:cNvPr>
            <p:cNvSpPr>
              <a:spLocks/>
            </p:cNvSpPr>
            <p:nvPr/>
          </p:nvSpPr>
          <p:spPr bwMode="gray">
            <a:xfrm>
              <a:off x="3581" y="1297"/>
              <a:ext cx="10" cy="10"/>
            </a:xfrm>
            <a:custGeom>
              <a:avLst/>
              <a:gdLst>
                <a:gd name="T0" fmla="*/ 10 w 10"/>
                <a:gd name="T1" fmla="*/ 0 h 10"/>
                <a:gd name="T2" fmla="*/ 0 w 10"/>
                <a:gd name="T3" fmla="*/ 0 h 10"/>
                <a:gd name="T4" fmla="*/ 0 w 10"/>
                <a:gd name="T5" fmla="*/ 0 h 10"/>
                <a:gd name="T6" fmla="*/ 0 w 10"/>
                <a:gd name="T7" fmla="*/ 10 h 10"/>
                <a:gd name="T8" fmla="*/ 10 w 10"/>
                <a:gd name="T9" fmla="*/ 10 h 10"/>
                <a:gd name="T10" fmla="*/ 10 w 10"/>
                <a:gd name="T11" fmla="*/ 10 h 10"/>
                <a:gd name="T12" fmla="*/ 10 w 10"/>
                <a:gd name="T13" fmla="*/ 0 h 10"/>
                <a:gd name="T14" fmla="*/ 10 w 10"/>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0"/>
                <a:gd name="T26" fmla="*/ 10 w 10"/>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0">
                  <a:moveTo>
                    <a:pt x="10" y="0"/>
                  </a:moveTo>
                  <a:lnTo>
                    <a:pt x="0" y="0"/>
                  </a:lnTo>
                  <a:lnTo>
                    <a:pt x="0" y="10"/>
                  </a:lnTo>
                  <a:lnTo>
                    <a:pt x="10" y="1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61" name="Freeform 37">
              <a:extLst>
                <a:ext uri="{FF2B5EF4-FFF2-40B4-BE49-F238E27FC236}">
                  <a16:creationId xmlns:a16="http://schemas.microsoft.com/office/drawing/2014/main" id="{47144825-C2E7-4EF6-B793-C3A2899EA689}"/>
                </a:ext>
              </a:extLst>
            </p:cNvPr>
            <p:cNvSpPr>
              <a:spLocks/>
            </p:cNvSpPr>
            <p:nvPr/>
          </p:nvSpPr>
          <p:spPr bwMode="gray">
            <a:xfrm>
              <a:off x="3505" y="1393"/>
              <a:ext cx="229" cy="95"/>
            </a:xfrm>
            <a:custGeom>
              <a:avLst/>
              <a:gdLst>
                <a:gd name="T0" fmla="*/ 229 w 229"/>
                <a:gd name="T1" fmla="*/ 0 h 95"/>
                <a:gd name="T2" fmla="*/ 219 w 229"/>
                <a:gd name="T3" fmla="*/ 9 h 95"/>
                <a:gd name="T4" fmla="*/ 210 w 229"/>
                <a:gd name="T5" fmla="*/ 19 h 95"/>
                <a:gd name="T6" fmla="*/ 172 w 229"/>
                <a:gd name="T7" fmla="*/ 28 h 95"/>
                <a:gd name="T8" fmla="*/ 143 w 229"/>
                <a:gd name="T9" fmla="*/ 28 h 95"/>
                <a:gd name="T10" fmla="*/ 134 w 229"/>
                <a:gd name="T11" fmla="*/ 38 h 95"/>
                <a:gd name="T12" fmla="*/ 115 w 229"/>
                <a:gd name="T13" fmla="*/ 38 h 95"/>
                <a:gd name="T14" fmla="*/ 105 w 229"/>
                <a:gd name="T15" fmla="*/ 57 h 95"/>
                <a:gd name="T16" fmla="*/ 95 w 229"/>
                <a:gd name="T17" fmla="*/ 57 h 95"/>
                <a:gd name="T18" fmla="*/ 76 w 229"/>
                <a:gd name="T19" fmla="*/ 66 h 95"/>
                <a:gd name="T20" fmla="*/ 76 w 229"/>
                <a:gd name="T21" fmla="*/ 66 h 95"/>
                <a:gd name="T22" fmla="*/ 57 w 229"/>
                <a:gd name="T23" fmla="*/ 76 h 95"/>
                <a:gd name="T24" fmla="*/ 48 w 229"/>
                <a:gd name="T25" fmla="*/ 95 h 95"/>
                <a:gd name="T26" fmla="*/ 29 w 229"/>
                <a:gd name="T27" fmla="*/ 95 h 95"/>
                <a:gd name="T28" fmla="*/ 10 w 229"/>
                <a:gd name="T29" fmla="*/ 95 h 95"/>
                <a:gd name="T30" fmla="*/ 29 w 229"/>
                <a:gd name="T31" fmla="*/ 86 h 95"/>
                <a:gd name="T32" fmla="*/ 10 w 229"/>
                <a:gd name="T33" fmla="*/ 86 h 95"/>
                <a:gd name="T34" fmla="*/ 0 w 229"/>
                <a:gd name="T35" fmla="*/ 76 h 95"/>
                <a:gd name="T36" fmla="*/ 19 w 229"/>
                <a:gd name="T37" fmla="*/ 76 h 95"/>
                <a:gd name="T38" fmla="*/ 19 w 229"/>
                <a:gd name="T39" fmla="*/ 76 h 95"/>
                <a:gd name="T40" fmla="*/ 29 w 229"/>
                <a:gd name="T41" fmla="*/ 76 h 95"/>
                <a:gd name="T42" fmla="*/ 29 w 229"/>
                <a:gd name="T43" fmla="*/ 76 h 95"/>
                <a:gd name="T44" fmla="*/ 29 w 229"/>
                <a:gd name="T45" fmla="*/ 76 h 95"/>
                <a:gd name="T46" fmla="*/ 29 w 229"/>
                <a:gd name="T47" fmla="*/ 66 h 95"/>
                <a:gd name="T48" fmla="*/ 38 w 229"/>
                <a:gd name="T49" fmla="*/ 66 h 95"/>
                <a:gd name="T50" fmla="*/ 38 w 229"/>
                <a:gd name="T51" fmla="*/ 57 h 95"/>
                <a:gd name="T52" fmla="*/ 29 w 229"/>
                <a:gd name="T53" fmla="*/ 47 h 95"/>
                <a:gd name="T54" fmla="*/ 29 w 229"/>
                <a:gd name="T55" fmla="*/ 47 h 95"/>
                <a:gd name="T56" fmla="*/ 38 w 229"/>
                <a:gd name="T57" fmla="*/ 47 h 95"/>
                <a:gd name="T58" fmla="*/ 48 w 229"/>
                <a:gd name="T59" fmla="*/ 38 h 95"/>
                <a:gd name="T60" fmla="*/ 67 w 229"/>
                <a:gd name="T61" fmla="*/ 28 h 95"/>
                <a:gd name="T62" fmla="*/ 76 w 229"/>
                <a:gd name="T63" fmla="*/ 28 h 95"/>
                <a:gd name="T64" fmla="*/ 95 w 229"/>
                <a:gd name="T65" fmla="*/ 19 h 95"/>
                <a:gd name="T66" fmla="*/ 105 w 229"/>
                <a:gd name="T67" fmla="*/ 19 h 95"/>
                <a:gd name="T68" fmla="*/ 105 w 229"/>
                <a:gd name="T69" fmla="*/ 19 h 95"/>
                <a:gd name="T70" fmla="*/ 124 w 229"/>
                <a:gd name="T71" fmla="*/ 19 h 95"/>
                <a:gd name="T72" fmla="*/ 143 w 229"/>
                <a:gd name="T73" fmla="*/ 19 h 95"/>
                <a:gd name="T74" fmla="*/ 181 w 229"/>
                <a:gd name="T75" fmla="*/ 0 h 95"/>
                <a:gd name="T76" fmla="*/ 210 w 229"/>
                <a:gd name="T77" fmla="*/ 0 h 9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29"/>
                <a:gd name="T118" fmla="*/ 0 h 95"/>
                <a:gd name="T119" fmla="*/ 229 w 229"/>
                <a:gd name="T120" fmla="*/ 95 h 9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29" h="95">
                  <a:moveTo>
                    <a:pt x="210" y="0"/>
                  </a:moveTo>
                  <a:lnTo>
                    <a:pt x="229" y="0"/>
                  </a:lnTo>
                  <a:lnTo>
                    <a:pt x="229" y="9"/>
                  </a:lnTo>
                  <a:lnTo>
                    <a:pt x="219" y="9"/>
                  </a:lnTo>
                  <a:lnTo>
                    <a:pt x="219" y="19"/>
                  </a:lnTo>
                  <a:lnTo>
                    <a:pt x="210" y="19"/>
                  </a:lnTo>
                  <a:lnTo>
                    <a:pt x="191" y="28"/>
                  </a:lnTo>
                  <a:lnTo>
                    <a:pt x="172" y="28"/>
                  </a:lnTo>
                  <a:lnTo>
                    <a:pt x="162" y="28"/>
                  </a:lnTo>
                  <a:lnTo>
                    <a:pt x="143" y="28"/>
                  </a:lnTo>
                  <a:lnTo>
                    <a:pt x="134" y="38"/>
                  </a:lnTo>
                  <a:lnTo>
                    <a:pt x="124" y="38"/>
                  </a:lnTo>
                  <a:lnTo>
                    <a:pt x="115" y="38"/>
                  </a:lnTo>
                  <a:lnTo>
                    <a:pt x="105" y="47"/>
                  </a:lnTo>
                  <a:lnTo>
                    <a:pt x="105" y="57"/>
                  </a:lnTo>
                  <a:lnTo>
                    <a:pt x="95" y="57"/>
                  </a:lnTo>
                  <a:lnTo>
                    <a:pt x="76" y="57"/>
                  </a:lnTo>
                  <a:lnTo>
                    <a:pt x="76" y="66"/>
                  </a:lnTo>
                  <a:lnTo>
                    <a:pt x="67" y="76"/>
                  </a:lnTo>
                  <a:lnTo>
                    <a:pt x="57" y="76"/>
                  </a:lnTo>
                  <a:lnTo>
                    <a:pt x="57" y="86"/>
                  </a:lnTo>
                  <a:lnTo>
                    <a:pt x="48" y="95"/>
                  </a:lnTo>
                  <a:lnTo>
                    <a:pt x="38" y="95"/>
                  </a:lnTo>
                  <a:lnTo>
                    <a:pt x="29" y="95"/>
                  </a:lnTo>
                  <a:lnTo>
                    <a:pt x="10" y="95"/>
                  </a:lnTo>
                  <a:lnTo>
                    <a:pt x="19" y="86"/>
                  </a:lnTo>
                  <a:lnTo>
                    <a:pt x="29" y="86"/>
                  </a:lnTo>
                  <a:lnTo>
                    <a:pt x="10" y="86"/>
                  </a:lnTo>
                  <a:lnTo>
                    <a:pt x="0" y="86"/>
                  </a:lnTo>
                  <a:lnTo>
                    <a:pt x="0" y="76"/>
                  </a:lnTo>
                  <a:lnTo>
                    <a:pt x="10" y="76"/>
                  </a:lnTo>
                  <a:lnTo>
                    <a:pt x="19" y="76"/>
                  </a:lnTo>
                  <a:lnTo>
                    <a:pt x="19" y="66"/>
                  </a:lnTo>
                  <a:lnTo>
                    <a:pt x="19" y="76"/>
                  </a:lnTo>
                  <a:lnTo>
                    <a:pt x="29" y="76"/>
                  </a:lnTo>
                  <a:lnTo>
                    <a:pt x="38" y="76"/>
                  </a:lnTo>
                  <a:lnTo>
                    <a:pt x="29" y="66"/>
                  </a:lnTo>
                  <a:lnTo>
                    <a:pt x="38" y="66"/>
                  </a:lnTo>
                  <a:lnTo>
                    <a:pt x="29" y="57"/>
                  </a:lnTo>
                  <a:lnTo>
                    <a:pt x="38" y="57"/>
                  </a:lnTo>
                  <a:lnTo>
                    <a:pt x="29" y="47"/>
                  </a:lnTo>
                  <a:lnTo>
                    <a:pt x="29" y="38"/>
                  </a:lnTo>
                  <a:lnTo>
                    <a:pt x="38" y="47"/>
                  </a:lnTo>
                  <a:lnTo>
                    <a:pt x="48" y="38"/>
                  </a:lnTo>
                  <a:lnTo>
                    <a:pt x="67" y="38"/>
                  </a:lnTo>
                  <a:lnTo>
                    <a:pt x="67" y="28"/>
                  </a:lnTo>
                  <a:lnTo>
                    <a:pt x="76" y="28"/>
                  </a:lnTo>
                  <a:lnTo>
                    <a:pt x="86" y="28"/>
                  </a:lnTo>
                  <a:lnTo>
                    <a:pt x="95" y="19"/>
                  </a:lnTo>
                  <a:lnTo>
                    <a:pt x="105" y="19"/>
                  </a:lnTo>
                  <a:lnTo>
                    <a:pt x="115" y="19"/>
                  </a:lnTo>
                  <a:lnTo>
                    <a:pt x="105" y="19"/>
                  </a:lnTo>
                  <a:lnTo>
                    <a:pt x="115" y="19"/>
                  </a:lnTo>
                  <a:lnTo>
                    <a:pt x="124" y="19"/>
                  </a:lnTo>
                  <a:lnTo>
                    <a:pt x="143" y="19"/>
                  </a:lnTo>
                  <a:lnTo>
                    <a:pt x="181" y="9"/>
                  </a:lnTo>
                  <a:lnTo>
                    <a:pt x="181" y="0"/>
                  </a:lnTo>
                  <a:lnTo>
                    <a:pt x="191" y="0"/>
                  </a:lnTo>
                  <a:lnTo>
                    <a:pt x="2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62" name="Freeform 38">
              <a:extLst>
                <a:ext uri="{FF2B5EF4-FFF2-40B4-BE49-F238E27FC236}">
                  <a16:creationId xmlns:a16="http://schemas.microsoft.com/office/drawing/2014/main" id="{C49C4E81-ECB7-455C-99E1-029DBAE75C7E}"/>
                </a:ext>
              </a:extLst>
            </p:cNvPr>
            <p:cNvSpPr>
              <a:spLocks/>
            </p:cNvSpPr>
            <p:nvPr/>
          </p:nvSpPr>
          <p:spPr bwMode="gray">
            <a:xfrm>
              <a:off x="3505" y="1393"/>
              <a:ext cx="229" cy="95"/>
            </a:xfrm>
            <a:custGeom>
              <a:avLst/>
              <a:gdLst>
                <a:gd name="T0" fmla="*/ 229 w 229"/>
                <a:gd name="T1" fmla="*/ 0 h 95"/>
                <a:gd name="T2" fmla="*/ 219 w 229"/>
                <a:gd name="T3" fmla="*/ 9 h 95"/>
                <a:gd name="T4" fmla="*/ 210 w 229"/>
                <a:gd name="T5" fmla="*/ 19 h 95"/>
                <a:gd name="T6" fmla="*/ 172 w 229"/>
                <a:gd name="T7" fmla="*/ 28 h 95"/>
                <a:gd name="T8" fmla="*/ 143 w 229"/>
                <a:gd name="T9" fmla="*/ 28 h 95"/>
                <a:gd name="T10" fmla="*/ 134 w 229"/>
                <a:gd name="T11" fmla="*/ 38 h 95"/>
                <a:gd name="T12" fmla="*/ 115 w 229"/>
                <a:gd name="T13" fmla="*/ 38 h 95"/>
                <a:gd name="T14" fmla="*/ 105 w 229"/>
                <a:gd name="T15" fmla="*/ 47 h 95"/>
                <a:gd name="T16" fmla="*/ 95 w 229"/>
                <a:gd name="T17" fmla="*/ 57 h 95"/>
                <a:gd name="T18" fmla="*/ 76 w 229"/>
                <a:gd name="T19" fmla="*/ 66 h 95"/>
                <a:gd name="T20" fmla="*/ 76 w 229"/>
                <a:gd name="T21" fmla="*/ 66 h 95"/>
                <a:gd name="T22" fmla="*/ 57 w 229"/>
                <a:gd name="T23" fmla="*/ 76 h 95"/>
                <a:gd name="T24" fmla="*/ 48 w 229"/>
                <a:gd name="T25" fmla="*/ 95 h 95"/>
                <a:gd name="T26" fmla="*/ 29 w 229"/>
                <a:gd name="T27" fmla="*/ 95 h 95"/>
                <a:gd name="T28" fmla="*/ 10 w 229"/>
                <a:gd name="T29" fmla="*/ 95 h 95"/>
                <a:gd name="T30" fmla="*/ 29 w 229"/>
                <a:gd name="T31" fmla="*/ 86 h 95"/>
                <a:gd name="T32" fmla="*/ 10 w 229"/>
                <a:gd name="T33" fmla="*/ 86 h 95"/>
                <a:gd name="T34" fmla="*/ 0 w 229"/>
                <a:gd name="T35" fmla="*/ 76 h 95"/>
                <a:gd name="T36" fmla="*/ 19 w 229"/>
                <a:gd name="T37" fmla="*/ 76 h 95"/>
                <a:gd name="T38" fmla="*/ 29 w 229"/>
                <a:gd name="T39" fmla="*/ 76 h 95"/>
                <a:gd name="T40" fmla="*/ 38 w 229"/>
                <a:gd name="T41" fmla="*/ 76 h 95"/>
                <a:gd name="T42" fmla="*/ 29 w 229"/>
                <a:gd name="T43" fmla="*/ 66 h 95"/>
                <a:gd name="T44" fmla="*/ 29 w 229"/>
                <a:gd name="T45" fmla="*/ 57 h 95"/>
                <a:gd name="T46" fmla="*/ 38 w 229"/>
                <a:gd name="T47" fmla="*/ 57 h 95"/>
                <a:gd name="T48" fmla="*/ 29 w 229"/>
                <a:gd name="T49" fmla="*/ 47 h 95"/>
                <a:gd name="T50" fmla="*/ 29 w 229"/>
                <a:gd name="T51" fmla="*/ 38 h 95"/>
                <a:gd name="T52" fmla="*/ 48 w 229"/>
                <a:gd name="T53" fmla="*/ 38 h 95"/>
                <a:gd name="T54" fmla="*/ 67 w 229"/>
                <a:gd name="T55" fmla="*/ 38 h 95"/>
                <a:gd name="T56" fmla="*/ 76 w 229"/>
                <a:gd name="T57" fmla="*/ 28 h 95"/>
                <a:gd name="T58" fmla="*/ 86 w 229"/>
                <a:gd name="T59" fmla="*/ 28 h 95"/>
                <a:gd name="T60" fmla="*/ 105 w 229"/>
                <a:gd name="T61" fmla="*/ 19 h 95"/>
                <a:gd name="T62" fmla="*/ 115 w 229"/>
                <a:gd name="T63" fmla="*/ 19 h 95"/>
                <a:gd name="T64" fmla="*/ 115 w 229"/>
                <a:gd name="T65" fmla="*/ 19 h 95"/>
                <a:gd name="T66" fmla="*/ 124 w 229"/>
                <a:gd name="T67" fmla="*/ 19 h 95"/>
                <a:gd name="T68" fmla="*/ 181 w 229"/>
                <a:gd name="T69" fmla="*/ 9 h 95"/>
                <a:gd name="T70" fmla="*/ 191 w 229"/>
                <a:gd name="T71" fmla="*/ 0 h 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9"/>
                <a:gd name="T109" fmla="*/ 0 h 95"/>
                <a:gd name="T110" fmla="*/ 229 w 229"/>
                <a:gd name="T111" fmla="*/ 95 h 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9" h="95">
                  <a:moveTo>
                    <a:pt x="210" y="0"/>
                  </a:moveTo>
                  <a:lnTo>
                    <a:pt x="229" y="0"/>
                  </a:lnTo>
                  <a:lnTo>
                    <a:pt x="229" y="9"/>
                  </a:lnTo>
                  <a:lnTo>
                    <a:pt x="219" y="9"/>
                  </a:lnTo>
                  <a:lnTo>
                    <a:pt x="219" y="19"/>
                  </a:lnTo>
                  <a:lnTo>
                    <a:pt x="210" y="19"/>
                  </a:lnTo>
                  <a:lnTo>
                    <a:pt x="191" y="19"/>
                  </a:lnTo>
                  <a:lnTo>
                    <a:pt x="172" y="28"/>
                  </a:lnTo>
                  <a:lnTo>
                    <a:pt x="162" y="28"/>
                  </a:lnTo>
                  <a:lnTo>
                    <a:pt x="143" y="28"/>
                  </a:lnTo>
                  <a:lnTo>
                    <a:pt x="134" y="38"/>
                  </a:lnTo>
                  <a:lnTo>
                    <a:pt x="124" y="38"/>
                  </a:lnTo>
                  <a:lnTo>
                    <a:pt x="115" y="38"/>
                  </a:lnTo>
                  <a:lnTo>
                    <a:pt x="105" y="47"/>
                  </a:lnTo>
                  <a:lnTo>
                    <a:pt x="95" y="57"/>
                  </a:lnTo>
                  <a:lnTo>
                    <a:pt x="76" y="57"/>
                  </a:lnTo>
                  <a:lnTo>
                    <a:pt x="76" y="66"/>
                  </a:lnTo>
                  <a:lnTo>
                    <a:pt x="67" y="76"/>
                  </a:lnTo>
                  <a:lnTo>
                    <a:pt x="57" y="76"/>
                  </a:lnTo>
                  <a:lnTo>
                    <a:pt x="57" y="86"/>
                  </a:lnTo>
                  <a:lnTo>
                    <a:pt x="48" y="95"/>
                  </a:lnTo>
                  <a:lnTo>
                    <a:pt x="38" y="95"/>
                  </a:lnTo>
                  <a:lnTo>
                    <a:pt x="29" y="95"/>
                  </a:lnTo>
                  <a:lnTo>
                    <a:pt x="10" y="95"/>
                  </a:lnTo>
                  <a:lnTo>
                    <a:pt x="19" y="86"/>
                  </a:lnTo>
                  <a:lnTo>
                    <a:pt x="29" y="86"/>
                  </a:lnTo>
                  <a:lnTo>
                    <a:pt x="10" y="86"/>
                  </a:lnTo>
                  <a:lnTo>
                    <a:pt x="0" y="86"/>
                  </a:lnTo>
                  <a:lnTo>
                    <a:pt x="0" y="76"/>
                  </a:lnTo>
                  <a:lnTo>
                    <a:pt x="10" y="76"/>
                  </a:lnTo>
                  <a:lnTo>
                    <a:pt x="19" y="76"/>
                  </a:lnTo>
                  <a:lnTo>
                    <a:pt x="19" y="66"/>
                  </a:lnTo>
                  <a:lnTo>
                    <a:pt x="29" y="76"/>
                  </a:lnTo>
                  <a:lnTo>
                    <a:pt x="38" y="76"/>
                  </a:lnTo>
                  <a:lnTo>
                    <a:pt x="29" y="66"/>
                  </a:lnTo>
                  <a:lnTo>
                    <a:pt x="38" y="57"/>
                  </a:lnTo>
                  <a:lnTo>
                    <a:pt x="29" y="57"/>
                  </a:lnTo>
                  <a:lnTo>
                    <a:pt x="38" y="57"/>
                  </a:lnTo>
                  <a:lnTo>
                    <a:pt x="29" y="47"/>
                  </a:lnTo>
                  <a:lnTo>
                    <a:pt x="29" y="38"/>
                  </a:lnTo>
                  <a:lnTo>
                    <a:pt x="38" y="47"/>
                  </a:lnTo>
                  <a:lnTo>
                    <a:pt x="48" y="38"/>
                  </a:lnTo>
                  <a:lnTo>
                    <a:pt x="67" y="38"/>
                  </a:lnTo>
                  <a:lnTo>
                    <a:pt x="67" y="28"/>
                  </a:lnTo>
                  <a:lnTo>
                    <a:pt x="76" y="28"/>
                  </a:lnTo>
                  <a:lnTo>
                    <a:pt x="86" y="28"/>
                  </a:lnTo>
                  <a:lnTo>
                    <a:pt x="95" y="19"/>
                  </a:lnTo>
                  <a:lnTo>
                    <a:pt x="105" y="19"/>
                  </a:lnTo>
                  <a:lnTo>
                    <a:pt x="115" y="19"/>
                  </a:lnTo>
                  <a:lnTo>
                    <a:pt x="105" y="19"/>
                  </a:lnTo>
                  <a:lnTo>
                    <a:pt x="115" y="19"/>
                  </a:lnTo>
                  <a:lnTo>
                    <a:pt x="124" y="19"/>
                  </a:lnTo>
                  <a:lnTo>
                    <a:pt x="143" y="9"/>
                  </a:lnTo>
                  <a:lnTo>
                    <a:pt x="181" y="9"/>
                  </a:lnTo>
                  <a:lnTo>
                    <a:pt x="181" y="0"/>
                  </a:lnTo>
                  <a:lnTo>
                    <a:pt x="191" y="0"/>
                  </a:lnTo>
                  <a:lnTo>
                    <a:pt x="2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63" name="Freeform 39">
              <a:extLst>
                <a:ext uri="{FF2B5EF4-FFF2-40B4-BE49-F238E27FC236}">
                  <a16:creationId xmlns:a16="http://schemas.microsoft.com/office/drawing/2014/main" id="{E24E390A-BBAB-40DB-A8B2-5B989981C997}"/>
                </a:ext>
              </a:extLst>
            </p:cNvPr>
            <p:cNvSpPr>
              <a:spLocks/>
            </p:cNvSpPr>
            <p:nvPr/>
          </p:nvSpPr>
          <p:spPr bwMode="gray">
            <a:xfrm>
              <a:off x="3477" y="1488"/>
              <a:ext cx="85" cy="76"/>
            </a:xfrm>
            <a:custGeom>
              <a:avLst/>
              <a:gdLst>
                <a:gd name="T0" fmla="*/ 66 w 85"/>
                <a:gd name="T1" fmla="*/ 10 h 76"/>
                <a:gd name="T2" fmla="*/ 57 w 85"/>
                <a:gd name="T3" fmla="*/ 0 h 76"/>
                <a:gd name="T4" fmla="*/ 28 w 85"/>
                <a:gd name="T5" fmla="*/ 0 h 76"/>
                <a:gd name="T6" fmla="*/ 19 w 85"/>
                <a:gd name="T7" fmla="*/ 10 h 76"/>
                <a:gd name="T8" fmla="*/ 19 w 85"/>
                <a:gd name="T9" fmla="*/ 10 h 76"/>
                <a:gd name="T10" fmla="*/ 9 w 85"/>
                <a:gd name="T11" fmla="*/ 19 h 76"/>
                <a:gd name="T12" fmla="*/ 19 w 85"/>
                <a:gd name="T13" fmla="*/ 19 h 76"/>
                <a:gd name="T14" fmla="*/ 19 w 85"/>
                <a:gd name="T15" fmla="*/ 29 h 76"/>
                <a:gd name="T16" fmla="*/ 9 w 85"/>
                <a:gd name="T17" fmla="*/ 38 h 76"/>
                <a:gd name="T18" fmla="*/ 0 w 85"/>
                <a:gd name="T19" fmla="*/ 38 h 76"/>
                <a:gd name="T20" fmla="*/ 0 w 85"/>
                <a:gd name="T21" fmla="*/ 48 h 76"/>
                <a:gd name="T22" fmla="*/ 0 w 85"/>
                <a:gd name="T23" fmla="*/ 48 h 76"/>
                <a:gd name="T24" fmla="*/ 9 w 85"/>
                <a:gd name="T25" fmla="*/ 48 h 76"/>
                <a:gd name="T26" fmla="*/ 9 w 85"/>
                <a:gd name="T27" fmla="*/ 48 h 76"/>
                <a:gd name="T28" fmla="*/ 9 w 85"/>
                <a:gd name="T29" fmla="*/ 48 h 76"/>
                <a:gd name="T30" fmla="*/ 28 w 85"/>
                <a:gd name="T31" fmla="*/ 57 h 76"/>
                <a:gd name="T32" fmla="*/ 38 w 85"/>
                <a:gd name="T33" fmla="*/ 57 h 76"/>
                <a:gd name="T34" fmla="*/ 28 w 85"/>
                <a:gd name="T35" fmla="*/ 67 h 76"/>
                <a:gd name="T36" fmla="*/ 28 w 85"/>
                <a:gd name="T37" fmla="*/ 67 h 76"/>
                <a:gd name="T38" fmla="*/ 38 w 85"/>
                <a:gd name="T39" fmla="*/ 67 h 76"/>
                <a:gd name="T40" fmla="*/ 57 w 85"/>
                <a:gd name="T41" fmla="*/ 76 h 76"/>
                <a:gd name="T42" fmla="*/ 66 w 85"/>
                <a:gd name="T43" fmla="*/ 76 h 76"/>
                <a:gd name="T44" fmla="*/ 85 w 85"/>
                <a:gd name="T45" fmla="*/ 76 h 76"/>
                <a:gd name="T46" fmla="*/ 85 w 85"/>
                <a:gd name="T47" fmla="*/ 67 h 76"/>
                <a:gd name="T48" fmla="*/ 57 w 85"/>
                <a:gd name="T49" fmla="*/ 48 h 76"/>
                <a:gd name="T50" fmla="*/ 57 w 85"/>
                <a:gd name="T51" fmla="*/ 48 h 76"/>
                <a:gd name="T52" fmla="*/ 57 w 85"/>
                <a:gd name="T53" fmla="*/ 19 h 76"/>
                <a:gd name="T54" fmla="*/ 66 w 85"/>
                <a:gd name="T55" fmla="*/ 19 h 76"/>
                <a:gd name="T56" fmla="*/ 66 w 85"/>
                <a:gd name="T57" fmla="*/ 10 h 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5"/>
                <a:gd name="T88" fmla="*/ 0 h 76"/>
                <a:gd name="T89" fmla="*/ 85 w 85"/>
                <a:gd name="T90" fmla="*/ 76 h 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5" h="76">
                  <a:moveTo>
                    <a:pt x="66" y="10"/>
                  </a:moveTo>
                  <a:lnTo>
                    <a:pt x="57" y="0"/>
                  </a:lnTo>
                  <a:lnTo>
                    <a:pt x="28" y="0"/>
                  </a:lnTo>
                  <a:lnTo>
                    <a:pt x="19" y="10"/>
                  </a:lnTo>
                  <a:lnTo>
                    <a:pt x="9" y="19"/>
                  </a:lnTo>
                  <a:lnTo>
                    <a:pt x="19" y="19"/>
                  </a:lnTo>
                  <a:lnTo>
                    <a:pt x="19" y="29"/>
                  </a:lnTo>
                  <a:lnTo>
                    <a:pt x="9" y="38"/>
                  </a:lnTo>
                  <a:lnTo>
                    <a:pt x="0" y="38"/>
                  </a:lnTo>
                  <a:lnTo>
                    <a:pt x="0" y="48"/>
                  </a:lnTo>
                  <a:lnTo>
                    <a:pt x="9" y="48"/>
                  </a:lnTo>
                  <a:lnTo>
                    <a:pt x="28" y="57"/>
                  </a:lnTo>
                  <a:lnTo>
                    <a:pt x="38" y="57"/>
                  </a:lnTo>
                  <a:lnTo>
                    <a:pt x="28" y="67"/>
                  </a:lnTo>
                  <a:lnTo>
                    <a:pt x="38" y="67"/>
                  </a:lnTo>
                  <a:lnTo>
                    <a:pt x="57" y="76"/>
                  </a:lnTo>
                  <a:lnTo>
                    <a:pt x="66" y="76"/>
                  </a:lnTo>
                  <a:lnTo>
                    <a:pt x="85" y="76"/>
                  </a:lnTo>
                  <a:lnTo>
                    <a:pt x="85" y="67"/>
                  </a:lnTo>
                  <a:lnTo>
                    <a:pt x="57" y="48"/>
                  </a:lnTo>
                  <a:lnTo>
                    <a:pt x="57" y="19"/>
                  </a:lnTo>
                  <a:lnTo>
                    <a:pt x="66" y="19"/>
                  </a:lnTo>
                  <a:lnTo>
                    <a:pt x="66"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64" name="Freeform 40">
              <a:extLst>
                <a:ext uri="{FF2B5EF4-FFF2-40B4-BE49-F238E27FC236}">
                  <a16:creationId xmlns:a16="http://schemas.microsoft.com/office/drawing/2014/main" id="{61B6EE91-D05C-449F-B6BE-4EBFBB76374F}"/>
                </a:ext>
              </a:extLst>
            </p:cNvPr>
            <p:cNvSpPr>
              <a:spLocks/>
            </p:cNvSpPr>
            <p:nvPr/>
          </p:nvSpPr>
          <p:spPr bwMode="gray">
            <a:xfrm>
              <a:off x="3389" y="1593"/>
              <a:ext cx="39" cy="10"/>
            </a:xfrm>
            <a:custGeom>
              <a:avLst/>
              <a:gdLst>
                <a:gd name="T0" fmla="*/ 10 w 39"/>
                <a:gd name="T1" fmla="*/ 0 h 10"/>
                <a:gd name="T2" fmla="*/ 19 w 39"/>
                <a:gd name="T3" fmla="*/ 0 h 10"/>
                <a:gd name="T4" fmla="*/ 29 w 39"/>
                <a:gd name="T5" fmla="*/ 0 h 10"/>
                <a:gd name="T6" fmla="*/ 39 w 39"/>
                <a:gd name="T7" fmla="*/ 0 h 10"/>
                <a:gd name="T8" fmla="*/ 29 w 39"/>
                <a:gd name="T9" fmla="*/ 10 h 10"/>
                <a:gd name="T10" fmla="*/ 19 w 39"/>
                <a:gd name="T11" fmla="*/ 10 h 10"/>
                <a:gd name="T12" fmla="*/ 0 w 39"/>
                <a:gd name="T13" fmla="*/ 10 h 10"/>
                <a:gd name="T14" fmla="*/ 0 w 39"/>
                <a:gd name="T15" fmla="*/ 10 h 10"/>
                <a:gd name="T16" fmla="*/ 10 w 39"/>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10"/>
                <a:gd name="T29" fmla="*/ 39 w 39"/>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10">
                  <a:moveTo>
                    <a:pt x="10" y="0"/>
                  </a:moveTo>
                  <a:lnTo>
                    <a:pt x="19" y="0"/>
                  </a:lnTo>
                  <a:lnTo>
                    <a:pt x="29" y="0"/>
                  </a:lnTo>
                  <a:lnTo>
                    <a:pt x="39" y="0"/>
                  </a:lnTo>
                  <a:lnTo>
                    <a:pt x="29" y="10"/>
                  </a:lnTo>
                  <a:lnTo>
                    <a:pt x="19" y="10"/>
                  </a:lnTo>
                  <a:lnTo>
                    <a:pt x="0" y="1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65" name="Freeform 41">
              <a:extLst>
                <a:ext uri="{FF2B5EF4-FFF2-40B4-BE49-F238E27FC236}">
                  <a16:creationId xmlns:a16="http://schemas.microsoft.com/office/drawing/2014/main" id="{34EE8BB7-22F2-418E-AF7B-810EF9A666D9}"/>
                </a:ext>
              </a:extLst>
            </p:cNvPr>
            <p:cNvSpPr>
              <a:spLocks/>
            </p:cNvSpPr>
            <p:nvPr/>
          </p:nvSpPr>
          <p:spPr bwMode="gray">
            <a:xfrm>
              <a:off x="3389" y="1593"/>
              <a:ext cx="39" cy="10"/>
            </a:xfrm>
            <a:custGeom>
              <a:avLst/>
              <a:gdLst>
                <a:gd name="T0" fmla="*/ 10 w 39"/>
                <a:gd name="T1" fmla="*/ 0 h 10"/>
                <a:gd name="T2" fmla="*/ 19 w 39"/>
                <a:gd name="T3" fmla="*/ 0 h 10"/>
                <a:gd name="T4" fmla="*/ 29 w 39"/>
                <a:gd name="T5" fmla="*/ 0 h 10"/>
                <a:gd name="T6" fmla="*/ 39 w 39"/>
                <a:gd name="T7" fmla="*/ 0 h 10"/>
                <a:gd name="T8" fmla="*/ 29 w 39"/>
                <a:gd name="T9" fmla="*/ 10 h 10"/>
                <a:gd name="T10" fmla="*/ 19 w 39"/>
                <a:gd name="T11" fmla="*/ 10 h 10"/>
                <a:gd name="T12" fmla="*/ 0 w 39"/>
                <a:gd name="T13" fmla="*/ 10 h 10"/>
                <a:gd name="T14" fmla="*/ 0 w 39"/>
                <a:gd name="T15" fmla="*/ 10 h 10"/>
                <a:gd name="T16" fmla="*/ 10 w 39"/>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10"/>
                <a:gd name="T29" fmla="*/ 39 w 39"/>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10">
                  <a:moveTo>
                    <a:pt x="10" y="0"/>
                  </a:moveTo>
                  <a:lnTo>
                    <a:pt x="19" y="0"/>
                  </a:lnTo>
                  <a:lnTo>
                    <a:pt x="29" y="0"/>
                  </a:lnTo>
                  <a:lnTo>
                    <a:pt x="39" y="0"/>
                  </a:lnTo>
                  <a:lnTo>
                    <a:pt x="29" y="10"/>
                  </a:lnTo>
                  <a:lnTo>
                    <a:pt x="19" y="10"/>
                  </a:lnTo>
                  <a:lnTo>
                    <a:pt x="0" y="1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66" name="Freeform 42">
              <a:extLst>
                <a:ext uri="{FF2B5EF4-FFF2-40B4-BE49-F238E27FC236}">
                  <a16:creationId xmlns:a16="http://schemas.microsoft.com/office/drawing/2014/main" id="{FA78E3C8-26B8-46EE-88BB-1CA242D03644}"/>
                </a:ext>
              </a:extLst>
            </p:cNvPr>
            <p:cNvSpPr>
              <a:spLocks/>
            </p:cNvSpPr>
            <p:nvPr/>
          </p:nvSpPr>
          <p:spPr bwMode="gray">
            <a:xfrm>
              <a:off x="2732" y="2290"/>
              <a:ext cx="9" cy="9"/>
            </a:xfrm>
            <a:custGeom>
              <a:avLst/>
              <a:gdLst>
                <a:gd name="T0" fmla="*/ 0 w 9"/>
                <a:gd name="T1" fmla="*/ 0 h 9"/>
                <a:gd name="T2" fmla="*/ 0 w 9"/>
                <a:gd name="T3" fmla="*/ 0 h 9"/>
                <a:gd name="T4" fmla="*/ 9 w 9"/>
                <a:gd name="T5" fmla="*/ 0 h 9"/>
                <a:gd name="T6" fmla="*/ 9 w 9"/>
                <a:gd name="T7" fmla="*/ 0 h 9"/>
                <a:gd name="T8" fmla="*/ 9 w 9"/>
                <a:gd name="T9" fmla="*/ 0 h 9"/>
                <a:gd name="T10" fmla="*/ 0 w 9"/>
                <a:gd name="T11" fmla="*/ 9 h 9"/>
                <a:gd name="T12" fmla="*/ 0 w 9"/>
                <a:gd name="T13" fmla="*/ 0 h 9"/>
                <a:gd name="T14" fmla="*/ 0 60000 65536"/>
                <a:gd name="T15" fmla="*/ 0 60000 65536"/>
                <a:gd name="T16" fmla="*/ 0 60000 65536"/>
                <a:gd name="T17" fmla="*/ 0 60000 65536"/>
                <a:gd name="T18" fmla="*/ 0 60000 65536"/>
                <a:gd name="T19" fmla="*/ 0 60000 65536"/>
                <a:gd name="T20" fmla="*/ 0 60000 65536"/>
                <a:gd name="T21" fmla="*/ 0 w 9"/>
                <a:gd name="T22" fmla="*/ 0 h 9"/>
                <a:gd name="T23" fmla="*/ 9 w 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9">
                  <a:moveTo>
                    <a:pt x="0" y="0"/>
                  </a:moveTo>
                  <a:lnTo>
                    <a:pt x="0" y="0"/>
                  </a:lnTo>
                  <a:lnTo>
                    <a:pt x="9" y="0"/>
                  </a:lnTo>
                  <a:lnTo>
                    <a:pt x="0"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67" name="Freeform 43">
              <a:extLst>
                <a:ext uri="{FF2B5EF4-FFF2-40B4-BE49-F238E27FC236}">
                  <a16:creationId xmlns:a16="http://schemas.microsoft.com/office/drawing/2014/main" id="{7EA8FC51-F40D-49F0-BAD3-D1F171DAED73}"/>
                </a:ext>
              </a:extLst>
            </p:cNvPr>
            <p:cNvSpPr>
              <a:spLocks/>
            </p:cNvSpPr>
            <p:nvPr/>
          </p:nvSpPr>
          <p:spPr bwMode="gray">
            <a:xfrm>
              <a:off x="2732" y="2290"/>
              <a:ext cx="9" cy="9"/>
            </a:xfrm>
            <a:custGeom>
              <a:avLst/>
              <a:gdLst>
                <a:gd name="T0" fmla="*/ 0 w 9"/>
                <a:gd name="T1" fmla="*/ 0 h 9"/>
                <a:gd name="T2" fmla="*/ 0 w 9"/>
                <a:gd name="T3" fmla="*/ 0 h 9"/>
                <a:gd name="T4" fmla="*/ 9 w 9"/>
                <a:gd name="T5" fmla="*/ 0 h 9"/>
                <a:gd name="T6" fmla="*/ 9 w 9"/>
                <a:gd name="T7" fmla="*/ 0 h 9"/>
                <a:gd name="T8" fmla="*/ 9 w 9"/>
                <a:gd name="T9" fmla="*/ 0 h 9"/>
                <a:gd name="T10" fmla="*/ 0 w 9"/>
                <a:gd name="T11" fmla="*/ 9 h 9"/>
                <a:gd name="T12" fmla="*/ 0 w 9"/>
                <a:gd name="T13" fmla="*/ 0 h 9"/>
                <a:gd name="T14" fmla="*/ 0 60000 65536"/>
                <a:gd name="T15" fmla="*/ 0 60000 65536"/>
                <a:gd name="T16" fmla="*/ 0 60000 65536"/>
                <a:gd name="T17" fmla="*/ 0 60000 65536"/>
                <a:gd name="T18" fmla="*/ 0 60000 65536"/>
                <a:gd name="T19" fmla="*/ 0 60000 65536"/>
                <a:gd name="T20" fmla="*/ 0 60000 65536"/>
                <a:gd name="T21" fmla="*/ 0 w 9"/>
                <a:gd name="T22" fmla="*/ 0 h 9"/>
                <a:gd name="T23" fmla="*/ 9 w 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9">
                  <a:moveTo>
                    <a:pt x="0" y="0"/>
                  </a:moveTo>
                  <a:lnTo>
                    <a:pt x="0" y="0"/>
                  </a:lnTo>
                  <a:lnTo>
                    <a:pt x="9" y="0"/>
                  </a:lnTo>
                  <a:lnTo>
                    <a:pt x="0"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68" name="Freeform 44">
              <a:extLst>
                <a:ext uri="{FF2B5EF4-FFF2-40B4-BE49-F238E27FC236}">
                  <a16:creationId xmlns:a16="http://schemas.microsoft.com/office/drawing/2014/main" id="{F12ABE53-58F7-424F-B0FD-7FCB7352837D}"/>
                </a:ext>
              </a:extLst>
            </p:cNvPr>
            <p:cNvSpPr>
              <a:spLocks/>
            </p:cNvSpPr>
            <p:nvPr/>
          </p:nvSpPr>
          <p:spPr bwMode="gray">
            <a:xfrm>
              <a:off x="3161" y="2357"/>
              <a:ext cx="28" cy="9"/>
            </a:xfrm>
            <a:custGeom>
              <a:avLst/>
              <a:gdLst>
                <a:gd name="T0" fmla="*/ 0 w 28"/>
                <a:gd name="T1" fmla="*/ 9 h 9"/>
                <a:gd name="T2" fmla="*/ 9 w 28"/>
                <a:gd name="T3" fmla="*/ 0 h 9"/>
                <a:gd name="T4" fmla="*/ 28 w 28"/>
                <a:gd name="T5" fmla="*/ 0 h 9"/>
                <a:gd name="T6" fmla="*/ 28 w 28"/>
                <a:gd name="T7" fmla="*/ 0 h 9"/>
                <a:gd name="T8" fmla="*/ 28 w 28"/>
                <a:gd name="T9" fmla="*/ 0 h 9"/>
                <a:gd name="T10" fmla="*/ 28 w 28"/>
                <a:gd name="T11" fmla="*/ 0 h 9"/>
                <a:gd name="T12" fmla="*/ 28 w 28"/>
                <a:gd name="T13" fmla="*/ 9 h 9"/>
                <a:gd name="T14" fmla="*/ 19 w 28"/>
                <a:gd name="T15" fmla="*/ 9 h 9"/>
                <a:gd name="T16" fmla="*/ 9 w 28"/>
                <a:gd name="T17" fmla="*/ 9 h 9"/>
                <a:gd name="T18" fmla="*/ 0 w 28"/>
                <a:gd name="T19" fmla="*/ 9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9"/>
                <a:gd name="T32" fmla="*/ 28 w 28"/>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9">
                  <a:moveTo>
                    <a:pt x="0" y="9"/>
                  </a:moveTo>
                  <a:lnTo>
                    <a:pt x="9" y="0"/>
                  </a:lnTo>
                  <a:lnTo>
                    <a:pt x="28" y="0"/>
                  </a:lnTo>
                  <a:lnTo>
                    <a:pt x="28" y="9"/>
                  </a:lnTo>
                  <a:lnTo>
                    <a:pt x="19" y="9"/>
                  </a:lnTo>
                  <a:lnTo>
                    <a:pt x="9" y="9"/>
                  </a:lnTo>
                  <a:lnTo>
                    <a:pt x="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69" name="Freeform 45">
              <a:extLst>
                <a:ext uri="{FF2B5EF4-FFF2-40B4-BE49-F238E27FC236}">
                  <a16:creationId xmlns:a16="http://schemas.microsoft.com/office/drawing/2014/main" id="{616B555A-A114-4CA0-AB9C-C44970AC5569}"/>
                </a:ext>
              </a:extLst>
            </p:cNvPr>
            <p:cNvSpPr>
              <a:spLocks/>
            </p:cNvSpPr>
            <p:nvPr/>
          </p:nvSpPr>
          <p:spPr bwMode="gray">
            <a:xfrm>
              <a:off x="3161" y="2357"/>
              <a:ext cx="28" cy="9"/>
            </a:xfrm>
            <a:custGeom>
              <a:avLst/>
              <a:gdLst>
                <a:gd name="T0" fmla="*/ 0 w 28"/>
                <a:gd name="T1" fmla="*/ 9 h 9"/>
                <a:gd name="T2" fmla="*/ 9 w 28"/>
                <a:gd name="T3" fmla="*/ 0 h 9"/>
                <a:gd name="T4" fmla="*/ 28 w 28"/>
                <a:gd name="T5" fmla="*/ 0 h 9"/>
                <a:gd name="T6" fmla="*/ 28 w 28"/>
                <a:gd name="T7" fmla="*/ 0 h 9"/>
                <a:gd name="T8" fmla="*/ 28 w 28"/>
                <a:gd name="T9" fmla="*/ 0 h 9"/>
                <a:gd name="T10" fmla="*/ 28 w 28"/>
                <a:gd name="T11" fmla="*/ 0 h 9"/>
                <a:gd name="T12" fmla="*/ 28 w 28"/>
                <a:gd name="T13" fmla="*/ 9 h 9"/>
                <a:gd name="T14" fmla="*/ 19 w 28"/>
                <a:gd name="T15" fmla="*/ 9 h 9"/>
                <a:gd name="T16" fmla="*/ 9 w 28"/>
                <a:gd name="T17" fmla="*/ 9 h 9"/>
                <a:gd name="T18" fmla="*/ 0 w 28"/>
                <a:gd name="T19" fmla="*/ 9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9"/>
                <a:gd name="T32" fmla="*/ 28 w 28"/>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9">
                  <a:moveTo>
                    <a:pt x="0" y="9"/>
                  </a:moveTo>
                  <a:lnTo>
                    <a:pt x="9" y="0"/>
                  </a:lnTo>
                  <a:lnTo>
                    <a:pt x="28" y="0"/>
                  </a:lnTo>
                  <a:lnTo>
                    <a:pt x="28" y="9"/>
                  </a:lnTo>
                  <a:lnTo>
                    <a:pt x="19" y="9"/>
                  </a:lnTo>
                  <a:lnTo>
                    <a:pt x="9" y="9"/>
                  </a:lnTo>
                  <a:lnTo>
                    <a:pt x="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70" name="Freeform 46">
              <a:extLst>
                <a:ext uri="{FF2B5EF4-FFF2-40B4-BE49-F238E27FC236}">
                  <a16:creationId xmlns:a16="http://schemas.microsoft.com/office/drawing/2014/main" id="{A4F26E8A-35E2-4786-8B4E-552314552732}"/>
                </a:ext>
              </a:extLst>
            </p:cNvPr>
            <p:cNvSpPr>
              <a:spLocks/>
            </p:cNvSpPr>
            <p:nvPr/>
          </p:nvSpPr>
          <p:spPr bwMode="gray">
            <a:xfrm>
              <a:off x="3323" y="3034"/>
              <a:ext cx="105" cy="191"/>
            </a:xfrm>
            <a:custGeom>
              <a:avLst/>
              <a:gdLst>
                <a:gd name="T0" fmla="*/ 85 w 105"/>
                <a:gd name="T1" fmla="*/ 0 h 191"/>
                <a:gd name="T2" fmla="*/ 95 w 105"/>
                <a:gd name="T3" fmla="*/ 0 h 191"/>
                <a:gd name="T4" fmla="*/ 95 w 105"/>
                <a:gd name="T5" fmla="*/ 0 h 191"/>
                <a:gd name="T6" fmla="*/ 95 w 105"/>
                <a:gd name="T7" fmla="*/ 19 h 191"/>
                <a:gd name="T8" fmla="*/ 105 w 105"/>
                <a:gd name="T9" fmla="*/ 38 h 191"/>
                <a:gd name="T10" fmla="*/ 105 w 105"/>
                <a:gd name="T11" fmla="*/ 48 h 191"/>
                <a:gd name="T12" fmla="*/ 95 w 105"/>
                <a:gd name="T13" fmla="*/ 48 h 191"/>
                <a:gd name="T14" fmla="*/ 95 w 105"/>
                <a:gd name="T15" fmla="*/ 67 h 191"/>
                <a:gd name="T16" fmla="*/ 95 w 105"/>
                <a:gd name="T17" fmla="*/ 77 h 191"/>
                <a:gd name="T18" fmla="*/ 85 w 105"/>
                <a:gd name="T19" fmla="*/ 105 h 191"/>
                <a:gd name="T20" fmla="*/ 76 w 105"/>
                <a:gd name="T21" fmla="*/ 134 h 191"/>
                <a:gd name="T22" fmla="*/ 66 w 105"/>
                <a:gd name="T23" fmla="*/ 143 h 191"/>
                <a:gd name="T24" fmla="*/ 66 w 105"/>
                <a:gd name="T25" fmla="*/ 172 h 191"/>
                <a:gd name="T26" fmla="*/ 57 w 105"/>
                <a:gd name="T27" fmla="*/ 181 h 191"/>
                <a:gd name="T28" fmla="*/ 47 w 105"/>
                <a:gd name="T29" fmla="*/ 181 h 191"/>
                <a:gd name="T30" fmla="*/ 28 w 105"/>
                <a:gd name="T31" fmla="*/ 191 h 191"/>
                <a:gd name="T32" fmla="*/ 19 w 105"/>
                <a:gd name="T33" fmla="*/ 191 h 191"/>
                <a:gd name="T34" fmla="*/ 9 w 105"/>
                <a:gd name="T35" fmla="*/ 181 h 191"/>
                <a:gd name="T36" fmla="*/ 9 w 105"/>
                <a:gd name="T37" fmla="*/ 162 h 191"/>
                <a:gd name="T38" fmla="*/ 0 w 105"/>
                <a:gd name="T39" fmla="*/ 153 h 191"/>
                <a:gd name="T40" fmla="*/ 0 w 105"/>
                <a:gd name="T41" fmla="*/ 134 h 191"/>
                <a:gd name="T42" fmla="*/ 19 w 105"/>
                <a:gd name="T43" fmla="*/ 115 h 191"/>
                <a:gd name="T44" fmla="*/ 19 w 105"/>
                <a:gd name="T45" fmla="*/ 96 h 191"/>
                <a:gd name="T46" fmla="*/ 9 w 105"/>
                <a:gd name="T47" fmla="*/ 86 h 191"/>
                <a:gd name="T48" fmla="*/ 19 w 105"/>
                <a:gd name="T49" fmla="*/ 67 h 191"/>
                <a:gd name="T50" fmla="*/ 19 w 105"/>
                <a:gd name="T51" fmla="*/ 57 h 191"/>
                <a:gd name="T52" fmla="*/ 28 w 105"/>
                <a:gd name="T53" fmla="*/ 57 h 191"/>
                <a:gd name="T54" fmla="*/ 28 w 105"/>
                <a:gd name="T55" fmla="*/ 48 h 191"/>
                <a:gd name="T56" fmla="*/ 38 w 105"/>
                <a:gd name="T57" fmla="*/ 48 h 191"/>
                <a:gd name="T58" fmla="*/ 47 w 105"/>
                <a:gd name="T59" fmla="*/ 48 h 191"/>
                <a:gd name="T60" fmla="*/ 57 w 105"/>
                <a:gd name="T61" fmla="*/ 38 h 191"/>
                <a:gd name="T62" fmla="*/ 66 w 105"/>
                <a:gd name="T63" fmla="*/ 38 h 191"/>
                <a:gd name="T64" fmla="*/ 66 w 105"/>
                <a:gd name="T65" fmla="*/ 29 h 191"/>
                <a:gd name="T66" fmla="*/ 66 w 105"/>
                <a:gd name="T67" fmla="*/ 19 h 191"/>
                <a:gd name="T68" fmla="*/ 76 w 105"/>
                <a:gd name="T69" fmla="*/ 19 h 191"/>
                <a:gd name="T70" fmla="*/ 85 w 105"/>
                <a:gd name="T71" fmla="*/ 10 h 191"/>
                <a:gd name="T72" fmla="*/ 85 w 105"/>
                <a:gd name="T73" fmla="*/ 0 h 19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5"/>
                <a:gd name="T112" fmla="*/ 0 h 191"/>
                <a:gd name="T113" fmla="*/ 105 w 105"/>
                <a:gd name="T114" fmla="*/ 191 h 19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5" h="191">
                  <a:moveTo>
                    <a:pt x="85" y="0"/>
                  </a:moveTo>
                  <a:lnTo>
                    <a:pt x="95" y="0"/>
                  </a:lnTo>
                  <a:lnTo>
                    <a:pt x="95" y="19"/>
                  </a:lnTo>
                  <a:lnTo>
                    <a:pt x="105" y="38"/>
                  </a:lnTo>
                  <a:lnTo>
                    <a:pt x="105" y="48"/>
                  </a:lnTo>
                  <a:lnTo>
                    <a:pt x="95" y="48"/>
                  </a:lnTo>
                  <a:lnTo>
                    <a:pt x="95" y="67"/>
                  </a:lnTo>
                  <a:lnTo>
                    <a:pt x="95" y="77"/>
                  </a:lnTo>
                  <a:lnTo>
                    <a:pt x="85" y="105"/>
                  </a:lnTo>
                  <a:lnTo>
                    <a:pt x="76" y="134"/>
                  </a:lnTo>
                  <a:lnTo>
                    <a:pt x="66" y="143"/>
                  </a:lnTo>
                  <a:lnTo>
                    <a:pt x="66" y="172"/>
                  </a:lnTo>
                  <a:lnTo>
                    <a:pt x="57" y="181"/>
                  </a:lnTo>
                  <a:lnTo>
                    <a:pt x="47" y="181"/>
                  </a:lnTo>
                  <a:lnTo>
                    <a:pt x="28" y="191"/>
                  </a:lnTo>
                  <a:lnTo>
                    <a:pt x="19" y="191"/>
                  </a:lnTo>
                  <a:lnTo>
                    <a:pt x="9" y="181"/>
                  </a:lnTo>
                  <a:lnTo>
                    <a:pt x="9" y="162"/>
                  </a:lnTo>
                  <a:lnTo>
                    <a:pt x="0" y="153"/>
                  </a:lnTo>
                  <a:lnTo>
                    <a:pt x="0" y="134"/>
                  </a:lnTo>
                  <a:lnTo>
                    <a:pt x="19" y="115"/>
                  </a:lnTo>
                  <a:lnTo>
                    <a:pt x="19" y="96"/>
                  </a:lnTo>
                  <a:lnTo>
                    <a:pt x="9" y="86"/>
                  </a:lnTo>
                  <a:lnTo>
                    <a:pt x="19" y="67"/>
                  </a:lnTo>
                  <a:lnTo>
                    <a:pt x="19" y="57"/>
                  </a:lnTo>
                  <a:lnTo>
                    <a:pt x="28" y="57"/>
                  </a:lnTo>
                  <a:lnTo>
                    <a:pt x="28" y="48"/>
                  </a:lnTo>
                  <a:lnTo>
                    <a:pt x="38" y="48"/>
                  </a:lnTo>
                  <a:lnTo>
                    <a:pt x="47" y="48"/>
                  </a:lnTo>
                  <a:lnTo>
                    <a:pt x="57" y="38"/>
                  </a:lnTo>
                  <a:lnTo>
                    <a:pt x="66" y="38"/>
                  </a:lnTo>
                  <a:lnTo>
                    <a:pt x="66" y="29"/>
                  </a:lnTo>
                  <a:lnTo>
                    <a:pt x="66" y="19"/>
                  </a:lnTo>
                  <a:lnTo>
                    <a:pt x="76" y="19"/>
                  </a:lnTo>
                  <a:lnTo>
                    <a:pt x="85" y="10"/>
                  </a:lnTo>
                  <a:lnTo>
                    <a:pt x="85"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71" name="Freeform 47">
              <a:extLst>
                <a:ext uri="{FF2B5EF4-FFF2-40B4-BE49-F238E27FC236}">
                  <a16:creationId xmlns:a16="http://schemas.microsoft.com/office/drawing/2014/main" id="{346F7AAE-7EF6-4687-AEC0-98F948BF4CAB}"/>
                </a:ext>
              </a:extLst>
            </p:cNvPr>
            <p:cNvSpPr>
              <a:spLocks/>
            </p:cNvSpPr>
            <p:nvPr/>
          </p:nvSpPr>
          <p:spPr bwMode="gray">
            <a:xfrm>
              <a:off x="3866" y="2738"/>
              <a:ext cx="29" cy="48"/>
            </a:xfrm>
            <a:custGeom>
              <a:avLst/>
              <a:gdLst>
                <a:gd name="T0" fmla="*/ 19 w 29"/>
                <a:gd name="T1" fmla="*/ 0 h 48"/>
                <a:gd name="T2" fmla="*/ 10 w 29"/>
                <a:gd name="T3" fmla="*/ 0 h 48"/>
                <a:gd name="T4" fmla="*/ 10 w 29"/>
                <a:gd name="T5" fmla="*/ 0 h 48"/>
                <a:gd name="T6" fmla="*/ 0 w 29"/>
                <a:gd name="T7" fmla="*/ 0 h 48"/>
                <a:gd name="T8" fmla="*/ 0 w 29"/>
                <a:gd name="T9" fmla="*/ 10 h 48"/>
                <a:gd name="T10" fmla="*/ 0 w 29"/>
                <a:gd name="T11" fmla="*/ 19 h 48"/>
                <a:gd name="T12" fmla="*/ 0 w 29"/>
                <a:gd name="T13" fmla="*/ 38 h 48"/>
                <a:gd name="T14" fmla="*/ 10 w 29"/>
                <a:gd name="T15" fmla="*/ 48 h 48"/>
                <a:gd name="T16" fmla="*/ 19 w 29"/>
                <a:gd name="T17" fmla="*/ 48 h 48"/>
                <a:gd name="T18" fmla="*/ 29 w 29"/>
                <a:gd name="T19" fmla="*/ 38 h 48"/>
                <a:gd name="T20" fmla="*/ 29 w 29"/>
                <a:gd name="T21" fmla="*/ 29 h 48"/>
                <a:gd name="T22" fmla="*/ 29 w 29"/>
                <a:gd name="T23" fmla="*/ 29 h 48"/>
                <a:gd name="T24" fmla="*/ 29 w 29"/>
                <a:gd name="T25" fmla="*/ 19 h 48"/>
                <a:gd name="T26" fmla="*/ 19 w 29"/>
                <a:gd name="T27" fmla="*/ 10 h 48"/>
                <a:gd name="T28" fmla="*/ 19 w 29"/>
                <a:gd name="T29" fmla="*/ 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48"/>
                <a:gd name="T47" fmla="*/ 29 w 29"/>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48">
                  <a:moveTo>
                    <a:pt x="19" y="0"/>
                  </a:moveTo>
                  <a:lnTo>
                    <a:pt x="10" y="0"/>
                  </a:lnTo>
                  <a:lnTo>
                    <a:pt x="0" y="0"/>
                  </a:lnTo>
                  <a:lnTo>
                    <a:pt x="0" y="10"/>
                  </a:lnTo>
                  <a:lnTo>
                    <a:pt x="0" y="19"/>
                  </a:lnTo>
                  <a:lnTo>
                    <a:pt x="0" y="38"/>
                  </a:lnTo>
                  <a:lnTo>
                    <a:pt x="10" y="48"/>
                  </a:lnTo>
                  <a:lnTo>
                    <a:pt x="19" y="48"/>
                  </a:lnTo>
                  <a:lnTo>
                    <a:pt x="29" y="38"/>
                  </a:lnTo>
                  <a:lnTo>
                    <a:pt x="29" y="29"/>
                  </a:lnTo>
                  <a:lnTo>
                    <a:pt x="29" y="19"/>
                  </a:lnTo>
                  <a:lnTo>
                    <a:pt x="19" y="10"/>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72" name="Freeform 48">
              <a:extLst>
                <a:ext uri="{FF2B5EF4-FFF2-40B4-BE49-F238E27FC236}">
                  <a16:creationId xmlns:a16="http://schemas.microsoft.com/office/drawing/2014/main" id="{4325DA84-272A-40C4-8B1B-7179B56CAFA3}"/>
                </a:ext>
              </a:extLst>
            </p:cNvPr>
            <p:cNvSpPr>
              <a:spLocks/>
            </p:cNvSpPr>
            <p:nvPr/>
          </p:nvSpPr>
          <p:spPr bwMode="gray">
            <a:xfrm>
              <a:off x="3866" y="2738"/>
              <a:ext cx="29" cy="48"/>
            </a:xfrm>
            <a:custGeom>
              <a:avLst/>
              <a:gdLst>
                <a:gd name="T0" fmla="*/ 19 w 29"/>
                <a:gd name="T1" fmla="*/ 0 h 48"/>
                <a:gd name="T2" fmla="*/ 10 w 29"/>
                <a:gd name="T3" fmla="*/ 0 h 48"/>
                <a:gd name="T4" fmla="*/ 10 w 29"/>
                <a:gd name="T5" fmla="*/ 0 h 48"/>
                <a:gd name="T6" fmla="*/ 0 w 29"/>
                <a:gd name="T7" fmla="*/ 0 h 48"/>
                <a:gd name="T8" fmla="*/ 0 w 29"/>
                <a:gd name="T9" fmla="*/ 10 h 48"/>
                <a:gd name="T10" fmla="*/ 0 w 29"/>
                <a:gd name="T11" fmla="*/ 19 h 48"/>
                <a:gd name="T12" fmla="*/ 0 w 29"/>
                <a:gd name="T13" fmla="*/ 38 h 48"/>
                <a:gd name="T14" fmla="*/ 10 w 29"/>
                <a:gd name="T15" fmla="*/ 48 h 48"/>
                <a:gd name="T16" fmla="*/ 19 w 29"/>
                <a:gd name="T17" fmla="*/ 48 h 48"/>
                <a:gd name="T18" fmla="*/ 29 w 29"/>
                <a:gd name="T19" fmla="*/ 38 h 48"/>
                <a:gd name="T20" fmla="*/ 29 w 29"/>
                <a:gd name="T21" fmla="*/ 29 h 48"/>
                <a:gd name="T22" fmla="*/ 29 w 29"/>
                <a:gd name="T23" fmla="*/ 29 h 48"/>
                <a:gd name="T24" fmla="*/ 29 w 29"/>
                <a:gd name="T25" fmla="*/ 19 h 48"/>
                <a:gd name="T26" fmla="*/ 19 w 29"/>
                <a:gd name="T27" fmla="*/ 10 h 48"/>
                <a:gd name="T28" fmla="*/ 19 w 29"/>
                <a:gd name="T29" fmla="*/ 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48"/>
                <a:gd name="T47" fmla="*/ 29 w 29"/>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48">
                  <a:moveTo>
                    <a:pt x="19" y="0"/>
                  </a:moveTo>
                  <a:lnTo>
                    <a:pt x="10" y="0"/>
                  </a:lnTo>
                  <a:lnTo>
                    <a:pt x="0" y="0"/>
                  </a:lnTo>
                  <a:lnTo>
                    <a:pt x="0" y="10"/>
                  </a:lnTo>
                  <a:lnTo>
                    <a:pt x="0" y="19"/>
                  </a:lnTo>
                  <a:lnTo>
                    <a:pt x="0" y="38"/>
                  </a:lnTo>
                  <a:lnTo>
                    <a:pt x="10" y="48"/>
                  </a:lnTo>
                  <a:lnTo>
                    <a:pt x="19" y="48"/>
                  </a:lnTo>
                  <a:lnTo>
                    <a:pt x="29" y="38"/>
                  </a:lnTo>
                  <a:lnTo>
                    <a:pt x="29" y="29"/>
                  </a:lnTo>
                  <a:lnTo>
                    <a:pt x="29" y="19"/>
                  </a:lnTo>
                  <a:lnTo>
                    <a:pt x="19" y="10"/>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73" name="Freeform 49">
              <a:extLst>
                <a:ext uri="{FF2B5EF4-FFF2-40B4-BE49-F238E27FC236}">
                  <a16:creationId xmlns:a16="http://schemas.microsoft.com/office/drawing/2014/main" id="{C649B6AB-B843-4B6A-8CD9-2E6D34FD2583}"/>
                </a:ext>
              </a:extLst>
            </p:cNvPr>
            <p:cNvSpPr>
              <a:spLocks/>
            </p:cNvSpPr>
            <p:nvPr/>
          </p:nvSpPr>
          <p:spPr bwMode="gray">
            <a:xfrm>
              <a:off x="4781" y="1984"/>
              <a:ext cx="48" cy="172"/>
            </a:xfrm>
            <a:custGeom>
              <a:avLst/>
              <a:gdLst>
                <a:gd name="T0" fmla="*/ 19 w 48"/>
                <a:gd name="T1" fmla="*/ 10 h 172"/>
                <a:gd name="T2" fmla="*/ 19 w 48"/>
                <a:gd name="T3" fmla="*/ 0 h 172"/>
                <a:gd name="T4" fmla="*/ 10 w 48"/>
                <a:gd name="T5" fmla="*/ 0 h 172"/>
                <a:gd name="T6" fmla="*/ 10 w 48"/>
                <a:gd name="T7" fmla="*/ 10 h 172"/>
                <a:gd name="T8" fmla="*/ 10 w 48"/>
                <a:gd name="T9" fmla="*/ 19 h 172"/>
                <a:gd name="T10" fmla="*/ 10 w 48"/>
                <a:gd name="T11" fmla="*/ 19 h 172"/>
                <a:gd name="T12" fmla="*/ 10 w 48"/>
                <a:gd name="T13" fmla="*/ 19 h 172"/>
                <a:gd name="T14" fmla="*/ 0 w 48"/>
                <a:gd name="T15" fmla="*/ 19 h 172"/>
                <a:gd name="T16" fmla="*/ 0 w 48"/>
                <a:gd name="T17" fmla="*/ 29 h 172"/>
                <a:gd name="T18" fmla="*/ 0 w 48"/>
                <a:gd name="T19" fmla="*/ 48 h 172"/>
                <a:gd name="T20" fmla="*/ 0 w 48"/>
                <a:gd name="T21" fmla="*/ 48 h 172"/>
                <a:gd name="T22" fmla="*/ 0 w 48"/>
                <a:gd name="T23" fmla="*/ 48 h 172"/>
                <a:gd name="T24" fmla="*/ 0 w 48"/>
                <a:gd name="T25" fmla="*/ 67 h 172"/>
                <a:gd name="T26" fmla="*/ 10 w 48"/>
                <a:gd name="T27" fmla="*/ 67 h 172"/>
                <a:gd name="T28" fmla="*/ 10 w 48"/>
                <a:gd name="T29" fmla="*/ 96 h 172"/>
                <a:gd name="T30" fmla="*/ 10 w 48"/>
                <a:gd name="T31" fmla="*/ 105 h 172"/>
                <a:gd name="T32" fmla="*/ 10 w 48"/>
                <a:gd name="T33" fmla="*/ 115 h 172"/>
                <a:gd name="T34" fmla="*/ 0 w 48"/>
                <a:gd name="T35" fmla="*/ 124 h 172"/>
                <a:gd name="T36" fmla="*/ 10 w 48"/>
                <a:gd name="T37" fmla="*/ 134 h 172"/>
                <a:gd name="T38" fmla="*/ 10 w 48"/>
                <a:gd name="T39" fmla="*/ 144 h 172"/>
                <a:gd name="T40" fmla="*/ 10 w 48"/>
                <a:gd name="T41" fmla="*/ 153 h 172"/>
                <a:gd name="T42" fmla="*/ 0 w 48"/>
                <a:gd name="T43" fmla="*/ 172 h 172"/>
                <a:gd name="T44" fmla="*/ 10 w 48"/>
                <a:gd name="T45" fmla="*/ 172 h 172"/>
                <a:gd name="T46" fmla="*/ 10 w 48"/>
                <a:gd name="T47" fmla="*/ 172 h 172"/>
                <a:gd name="T48" fmla="*/ 19 w 48"/>
                <a:gd name="T49" fmla="*/ 163 h 172"/>
                <a:gd name="T50" fmla="*/ 19 w 48"/>
                <a:gd name="T51" fmla="*/ 172 h 172"/>
                <a:gd name="T52" fmla="*/ 19 w 48"/>
                <a:gd name="T53" fmla="*/ 172 h 172"/>
                <a:gd name="T54" fmla="*/ 29 w 48"/>
                <a:gd name="T55" fmla="*/ 172 h 172"/>
                <a:gd name="T56" fmla="*/ 29 w 48"/>
                <a:gd name="T57" fmla="*/ 163 h 172"/>
                <a:gd name="T58" fmla="*/ 19 w 48"/>
                <a:gd name="T59" fmla="*/ 153 h 172"/>
                <a:gd name="T60" fmla="*/ 19 w 48"/>
                <a:gd name="T61" fmla="*/ 153 h 172"/>
                <a:gd name="T62" fmla="*/ 19 w 48"/>
                <a:gd name="T63" fmla="*/ 134 h 172"/>
                <a:gd name="T64" fmla="*/ 19 w 48"/>
                <a:gd name="T65" fmla="*/ 134 h 172"/>
                <a:gd name="T66" fmla="*/ 19 w 48"/>
                <a:gd name="T67" fmla="*/ 124 h 172"/>
                <a:gd name="T68" fmla="*/ 19 w 48"/>
                <a:gd name="T69" fmla="*/ 124 h 172"/>
                <a:gd name="T70" fmla="*/ 19 w 48"/>
                <a:gd name="T71" fmla="*/ 115 h 172"/>
                <a:gd name="T72" fmla="*/ 29 w 48"/>
                <a:gd name="T73" fmla="*/ 105 h 172"/>
                <a:gd name="T74" fmla="*/ 29 w 48"/>
                <a:gd name="T75" fmla="*/ 105 h 172"/>
                <a:gd name="T76" fmla="*/ 38 w 48"/>
                <a:gd name="T77" fmla="*/ 115 h 172"/>
                <a:gd name="T78" fmla="*/ 38 w 48"/>
                <a:gd name="T79" fmla="*/ 124 h 172"/>
                <a:gd name="T80" fmla="*/ 48 w 48"/>
                <a:gd name="T81" fmla="*/ 124 h 172"/>
                <a:gd name="T82" fmla="*/ 48 w 48"/>
                <a:gd name="T83" fmla="*/ 115 h 172"/>
                <a:gd name="T84" fmla="*/ 48 w 48"/>
                <a:gd name="T85" fmla="*/ 115 h 172"/>
                <a:gd name="T86" fmla="*/ 38 w 48"/>
                <a:gd name="T87" fmla="*/ 105 h 172"/>
                <a:gd name="T88" fmla="*/ 29 w 48"/>
                <a:gd name="T89" fmla="*/ 86 h 172"/>
                <a:gd name="T90" fmla="*/ 29 w 48"/>
                <a:gd name="T91" fmla="*/ 77 h 172"/>
                <a:gd name="T92" fmla="*/ 29 w 48"/>
                <a:gd name="T93" fmla="*/ 48 h 172"/>
                <a:gd name="T94" fmla="*/ 19 w 48"/>
                <a:gd name="T95" fmla="*/ 39 h 172"/>
                <a:gd name="T96" fmla="*/ 19 w 48"/>
                <a:gd name="T97" fmla="*/ 19 h 172"/>
                <a:gd name="T98" fmla="*/ 19 w 48"/>
                <a:gd name="T99" fmla="*/ 10 h 172"/>
                <a:gd name="T100" fmla="*/ 19 w 48"/>
                <a:gd name="T101" fmla="*/ 10 h 17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172"/>
                <a:gd name="T155" fmla="*/ 48 w 48"/>
                <a:gd name="T156" fmla="*/ 172 h 17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172">
                  <a:moveTo>
                    <a:pt x="19" y="10"/>
                  </a:moveTo>
                  <a:lnTo>
                    <a:pt x="19" y="0"/>
                  </a:lnTo>
                  <a:lnTo>
                    <a:pt x="10" y="0"/>
                  </a:lnTo>
                  <a:lnTo>
                    <a:pt x="10" y="10"/>
                  </a:lnTo>
                  <a:lnTo>
                    <a:pt x="10" y="19"/>
                  </a:lnTo>
                  <a:lnTo>
                    <a:pt x="0" y="19"/>
                  </a:lnTo>
                  <a:lnTo>
                    <a:pt x="0" y="29"/>
                  </a:lnTo>
                  <a:lnTo>
                    <a:pt x="0" y="48"/>
                  </a:lnTo>
                  <a:lnTo>
                    <a:pt x="0" y="67"/>
                  </a:lnTo>
                  <a:lnTo>
                    <a:pt x="10" y="67"/>
                  </a:lnTo>
                  <a:lnTo>
                    <a:pt x="10" y="96"/>
                  </a:lnTo>
                  <a:lnTo>
                    <a:pt x="10" y="105"/>
                  </a:lnTo>
                  <a:lnTo>
                    <a:pt x="10" y="115"/>
                  </a:lnTo>
                  <a:lnTo>
                    <a:pt x="0" y="124"/>
                  </a:lnTo>
                  <a:lnTo>
                    <a:pt x="10" y="134"/>
                  </a:lnTo>
                  <a:lnTo>
                    <a:pt x="10" y="144"/>
                  </a:lnTo>
                  <a:lnTo>
                    <a:pt x="10" y="153"/>
                  </a:lnTo>
                  <a:lnTo>
                    <a:pt x="0" y="172"/>
                  </a:lnTo>
                  <a:lnTo>
                    <a:pt x="10" y="172"/>
                  </a:lnTo>
                  <a:lnTo>
                    <a:pt x="19" y="163"/>
                  </a:lnTo>
                  <a:lnTo>
                    <a:pt x="19" y="172"/>
                  </a:lnTo>
                  <a:lnTo>
                    <a:pt x="29" y="172"/>
                  </a:lnTo>
                  <a:lnTo>
                    <a:pt x="29" y="163"/>
                  </a:lnTo>
                  <a:lnTo>
                    <a:pt x="19" y="153"/>
                  </a:lnTo>
                  <a:lnTo>
                    <a:pt x="19" y="134"/>
                  </a:lnTo>
                  <a:lnTo>
                    <a:pt x="19" y="124"/>
                  </a:lnTo>
                  <a:lnTo>
                    <a:pt x="19" y="115"/>
                  </a:lnTo>
                  <a:lnTo>
                    <a:pt x="29" y="105"/>
                  </a:lnTo>
                  <a:lnTo>
                    <a:pt x="38" y="115"/>
                  </a:lnTo>
                  <a:lnTo>
                    <a:pt x="38" y="124"/>
                  </a:lnTo>
                  <a:lnTo>
                    <a:pt x="48" y="124"/>
                  </a:lnTo>
                  <a:lnTo>
                    <a:pt x="48" y="115"/>
                  </a:lnTo>
                  <a:lnTo>
                    <a:pt x="38" y="105"/>
                  </a:lnTo>
                  <a:lnTo>
                    <a:pt x="29" y="86"/>
                  </a:lnTo>
                  <a:lnTo>
                    <a:pt x="29" y="77"/>
                  </a:lnTo>
                  <a:lnTo>
                    <a:pt x="29" y="48"/>
                  </a:lnTo>
                  <a:lnTo>
                    <a:pt x="19" y="39"/>
                  </a:lnTo>
                  <a:lnTo>
                    <a:pt x="19" y="19"/>
                  </a:lnTo>
                  <a:lnTo>
                    <a:pt x="19"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74" name="Freeform 50">
              <a:extLst>
                <a:ext uri="{FF2B5EF4-FFF2-40B4-BE49-F238E27FC236}">
                  <a16:creationId xmlns:a16="http://schemas.microsoft.com/office/drawing/2014/main" id="{C7B5561D-D63A-45AC-8FC1-E5F3015360CC}"/>
                </a:ext>
              </a:extLst>
            </p:cNvPr>
            <p:cNvSpPr>
              <a:spLocks/>
            </p:cNvSpPr>
            <p:nvPr/>
          </p:nvSpPr>
          <p:spPr bwMode="gray">
            <a:xfrm>
              <a:off x="4781" y="1984"/>
              <a:ext cx="48" cy="172"/>
            </a:xfrm>
            <a:custGeom>
              <a:avLst/>
              <a:gdLst>
                <a:gd name="T0" fmla="*/ 19 w 48"/>
                <a:gd name="T1" fmla="*/ 10 h 172"/>
                <a:gd name="T2" fmla="*/ 19 w 48"/>
                <a:gd name="T3" fmla="*/ 0 h 172"/>
                <a:gd name="T4" fmla="*/ 10 w 48"/>
                <a:gd name="T5" fmla="*/ 0 h 172"/>
                <a:gd name="T6" fmla="*/ 10 w 48"/>
                <a:gd name="T7" fmla="*/ 10 h 172"/>
                <a:gd name="T8" fmla="*/ 10 w 48"/>
                <a:gd name="T9" fmla="*/ 19 h 172"/>
                <a:gd name="T10" fmla="*/ 10 w 48"/>
                <a:gd name="T11" fmla="*/ 19 h 172"/>
                <a:gd name="T12" fmla="*/ 10 w 48"/>
                <a:gd name="T13" fmla="*/ 19 h 172"/>
                <a:gd name="T14" fmla="*/ 0 w 48"/>
                <a:gd name="T15" fmla="*/ 19 h 172"/>
                <a:gd name="T16" fmla="*/ 0 w 48"/>
                <a:gd name="T17" fmla="*/ 29 h 172"/>
                <a:gd name="T18" fmla="*/ 0 w 48"/>
                <a:gd name="T19" fmla="*/ 48 h 172"/>
                <a:gd name="T20" fmla="*/ 0 w 48"/>
                <a:gd name="T21" fmla="*/ 48 h 172"/>
                <a:gd name="T22" fmla="*/ 0 w 48"/>
                <a:gd name="T23" fmla="*/ 48 h 172"/>
                <a:gd name="T24" fmla="*/ 0 w 48"/>
                <a:gd name="T25" fmla="*/ 67 h 172"/>
                <a:gd name="T26" fmla="*/ 10 w 48"/>
                <a:gd name="T27" fmla="*/ 67 h 172"/>
                <a:gd name="T28" fmla="*/ 10 w 48"/>
                <a:gd name="T29" fmla="*/ 96 h 172"/>
                <a:gd name="T30" fmla="*/ 10 w 48"/>
                <a:gd name="T31" fmla="*/ 105 h 172"/>
                <a:gd name="T32" fmla="*/ 10 w 48"/>
                <a:gd name="T33" fmla="*/ 115 h 172"/>
                <a:gd name="T34" fmla="*/ 0 w 48"/>
                <a:gd name="T35" fmla="*/ 124 h 172"/>
                <a:gd name="T36" fmla="*/ 10 w 48"/>
                <a:gd name="T37" fmla="*/ 134 h 172"/>
                <a:gd name="T38" fmla="*/ 10 w 48"/>
                <a:gd name="T39" fmla="*/ 144 h 172"/>
                <a:gd name="T40" fmla="*/ 10 w 48"/>
                <a:gd name="T41" fmla="*/ 153 h 172"/>
                <a:gd name="T42" fmla="*/ 0 w 48"/>
                <a:gd name="T43" fmla="*/ 172 h 172"/>
                <a:gd name="T44" fmla="*/ 10 w 48"/>
                <a:gd name="T45" fmla="*/ 172 h 172"/>
                <a:gd name="T46" fmla="*/ 10 w 48"/>
                <a:gd name="T47" fmla="*/ 172 h 172"/>
                <a:gd name="T48" fmla="*/ 19 w 48"/>
                <a:gd name="T49" fmla="*/ 163 h 172"/>
                <a:gd name="T50" fmla="*/ 19 w 48"/>
                <a:gd name="T51" fmla="*/ 172 h 172"/>
                <a:gd name="T52" fmla="*/ 19 w 48"/>
                <a:gd name="T53" fmla="*/ 172 h 172"/>
                <a:gd name="T54" fmla="*/ 29 w 48"/>
                <a:gd name="T55" fmla="*/ 172 h 172"/>
                <a:gd name="T56" fmla="*/ 29 w 48"/>
                <a:gd name="T57" fmla="*/ 163 h 172"/>
                <a:gd name="T58" fmla="*/ 19 w 48"/>
                <a:gd name="T59" fmla="*/ 153 h 172"/>
                <a:gd name="T60" fmla="*/ 19 w 48"/>
                <a:gd name="T61" fmla="*/ 153 h 172"/>
                <a:gd name="T62" fmla="*/ 19 w 48"/>
                <a:gd name="T63" fmla="*/ 134 h 172"/>
                <a:gd name="T64" fmla="*/ 19 w 48"/>
                <a:gd name="T65" fmla="*/ 134 h 172"/>
                <a:gd name="T66" fmla="*/ 19 w 48"/>
                <a:gd name="T67" fmla="*/ 124 h 172"/>
                <a:gd name="T68" fmla="*/ 19 w 48"/>
                <a:gd name="T69" fmla="*/ 124 h 172"/>
                <a:gd name="T70" fmla="*/ 19 w 48"/>
                <a:gd name="T71" fmla="*/ 115 h 172"/>
                <a:gd name="T72" fmla="*/ 29 w 48"/>
                <a:gd name="T73" fmla="*/ 105 h 172"/>
                <a:gd name="T74" fmla="*/ 29 w 48"/>
                <a:gd name="T75" fmla="*/ 105 h 172"/>
                <a:gd name="T76" fmla="*/ 38 w 48"/>
                <a:gd name="T77" fmla="*/ 115 h 172"/>
                <a:gd name="T78" fmla="*/ 38 w 48"/>
                <a:gd name="T79" fmla="*/ 124 h 172"/>
                <a:gd name="T80" fmla="*/ 48 w 48"/>
                <a:gd name="T81" fmla="*/ 124 h 172"/>
                <a:gd name="T82" fmla="*/ 48 w 48"/>
                <a:gd name="T83" fmla="*/ 115 h 172"/>
                <a:gd name="T84" fmla="*/ 48 w 48"/>
                <a:gd name="T85" fmla="*/ 115 h 172"/>
                <a:gd name="T86" fmla="*/ 38 w 48"/>
                <a:gd name="T87" fmla="*/ 105 h 172"/>
                <a:gd name="T88" fmla="*/ 29 w 48"/>
                <a:gd name="T89" fmla="*/ 86 h 172"/>
                <a:gd name="T90" fmla="*/ 29 w 48"/>
                <a:gd name="T91" fmla="*/ 77 h 172"/>
                <a:gd name="T92" fmla="*/ 29 w 48"/>
                <a:gd name="T93" fmla="*/ 48 h 172"/>
                <a:gd name="T94" fmla="*/ 19 w 48"/>
                <a:gd name="T95" fmla="*/ 39 h 172"/>
                <a:gd name="T96" fmla="*/ 19 w 48"/>
                <a:gd name="T97" fmla="*/ 19 h 172"/>
                <a:gd name="T98" fmla="*/ 19 w 48"/>
                <a:gd name="T99" fmla="*/ 10 h 172"/>
                <a:gd name="T100" fmla="*/ 19 w 48"/>
                <a:gd name="T101" fmla="*/ 10 h 17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
                <a:gd name="T154" fmla="*/ 0 h 172"/>
                <a:gd name="T155" fmla="*/ 48 w 48"/>
                <a:gd name="T156" fmla="*/ 172 h 17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 h="172">
                  <a:moveTo>
                    <a:pt x="19" y="10"/>
                  </a:moveTo>
                  <a:lnTo>
                    <a:pt x="19" y="0"/>
                  </a:lnTo>
                  <a:lnTo>
                    <a:pt x="10" y="0"/>
                  </a:lnTo>
                  <a:lnTo>
                    <a:pt x="10" y="10"/>
                  </a:lnTo>
                  <a:lnTo>
                    <a:pt x="10" y="19"/>
                  </a:lnTo>
                  <a:lnTo>
                    <a:pt x="0" y="19"/>
                  </a:lnTo>
                  <a:lnTo>
                    <a:pt x="0" y="29"/>
                  </a:lnTo>
                  <a:lnTo>
                    <a:pt x="0" y="48"/>
                  </a:lnTo>
                  <a:lnTo>
                    <a:pt x="0" y="67"/>
                  </a:lnTo>
                  <a:lnTo>
                    <a:pt x="10" y="67"/>
                  </a:lnTo>
                  <a:lnTo>
                    <a:pt x="10" y="96"/>
                  </a:lnTo>
                  <a:lnTo>
                    <a:pt x="10" y="105"/>
                  </a:lnTo>
                  <a:lnTo>
                    <a:pt x="10" y="115"/>
                  </a:lnTo>
                  <a:lnTo>
                    <a:pt x="0" y="124"/>
                  </a:lnTo>
                  <a:lnTo>
                    <a:pt x="10" y="134"/>
                  </a:lnTo>
                  <a:lnTo>
                    <a:pt x="10" y="144"/>
                  </a:lnTo>
                  <a:lnTo>
                    <a:pt x="10" y="153"/>
                  </a:lnTo>
                  <a:lnTo>
                    <a:pt x="0" y="172"/>
                  </a:lnTo>
                  <a:lnTo>
                    <a:pt x="10" y="172"/>
                  </a:lnTo>
                  <a:lnTo>
                    <a:pt x="19" y="163"/>
                  </a:lnTo>
                  <a:lnTo>
                    <a:pt x="19" y="172"/>
                  </a:lnTo>
                  <a:lnTo>
                    <a:pt x="29" y="172"/>
                  </a:lnTo>
                  <a:lnTo>
                    <a:pt x="29" y="163"/>
                  </a:lnTo>
                  <a:lnTo>
                    <a:pt x="19" y="153"/>
                  </a:lnTo>
                  <a:lnTo>
                    <a:pt x="19" y="134"/>
                  </a:lnTo>
                  <a:lnTo>
                    <a:pt x="19" y="124"/>
                  </a:lnTo>
                  <a:lnTo>
                    <a:pt x="19" y="115"/>
                  </a:lnTo>
                  <a:lnTo>
                    <a:pt x="29" y="105"/>
                  </a:lnTo>
                  <a:lnTo>
                    <a:pt x="38" y="115"/>
                  </a:lnTo>
                  <a:lnTo>
                    <a:pt x="38" y="124"/>
                  </a:lnTo>
                  <a:lnTo>
                    <a:pt x="48" y="124"/>
                  </a:lnTo>
                  <a:lnTo>
                    <a:pt x="48" y="115"/>
                  </a:lnTo>
                  <a:lnTo>
                    <a:pt x="38" y="105"/>
                  </a:lnTo>
                  <a:lnTo>
                    <a:pt x="29" y="86"/>
                  </a:lnTo>
                  <a:lnTo>
                    <a:pt x="29" y="77"/>
                  </a:lnTo>
                  <a:lnTo>
                    <a:pt x="29" y="48"/>
                  </a:lnTo>
                  <a:lnTo>
                    <a:pt x="19" y="39"/>
                  </a:lnTo>
                  <a:lnTo>
                    <a:pt x="19" y="19"/>
                  </a:lnTo>
                  <a:lnTo>
                    <a:pt x="19"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75" name="Freeform 51">
              <a:extLst>
                <a:ext uri="{FF2B5EF4-FFF2-40B4-BE49-F238E27FC236}">
                  <a16:creationId xmlns:a16="http://schemas.microsoft.com/office/drawing/2014/main" id="{BF0637C8-D922-4A19-A97B-74AB8FC717FB}"/>
                </a:ext>
              </a:extLst>
            </p:cNvPr>
            <p:cNvSpPr>
              <a:spLocks/>
            </p:cNvSpPr>
            <p:nvPr/>
          </p:nvSpPr>
          <p:spPr bwMode="gray">
            <a:xfrm>
              <a:off x="4752" y="2175"/>
              <a:ext cx="86" cy="67"/>
            </a:xfrm>
            <a:custGeom>
              <a:avLst/>
              <a:gdLst>
                <a:gd name="T0" fmla="*/ 29 w 86"/>
                <a:gd name="T1" fmla="*/ 10 h 67"/>
                <a:gd name="T2" fmla="*/ 29 w 86"/>
                <a:gd name="T3" fmla="*/ 0 h 67"/>
                <a:gd name="T4" fmla="*/ 39 w 86"/>
                <a:gd name="T5" fmla="*/ 0 h 67"/>
                <a:gd name="T6" fmla="*/ 39 w 86"/>
                <a:gd name="T7" fmla="*/ 0 h 67"/>
                <a:gd name="T8" fmla="*/ 48 w 86"/>
                <a:gd name="T9" fmla="*/ 10 h 67"/>
                <a:gd name="T10" fmla="*/ 48 w 86"/>
                <a:gd name="T11" fmla="*/ 19 h 67"/>
                <a:gd name="T12" fmla="*/ 58 w 86"/>
                <a:gd name="T13" fmla="*/ 19 h 67"/>
                <a:gd name="T14" fmla="*/ 58 w 86"/>
                <a:gd name="T15" fmla="*/ 19 h 67"/>
                <a:gd name="T16" fmla="*/ 67 w 86"/>
                <a:gd name="T17" fmla="*/ 29 h 67"/>
                <a:gd name="T18" fmla="*/ 77 w 86"/>
                <a:gd name="T19" fmla="*/ 29 h 67"/>
                <a:gd name="T20" fmla="*/ 86 w 86"/>
                <a:gd name="T21" fmla="*/ 19 h 67"/>
                <a:gd name="T22" fmla="*/ 86 w 86"/>
                <a:gd name="T23" fmla="*/ 19 h 67"/>
                <a:gd name="T24" fmla="*/ 86 w 86"/>
                <a:gd name="T25" fmla="*/ 29 h 67"/>
                <a:gd name="T26" fmla="*/ 86 w 86"/>
                <a:gd name="T27" fmla="*/ 29 h 67"/>
                <a:gd name="T28" fmla="*/ 86 w 86"/>
                <a:gd name="T29" fmla="*/ 38 h 67"/>
                <a:gd name="T30" fmla="*/ 86 w 86"/>
                <a:gd name="T31" fmla="*/ 48 h 67"/>
                <a:gd name="T32" fmla="*/ 77 w 86"/>
                <a:gd name="T33" fmla="*/ 48 h 67"/>
                <a:gd name="T34" fmla="*/ 67 w 86"/>
                <a:gd name="T35" fmla="*/ 48 h 67"/>
                <a:gd name="T36" fmla="*/ 58 w 86"/>
                <a:gd name="T37" fmla="*/ 58 h 67"/>
                <a:gd name="T38" fmla="*/ 58 w 86"/>
                <a:gd name="T39" fmla="*/ 58 h 67"/>
                <a:gd name="T40" fmla="*/ 48 w 86"/>
                <a:gd name="T41" fmla="*/ 58 h 67"/>
                <a:gd name="T42" fmla="*/ 48 w 86"/>
                <a:gd name="T43" fmla="*/ 58 h 67"/>
                <a:gd name="T44" fmla="*/ 39 w 86"/>
                <a:gd name="T45" fmla="*/ 58 h 67"/>
                <a:gd name="T46" fmla="*/ 29 w 86"/>
                <a:gd name="T47" fmla="*/ 48 h 67"/>
                <a:gd name="T48" fmla="*/ 29 w 86"/>
                <a:gd name="T49" fmla="*/ 58 h 67"/>
                <a:gd name="T50" fmla="*/ 20 w 86"/>
                <a:gd name="T51" fmla="*/ 58 h 67"/>
                <a:gd name="T52" fmla="*/ 10 w 86"/>
                <a:gd name="T53" fmla="*/ 58 h 67"/>
                <a:gd name="T54" fmla="*/ 10 w 86"/>
                <a:gd name="T55" fmla="*/ 58 h 67"/>
                <a:gd name="T56" fmla="*/ 10 w 86"/>
                <a:gd name="T57" fmla="*/ 58 h 67"/>
                <a:gd name="T58" fmla="*/ 10 w 86"/>
                <a:gd name="T59" fmla="*/ 67 h 67"/>
                <a:gd name="T60" fmla="*/ 0 w 86"/>
                <a:gd name="T61" fmla="*/ 67 h 67"/>
                <a:gd name="T62" fmla="*/ 0 w 86"/>
                <a:gd name="T63" fmla="*/ 58 h 67"/>
                <a:gd name="T64" fmla="*/ 0 w 86"/>
                <a:gd name="T65" fmla="*/ 58 h 67"/>
                <a:gd name="T66" fmla="*/ 0 w 86"/>
                <a:gd name="T67" fmla="*/ 58 h 67"/>
                <a:gd name="T68" fmla="*/ 10 w 86"/>
                <a:gd name="T69" fmla="*/ 48 h 67"/>
                <a:gd name="T70" fmla="*/ 10 w 86"/>
                <a:gd name="T71" fmla="*/ 38 h 67"/>
                <a:gd name="T72" fmla="*/ 10 w 86"/>
                <a:gd name="T73" fmla="*/ 38 h 67"/>
                <a:gd name="T74" fmla="*/ 20 w 86"/>
                <a:gd name="T75" fmla="*/ 38 h 67"/>
                <a:gd name="T76" fmla="*/ 20 w 86"/>
                <a:gd name="T77" fmla="*/ 38 h 67"/>
                <a:gd name="T78" fmla="*/ 29 w 86"/>
                <a:gd name="T79" fmla="*/ 29 h 67"/>
                <a:gd name="T80" fmla="*/ 29 w 86"/>
                <a:gd name="T81" fmla="*/ 29 h 67"/>
                <a:gd name="T82" fmla="*/ 29 w 86"/>
                <a:gd name="T83" fmla="*/ 10 h 67"/>
                <a:gd name="T84" fmla="*/ 29 w 86"/>
                <a:gd name="T85" fmla="*/ 10 h 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
                <a:gd name="T130" fmla="*/ 0 h 67"/>
                <a:gd name="T131" fmla="*/ 86 w 86"/>
                <a:gd name="T132" fmla="*/ 67 h 6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 h="67">
                  <a:moveTo>
                    <a:pt x="29" y="10"/>
                  </a:moveTo>
                  <a:lnTo>
                    <a:pt x="29" y="0"/>
                  </a:lnTo>
                  <a:lnTo>
                    <a:pt x="39" y="0"/>
                  </a:lnTo>
                  <a:lnTo>
                    <a:pt x="48" y="10"/>
                  </a:lnTo>
                  <a:lnTo>
                    <a:pt x="48" y="19"/>
                  </a:lnTo>
                  <a:lnTo>
                    <a:pt x="58" y="19"/>
                  </a:lnTo>
                  <a:lnTo>
                    <a:pt x="67" y="29"/>
                  </a:lnTo>
                  <a:lnTo>
                    <a:pt x="77" y="29"/>
                  </a:lnTo>
                  <a:lnTo>
                    <a:pt x="86" y="19"/>
                  </a:lnTo>
                  <a:lnTo>
                    <a:pt x="86" y="29"/>
                  </a:lnTo>
                  <a:lnTo>
                    <a:pt x="86" y="38"/>
                  </a:lnTo>
                  <a:lnTo>
                    <a:pt x="86" y="48"/>
                  </a:lnTo>
                  <a:lnTo>
                    <a:pt x="77" y="48"/>
                  </a:lnTo>
                  <a:lnTo>
                    <a:pt x="67" y="48"/>
                  </a:lnTo>
                  <a:lnTo>
                    <a:pt x="58" y="58"/>
                  </a:lnTo>
                  <a:lnTo>
                    <a:pt x="48" y="58"/>
                  </a:lnTo>
                  <a:lnTo>
                    <a:pt x="39" y="58"/>
                  </a:lnTo>
                  <a:lnTo>
                    <a:pt x="29" y="48"/>
                  </a:lnTo>
                  <a:lnTo>
                    <a:pt x="29" y="58"/>
                  </a:lnTo>
                  <a:lnTo>
                    <a:pt x="20" y="58"/>
                  </a:lnTo>
                  <a:lnTo>
                    <a:pt x="10" y="58"/>
                  </a:lnTo>
                  <a:lnTo>
                    <a:pt x="10" y="67"/>
                  </a:lnTo>
                  <a:lnTo>
                    <a:pt x="0" y="67"/>
                  </a:lnTo>
                  <a:lnTo>
                    <a:pt x="0" y="58"/>
                  </a:lnTo>
                  <a:lnTo>
                    <a:pt x="10" y="48"/>
                  </a:lnTo>
                  <a:lnTo>
                    <a:pt x="10" y="38"/>
                  </a:lnTo>
                  <a:lnTo>
                    <a:pt x="20" y="38"/>
                  </a:lnTo>
                  <a:lnTo>
                    <a:pt x="29" y="29"/>
                  </a:lnTo>
                  <a:lnTo>
                    <a:pt x="29"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76" name="Freeform 52">
              <a:extLst>
                <a:ext uri="{FF2B5EF4-FFF2-40B4-BE49-F238E27FC236}">
                  <a16:creationId xmlns:a16="http://schemas.microsoft.com/office/drawing/2014/main" id="{FAC593F3-A07A-4472-9DB0-240847EDB9B9}"/>
                </a:ext>
              </a:extLst>
            </p:cNvPr>
            <p:cNvSpPr>
              <a:spLocks/>
            </p:cNvSpPr>
            <p:nvPr/>
          </p:nvSpPr>
          <p:spPr bwMode="gray">
            <a:xfrm>
              <a:off x="4619" y="2242"/>
              <a:ext cx="162" cy="143"/>
            </a:xfrm>
            <a:custGeom>
              <a:avLst/>
              <a:gdLst>
                <a:gd name="T0" fmla="*/ 153 w 162"/>
                <a:gd name="T1" fmla="*/ 10 h 143"/>
                <a:gd name="T2" fmla="*/ 143 w 162"/>
                <a:gd name="T3" fmla="*/ 10 h 143"/>
                <a:gd name="T4" fmla="*/ 153 w 162"/>
                <a:gd name="T5" fmla="*/ 19 h 143"/>
                <a:gd name="T6" fmla="*/ 143 w 162"/>
                <a:gd name="T7" fmla="*/ 10 h 143"/>
                <a:gd name="T8" fmla="*/ 133 w 162"/>
                <a:gd name="T9" fmla="*/ 19 h 143"/>
                <a:gd name="T10" fmla="*/ 133 w 162"/>
                <a:gd name="T11" fmla="*/ 57 h 143"/>
                <a:gd name="T12" fmla="*/ 114 w 162"/>
                <a:gd name="T13" fmla="*/ 76 h 143"/>
                <a:gd name="T14" fmla="*/ 95 w 162"/>
                <a:gd name="T15" fmla="*/ 86 h 143"/>
                <a:gd name="T16" fmla="*/ 95 w 162"/>
                <a:gd name="T17" fmla="*/ 76 h 143"/>
                <a:gd name="T18" fmla="*/ 86 w 162"/>
                <a:gd name="T19" fmla="*/ 76 h 143"/>
                <a:gd name="T20" fmla="*/ 76 w 162"/>
                <a:gd name="T21" fmla="*/ 105 h 143"/>
                <a:gd name="T22" fmla="*/ 57 w 162"/>
                <a:gd name="T23" fmla="*/ 105 h 143"/>
                <a:gd name="T24" fmla="*/ 38 w 162"/>
                <a:gd name="T25" fmla="*/ 105 h 143"/>
                <a:gd name="T26" fmla="*/ 29 w 162"/>
                <a:gd name="T27" fmla="*/ 115 h 143"/>
                <a:gd name="T28" fmla="*/ 10 w 162"/>
                <a:gd name="T29" fmla="*/ 124 h 143"/>
                <a:gd name="T30" fmla="*/ 0 w 162"/>
                <a:gd name="T31" fmla="*/ 134 h 143"/>
                <a:gd name="T32" fmla="*/ 19 w 162"/>
                <a:gd name="T33" fmla="*/ 134 h 143"/>
                <a:gd name="T34" fmla="*/ 38 w 162"/>
                <a:gd name="T35" fmla="*/ 124 h 143"/>
                <a:gd name="T36" fmla="*/ 57 w 162"/>
                <a:gd name="T37" fmla="*/ 115 h 143"/>
                <a:gd name="T38" fmla="*/ 67 w 162"/>
                <a:gd name="T39" fmla="*/ 134 h 143"/>
                <a:gd name="T40" fmla="*/ 67 w 162"/>
                <a:gd name="T41" fmla="*/ 143 h 143"/>
                <a:gd name="T42" fmla="*/ 76 w 162"/>
                <a:gd name="T43" fmla="*/ 143 h 143"/>
                <a:gd name="T44" fmla="*/ 86 w 162"/>
                <a:gd name="T45" fmla="*/ 134 h 143"/>
                <a:gd name="T46" fmla="*/ 86 w 162"/>
                <a:gd name="T47" fmla="*/ 124 h 143"/>
                <a:gd name="T48" fmla="*/ 86 w 162"/>
                <a:gd name="T49" fmla="*/ 115 h 143"/>
                <a:gd name="T50" fmla="*/ 95 w 162"/>
                <a:gd name="T51" fmla="*/ 124 h 143"/>
                <a:gd name="T52" fmla="*/ 114 w 162"/>
                <a:gd name="T53" fmla="*/ 115 h 143"/>
                <a:gd name="T54" fmla="*/ 114 w 162"/>
                <a:gd name="T55" fmla="*/ 124 h 143"/>
                <a:gd name="T56" fmla="*/ 124 w 162"/>
                <a:gd name="T57" fmla="*/ 115 h 143"/>
                <a:gd name="T58" fmla="*/ 133 w 162"/>
                <a:gd name="T59" fmla="*/ 105 h 143"/>
                <a:gd name="T60" fmla="*/ 133 w 162"/>
                <a:gd name="T61" fmla="*/ 115 h 143"/>
                <a:gd name="T62" fmla="*/ 143 w 162"/>
                <a:gd name="T63" fmla="*/ 105 h 143"/>
                <a:gd name="T64" fmla="*/ 143 w 162"/>
                <a:gd name="T65" fmla="*/ 95 h 143"/>
                <a:gd name="T66" fmla="*/ 153 w 162"/>
                <a:gd name="T67" fmla="*/ 76 h 143"/>
                <a:gd name="T68" fmla="*/ 153 w 162"/>
                <a:gd name="T69" fmla="*/ 67 h 143"/>
                <a:gd name="T70" fmla="*/ 162 w 162"/>
                <a:gd name="T71" fmla="*/ 57 h 143"/>
                <a:gd name="T72" fmla="*/ 162 w 162"/>
                <a:gd name="T73" fmla="*/ 29 h 143"/>
                <a:gd name="T74" fmla="*/ 162 w 162"/>
                <a:gd name="T75" fmla="*/ 19 h 14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2"/>
                <a:gd name="T115" fmla="*/ 0 h 143"/>
                <a:gd name="T116" fmla="*/ 162 w 162"/>
                <a:gd name="T117" fmla="*/ 143 h 14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2" h="143">
                  <a:moveTo>
                    <a:pt x="153" y="19"/>
                  </a:moveTo>
                  <a:lnTo>
                    <a:pt x="153" y="10"/>
                  </a:lnTo>
                  <a:lnTo>
                    <a:pt x="153" y="0"/>
                  </a:lnTo>
                  <a:lnTo>
                    <a:pt x="143" y="10"/>
                  </a:lnTo>
                  <a:lnTo>
                    <a:pt x="153" y="10"/>
                  </a:lnTo>
                  <a:lnTo>
                    <a:pt x="153" y="19"/>
                  </a:lnTo>
                  <a:lnTo>
                    <a:pt x="143" y="10"/>
                  </a:lnTo>
                  <a:lnTo>
                    <a:pt x="133" y="19"/>
                  </a:lnTo>
                  <a:lnTo>
                    <a:pt x="133" y="48"/>
                  </a:lnTo>
                  <a:lnTo>
                    <a:pt x="133" y="57"/>
                  </a:lnTo>
                  <a:lnTo>
                    <a:pt x="114" y="76"/>
                  </a:lnTo>
                  <a:lnTo>
                    <a:pt x="105" y="86"/>
                  </a:lnTo>
                  <a:lnTo>
                    <a:pt x="95" y="86"/>
                  </a:lnTo>
                  <a:lnTo>
                    <a:pt x="95" y="76"/>
                  </a:lnTo>
                  <a:lnTo>
                    <a:pt x="86" y="76"/>
                  </a:lnTo>
                  <a:lnTo>
                    <a:pt x="86" y="86"/>
                  </a:lnTo>
                  <a:lnTo>
                    <a:pt x="76" y="105"/>
                  </a:lnTo>
                  <a:lnTo>
                    <a:pt x="57" y="105"/>
                  </a:lnTo>
                  <a:lnTo>
                    <a:pt x="48" y="105"/>
                  </a:lnTo>
                  <a:lnTo>
                    <a:pt x="38" y="105"/>
                  </a:lnTo>
                  <a:lnTo>
                    <a:pt x="29" y="105"/>
                  </a:lnTo>
                  <a:lnTo>
                    <a:pt x="29" y="115"/>
                  </a:lnTo>
                  <a:lnTo>
                    <a:pt x="10" y="124"/>
                  </a:lnTo>
                  <a:lnTo>
                    <a:pt x="0" y="124"/>
                  </a:lnTo>
                  <a:lnTo>
                    <a:pt x="0" y="134"/>
                  </a:lnTo>
                  <a:lnTo>
                    <a:pt x="10" y="134"/>
                  </a:lnTo>
                  <a:lnTo>
                    <a:pt x="19" y="134"/>
                  </a:lnTo>
                  <a:lnTo>
                    <a:pt x="38" y="124"/>
                  </a:lnTo>
                  <a:lnTo>
                    <a:pt x="57" y="115"/>
                  </a:lnTo>
                  <a:lnTo>
                    <a:pt x="67" y="124"/>
                  </a:lnTo>
                  <a:lnTo>
                    <a:pt x="67" y="134"/>
                  </a:lnTo>
                  <a:lnTo>
                    <a:pt x="67" y="143"/>
                  </a:lnTo>
                  <a:lnTo>
                    <a:pt x="76" y="143"/>
                  </a:lnTo>
                  <a:lnTo>
                    <a:pt x="86" y="134"/>
                  </a:lnTo>
                  <a:lnTo>
                    <a:pt x="86" y="124"/>
                  </a:lnTo>
                  <a:lnTo>
                    <a:pt x="86" y="115"/>
                  </a:lnTo>
                  <a:lnTo>
                    <a:pt x="95" y="115"/>
                  </a:lnTo>
                  <a:lnTo>
                    <a:pt x="95" y="124"/>
                  </a:lnTo>
                  <a:lnTo>
                    <a:pt x="105" y="124"/>
                  </a:lnTo>
                  <a:lnTo>
                    <a:pt x="114" y="115"/>
                  </a:lnTo>
                  <a:lnTo>
                    <a:pt x="114" y="124"/>
                  </a:lnTo>
                  <a:lnTo>
                    <a:pt x="124" y="124"/>
                  </a:lnTo>
                  <a:lnTo>
                    <a:pt x="124" y="115"/>
                  </a:lnTo>
                  <a:lnTo>
                    <a:pt x="133" y="105"/>
                  </a:lnTo>
                  <a:lnTo>
                    <a:pt x="133" y="115"/>
                  </a:lnTo>
                  <a:lnTo>
                    <a:pt x="143" y="105"/>
                  </a:lnTo>
                  <a:lnTo>
                    <a:pt x="143" y="95"/>
                  </a:lnTo>
                  <a:lnTo>
                    <a:pt x="153" y="76"/>
                  </a:lnTo>
                  <a:lnTo>
                    <a:pt x="153" y="67"/>
                  </a:lnTo>
                  <a:lnTo>
                    <a:pt x="162" y="67"/>
                  </a:lnTo>
                  <a:lnTo>
                    <a:pt x="162" y="57"/>
                  </a:lnTo>
                  <a:lnTo>
                    <a:pt x="162" y="38"/>
                  </a:lnTo>
                  <a:lnTo>
                    <a:pt x="162" y="29"/>
                  </a:lnTo>
                  <a:lnTo>
                    <a:pt x="162" y="19"/>
                  </a:lnTo>
                  <a:lnTo>
                    <a:pt x="153"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77" name="Freeform 53">
              <a:extLst>
                <a:ext uri="{FF2B5EF4-FFF2-40B4-BE49-F238E27FC236}">
                  <a16:creationId xmlns:a16="http://schemas.microsoft.com/office/drawing/2014/main" id="{2310D349-DC32-4740-B8B8-6BAF56163F12}"/>
                </a:ext>
              </a:extLst>
            </p:cNvPr>
            <p:cNvSpPr>
              <a:spLocks/>
            </p:cNvSpPr>
            <p:nvPr/>
          </p:nvSpPr>
          <p:spPr bwMode="gray">
            <a:xfrm>
              <a:off x="4638" y="2366"/>
              <a:ext cx="38" cy="29"/>
            </a:xfrm>
            <a:custGeom>
              <a:avLst/>
              <a:gdLst>
                <a:gd name="T0" fmla="*/ 38 w 38"/>
                <a:gd name="T1" fmla="*/ 10 h 29"/>
                <a:gd name="T2" fmla="*/ 29 w 38"/>
                <a:gd name="T3" fmla="*/ 0 h 29"/>
                <a:gd name="T4" fmla="*/ 29 w 38"/>
                <a:gd name="T5" fmla="*/ 10 h 29"/>
                <a:gd name="T6" fmla="*/ 19 w 38"/>
                <a:gd name="T7" fmla="*/ 10 h 29"/>
                <a:gd name="T8" fmla="*/ 10 w 38"/>
                <a:gd name="T9" fmla="*/ 10 h 29"/>
                <a:gd name="T10" fmla="*/ 0 w 38"/>
                <a:gd name="T11" fmla="*/ 19 h 29"/>
                <a:gd name="T12" fmla="*/ 10 w 38"/>
                <a:gd name="T13" fmla="*/ 29 h 29"/>
                <a:gd name="T14" fmla="*/ 19 w 38"/>
                <a:gd name="T15" fmla="*/ 29 h 29"/>
                <a:gd name="T16" fmla="*/ 19 w 38"/>
                <a:gd name="T17" fmla="*/ 19 h 29"/>
                <a:gd name="T18" fmla="*/ 19 w 38"/>
                <a:gd name="T19" fmla="*/ 19 h 29"/>
                <a:gd name="T20" fmla="*/ 29 w 38"/>
                <a:gd name="T21" fmla="*/ 19 h 29"/>
                <a:gd name="T22" fmla="*/ 38 w 38"/>
                <a:gd name="T23" fmla="*/ 19 h 29"/>
                <a:gd name="T24" fmla="*/ 38 w 38"/>
                <a:gd name="T25" fmla="*/ 10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29"/>
                <a:gd name="T41" fmla="*/ 38 w 38"/>
                <a:gd name="T42" fmla="*/ 29 h 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29">
                  <a:moveTo>
                    <a:pt x="38" y="10"/>
                  </a:moveTo>
                  <a:lnTo>
                    <a:pt x="29" y="0"/>
                  </a:lnTo>
                  <a:lnTo>
                    <a:pt x="29" y="10"/>
                  </a:lnTo>
                  <a:lnTo>
                    <a:pt x="19" y="10"/>
                  </a:lnTo>
                  <a:lnTo>
                    <a:pt x="10" y="10"/>
                  </a:lnTo>
                  <a:lnTo>
                    <a:pt x="0" y="19"/>
                  </a:lnTo>
                  <a:lnTo>
                    <a:pt x="10" y="29"/>
                  </a:lnTo>
                  <a:lnTo>
                    <a:pt x="19" y="29"/>
                  </a:lnTo>
                  <a:lnTo>
                    <a:pt x="19" y="19"/>
                  </a:lnTo>
                  <a:lnTo>
                    <a:pt x="29" y="19"/>
                  </a:lnTo>
                  <a:lnTo>
                    <a:pt x="38" y="19"/>
                  </a:lnTo>
                  <a:lnTo>
                    <a:pt x="38"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78" name="Freeform 54">
              <a:extLst>
                <a:ext uri="{FF2B5EF4-FFF2-40B4-BE49-F238E27FC236}">
                  <a16:creationId xmlns:a16="http://schemas.microsoft.com/office/drawing/2014/main" id="{2B9F3C3C-0DA1-4ECB-93EB-E63FDA7C4DB2}"/>
                </a:ext>
              </a:extLst>
            </p:cNvPr>
            <p:cNvSpPr>
              <a:spLocks/>
            </p:cNvSpPr>
            <p:nvPr/>
          </p:nvSpPr>
          <p:spPr bwMode="gray">
            <a:xfrm>
              <a:off x="4638" y="2366"/>
              <a:ext cx="38" cy="29"/>
            </a:xfrm>
            <a:custGeom>
              <a:avLst/>
              <a:gdLst>
                <a:gd name="T0" fmla="*/ 38 w 38"/>
                <a:gd name="T1" fmla="*/ 10 h 29"/>
                <a:gd name="T2" fmla="*/ 29 w 38"/>
                <a:gd name="T3" fmla="*/ 0 h 29"/>
                <a:gd name="T4" fmla="*/ 29 w 38"/>
                <a:gd name="T5" fmla="*/ 10 h 29"/>
                <a:gd name="T6" fmla="*/ 19 w 38"/>
                <a:gd name="T7" fmla="*/ 10 h 29"/>
                <a:gd name="T8" fmla="*/ 10 w 38"/>
                <a:gd name="T9" fmla="*/ 10 h 29"/>
                <a:gd name="T10" fmla="*/ 0 w 38"/>
                <a:gd name="T11" fmla="*/ 19 h 29"/>
                <a:gd name="T12" fmla="*/ 10 w 38"/>
                <a:gd name="T13" fmla="*/ 29 h 29"/>
                <a:gd name="T14" fmla="*/ 19 w 38"/>
                <a:gd name="T15" fmla="*/ 29 h 29"/>
                <a:gd name="T16" fmla="*/ 19 w 38"/>
                <a:gd name="T17" fmla="*/ 19 h 29"/>
                <a:gd name="T18" fmla="*/ 19 w 38"/>
                <a:gd name="T19" fmla="*/ 19 h 29"/>
                <a:gd name="T20" fmla="*/ 29 w 38"/>
                <a:gd name="T21" fmla="*/ 19 h 29"/>
                <a:gd name="T22" fmla="*/ 38 w 38"/>
                <a:gd name="T23" fmla="*/ 19 h 29"/>
                <a:gd name="T24" fmla="*/ 38 w 38"/>
                <a:gd name="T25" fmla="*/ 10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29"/>
                <a:gd name="T41" fmla="*/ 38 w 38"/>
                <a:gd name="T42" fmla="*/ 29 h 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29">
                  <a:moveTo>
                    <a:pt x="38" y="10"/>
                  </a:moveTo>
                  <a:lnTo>
                    <a:pt x="29" y="0"/>
                  </a:lnTo>
                  <a:lnTo>
                    <a:pt x="29" y="10"/>
                  </a:lnTo>
                  <a:lnTo>
                    <a:pt x="19" y="10"/>
                  </a:lnTo>
                  <a:lnTo>
                    <a:pt x="10" y="10"/>
                  </a:lnTo>
                  <a:lnTo>
                    <a:pt x="0" y="19"/>
                  </a:lnTo>
                  <a:lnTo>
                    <a:pt x="10" y="29"/>
                  </a:lnTo>
                  <a:lnTo>
                    <a:pt x="19" y="29"/>
                  </a:lnTo>
                  <a:lnTo>
                    <a:pt x="19" y="19"/>
                  </a:lnTo>
                  <a:lnTo>
                    <a:pt x="29" y="19"/>
                  </a:lnTo>
                  <a:lnTo>
                    <a:pt x="38" y="19"/>
                  </a:lnTo>
                  <a:lnTo>
                    <a:pt x="38"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79" name="Freeform 55">
              <a:extLst>
                <a:ext uri="{FF2B5EF4-FFF2-40B4-BE49-F238E27FC236}">
                  <a16:creationId xmlns:a16="http://schemas.microsoft.com/office/drawing/2014/main" id="{950054E7-790C-4C37-A46E-310ADF1472A1}"/>
                </a:ext>
              </a:extLst>
            </p:cNvPr>
            <p:cNvSpPr>
              <a:spLocks/>
            </p:cNvSpPr>
            <p:nvPr/>
          </p:nvSpPr>
          <p:spPr bwMode="gray">
            <a:xfrm>
              <a:off x="4600" y="2376"/>
              <a:ext cx="38" cy="47"/>
            </a:xfrm>
            <a:custGeom>
              <a:avLst/>
              <a:gdLst>
                <a:gd name="T0" fmla="*/ 19 w 38"/>
                <a:gd name="T1" fmla="*/ 0 h 47"/>
                <a:gd name="T2" fmla="*/ 29 w 38"/>
                <a:gd name="T3" fmla="*/ 9 h 47"/>
                <a:gd name="T4" fmla="*/ 29 w 38"/>
                <a:gd name="T5" fmla="*/ 9 h 47"/>
                <a:gd name="T6" fmla="*/ 38 w 38"/>
                <a:gd name="T7" fmla="*/ 19 h 47"/>
                <a:gd name="T8" fmla="*/ 29 w 38"/>
                <a:gd name="T9" fmla="*/ 28 h 47"/>
                <a:gd name="T10" fmla="*/ 29 w 38"/>
                <a:gd name="T11" fmla="*/ 38 h 47"/>
                <a:gd name="T12" fmla="*/ 19 w 38"/>
                <a:gd name="T13" fmla="*/ 47 h 47"/>
                <a:gd name="T14" fmla="*/ 19 w 38"/>
                <a:gd name="T15" fmla="*/ 38 h 47"/>
                <a:gd name="T16" fmla="*/ 19 w 38"/>
                <a:gd name="T17" fmla="*/ 38 h 47"/>
                <a:gd name="T18" fmla="*/ 9 w 38"/>
                <a:gd name="T19" fmla="*/ 38 h 47"/>
                <a:gd name="T20" fmla="*/ 9 w 38"/>
                <a:gd name="T21" fmla="*/ 38 h 47"/>
                <a:gd name="T22" fmla="*/ 9 w 38"/>
                <a:gd name="T23" fmla="*/ 28 h 47"/>
                <a:gd name="T24" fmla="*/ 9 w 38"/>
                <a:gd name="T25" fmla="*/ 28 h 47"/>
                <a:gd name="T26" fmla="*/ 9 w 38"/>
                <a:gd name="T27" fmla="*/ 28 h 47"/>
                <a:gd name="T28" fmla="*/ 19 w 38"/>
                <a:gd name="T29" fmla="*/ 28 h 47"/>
                <a:gd name="T30" fmla="*/ 19 w 38"/>
                <a:gd name="T31" fmla="*/ 28 h 47"/>
                <a:gd name="T32" fmla="*/ 19 w 38"/>
                <a:gd name="T33" fmla="*/ 19 h 47"/>
                <a:gd name="T34" fmla="*/ 19 w 38"/>
                <a:gd name="T35" fmla="*/ 19 h 47"/>
                <a:gd name="T36" fmla="*/ 19 w 38"/>
                <a:gd name="T37" fmla="*/ 19 h 47"/>
                <a:gd name="T38" fmla="*/ 19 w 38"/>
                <a:gd name="T39" fmla="*/ 19 h 47"/>
                <a:gd name="T40" fmla="*/ 19 w 38"/>
                <a:gd name="T41" fmla="*/ 19 h 47"/>
                <a:gd name="T42" fmla="*/ 19 w 38"/>
                <a:gd name="T43" fmla="*/ 19 h 47"/>
                <a:gd name="T44" fmla="*/ 9 w 38"/>
                <a:gd name="T45" fmla="*/ 19 h 47"/>
                <a:gd name="T46" fmla="*/ 0 w 38"/>
                <a:gd name="T47" fmla="*/ 19 h 47"/>
                <a:gd name="T48" fmla="*/ 0 w 38"/>
                <a:gd name="T49" fmla="*/ 9 h 47"/>
                <a:gd name="T50" fmla="*/ 9 w 38"/>
                <a:gd name="T51" fmla="*/ 9 h 47"/>
                <a:gd name="T52" fmla="*/ 19 w 38"/>
                <a:gd name="T53" fmla="*/ 0 h 4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8"/>
                <a:gd name="T82" fmla="*/ 0 h 47"/>
                <a:gd name="T83" fmla="*/ 38 w 38"/>
                <a:gd name="T84" fmla="*/ 47 h 4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8" h="47">
                  <a:moveTo>
                    <a:pt x="19" y="0"/>
                  </a:moveTo>
                  <a:lnTo>
                    <a:pt x="29" y="9"/>
                  </a:lnTo>
                  <a:lnTo>
                    <a:pt x="38" y="19"/>
                  </a:lnTo>
                  <a:lnTo>
                    <a:pt x="29" y="28"/>
                  </a:lnTo>
                  <a:lnTo>
                    <a:pt x="29" y="38"/>
                  </a:lnTo>
                  <a:lnTo>
                    <a:pt x="19" y="47"/>
                  </a:lnTo>
                  <a:lnTo>
                    <a:pt x="19" y="38"/>
                  </a:lnTo>
                  <a:lnTo>
                    <a:pt x="9" y="38"/>
                  </a:lnTo>
                  <a:lnTo>
                    <a:pt x="9" y="28"/>
                  </a:lnTo>
                  <a:lnTo>
                    <a:pt x="19" y="28"/>
                  </a:lnTo>
                  <a:lnTo>
                    <a:pt x="19" y="19"/>
                  </a:lnTo>
                  <a:lnTo>
                    <a:pt x="9" y="19"/>
                  </a:lnTo>
                  <a:lnTo>
                    <a:pt x="0" y="19"/>
                  </a:lnTo>
                  <a:lnTo>
                    <a:pt x="0" y="9"/>
                  </a:lnTo>
                  <a:lnTo>
                    <a:pt x="9" y="9"/>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80" name="Freeform 57">
              <a:extLst>
                <a:ext uri="{FF2B5EF4-FFF2-40B4-BE49-F238E27FC236}">
                  <a16:creationId xmlns:a16="http://schemas.microsoft.com/office/drawing/2014/main" id="{8C7A5A26-B1D1-4198-ACD0-BCE61A3DE99D}"/>
                </a:ext>
              </a:extLst>
            </p:cNvPr>
            <p:cNvSpPr>
              <a:spLocks/>
            </p:cNvSpPr>
            <p:nvPr/>
          </p:nvSpPr>
          <p:spPr bwMode="gray">
            <a:xfrm>
              <a:off x="4857" y="2175"/>
              <a:ext cx="29" cy="19"/>
            </a:xfrm>
            <a:custGeom>
              <a:avLst/>
              <a:gdLst>
                <a:gd name="T0" fmla="*/ 0 w 29"/>
                <a:gd name="T1" fmla="*/ 19 h 19"/>
                <a:gd name="T2" fmla="*/ 0 w 29"/>
                <a:gd name="T3" fmla="*/ 10 h 19"/>
                <a:gd name="T4" fmla="*/ 10 w 29"/>
                <a:gd name="T5" fmla="*/ 0 h 19"/>
                <a:gd name="T6" fmla="*/ 19 w 29"/>
                <a:gd name="T7" fmla="*/ 0 h 19"/>
                <a:gd name="T8" fmla="*/ 19 w 29"/>
                <a:gd name="T9" fmla="*/ 0 h 19"/>
                <a:gd name="T10" fmla="*/ 29 w 29"/>
                <a:gd name="T11" fmla="*/ 0 h 19"/>
                <a:gd name="T12" fmla="*/ 19 w 29"/>
                <a:gd name="T13" fmla="*/ 0 h 19"/>
                <a:gd name="T14" fmla="*/ 10 w 29"/>
                <a:gd name="T15" fmla="*/ 10 h 19"/>
                <a:gd name="T16" fmla="*/ 0 w 29"/>
                <a:gd name="T17" fmla="*/ 19 h 19"/>
                <a:gd name="T18" fmla="*/ 0 w 29"/>
                <a:gd name="T19" fmla="*/ 19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9"/>
                <a:gd name="T32" fmla="*/ 29 w 29"/>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9">
                  <a:moveTo>
                    <a:pt x="0" y="19"/>
                  </a:moveTo>
                  <a:lnTo>
                    <a:pt x="0" y="10"/>
                  </a:lnTo>
                  <a:lnTo>
                    <a:pt x="10" y="0"/>
                  </a:lnTo>
                  <a:lnTo>
                    <a:pt x="19" y="0"/>
                  </a:lnTo>
                  <a:lnTo>
                    <a:pt x="29" y="0"/>
                  </a:lnTo>
                  <a:lnTo>
                    <a:pt x="19" y="0"/>
                  </a:lnTo>
                  <a:lnTo>
                    <a:pt x="10" y="10"/>
                  </a:lnTo>
                  <a:lnTo>
                    <a:pt x="0"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81" name="Freeform 58">
              <a:extLst>
                <a:ext uri="{FF2B5EF4-FFF2-40B4-BE49-F238E27FC236}">
                  <a16:creationId xmlns:a16="http://schemas.microsoft.com/office/drawing/2014/main" id="{1612D8E7-919E-4747-9A76-D3ABBDED059E}"/>
                </a:ext>
              </a:extLst>
            </p:cNvPr>
            <p:cNvSpPr>
              <a:spLocks/>
            </p:cNvSpPr>
            <p:nvPr/>
          </p:nvSpPr>
          <p:spPr bwMode="gray">
            <a:xfrm>
              <a:off x="4857" y="2175"/>
              <a:ext cx="29" cy="19"/>
            </a:xfrm>
            <a:custGeom>
              <a:avLst/>
              <a:gdLst>
                <a:gd name="T0" fmla="*/ 0 w 29"/>
                <a:gd name="T1" fmla="*/ 19 h 19"/>
                <a:gd name="T2" fmla="*/ 0 w 29"/>
                <a:gd name="T3" fmla="*/ 10 h 19"/>
                <a:gd name="T4" fmla="*/ 10 w 29"/>
                <a:gd name="T5" fmla="*/ 0 h 19"/>
                <a:gd name="T6" fmla="*/ 19 w 29"/>
                <a:gd name="T7" fmla="*/ 0 h 19"/>
                <a:gd name="T8" fmla="*/ 19 w 29"/>
                <a:gd name="T9" fmla="*/ 0 h 19"/>
                <a:gd name="T10" fmla="*/ 29 w 29"/>
                <a:gd name="T11" fmla="*/ 0 h 19"/>
                <a:gd name="T12" fmla="*/ 19 w 29"/>
                <a:gd name="T13" fmla="*/ 0 h 19"/>
                <a:gd name="T14" fmla="*/ 10 w 29"/>
                <a:gd name="T15" fmla="*/ 10 h 19"/>
                <a:gd name="T16" fmla="*/ 0 w 29"/>
                <a:gd name="T17" fmla="*/ 19 h 19"/>
                <a:gd name="T18" fmla="*/ 0 w 29"/>
                <a:gd name="T19" fmla="*/ 19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9"/>
                <a:gd name="T32" fmla="*/ 29 w 29"/>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9">
                  <a:moveTo>
                    <a:pt x="0" y="19"/>
                  </a:moveTo>
                  <a:lnTo>
                    <a:pt x="0" y="10"/>
                  </a:lnTo>
                  <a:lnTo>
                    <a:pt x="10" y="0"/>
                  </a:lnTo>
                  <a:lnTo>
                    <a:pt x="19" y="0"/>
                  </a:lnTo>
                  <a:lnTo>
                    <a:pt x="29" y="0"/>
                  </a:lnTo>
                  <a:lnTo>
                    <a:pt x="19" y="0"/>
                  </a:lnTo>
                  <a:lnTo>
                    <a:pt x="10" y="10"/>
                  </a:lnTo>
                  <a:lnTo>
                    <a:pt x="0"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82" name="Freeform 59">
              <a:extLst>
                <a:ext uri="{FF2B5EF4-FFF2-40B4-BE49-F238E27FC236}">
                  <a16:creationId xmlns:a16="http://schemas.microsoft.com/office/drawing/2014/main" id="{357D63E9-3EAA-4CF6-8DAA-397DB8040D24}"/>
                </a:ext>
              </a:extLst>
            </p:cNvPr>
            <p:cNvSpPr>
              <a:spLocks/>
            </p:cNvSpPr>
            <p:nvPr/>
          </p:nvSpPr>
          <p:spPr bwMode="gray">
            <a:xfrm>
              <a:off x="4895" y="2156"/>
              <a:ext cx="19" cy="10"/>
            </a:xfrm>
            <a:custGeom>
              <a:avLst/>
              <a:gdLst>
                <a:gd name="T0" fmla="*/ 0 w 19"/>
                <a:gd name="T1" fmla="*/ 10 h 10"/>
                <a:gd name="T2" fmla="*/ 10 w 19"/>
                <a:gd name="T3" fmla="*/ 0 h 10"/>
                <a:gd name="T4" fmla="*/ 19 w 19"/>
                <a:gd name="T5" fmla="*/ 0 h 10"/>
                <a:gd name="T6" fmla="*/ 19 w 19"/>
                <a:gd name="T7" fmla="*/ 0 h 10"/>
                <a:gd name="T8" fmla="*/ 10 w 19"/>
                <a:gd name="T9" fmla="*/ 10 h 10"/>
                <a:gd name="T10" fmla="*/ 0 w 19"/>
                <a:gd name="T11" fmla="*/ 10 h 10"/>
                <a:gd name="T12" fmla="*/ 0 w 19"/>
                <a:gd name="T13" fmla="*/ 1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0" y="10"/>
                  </a:moveTo>
                  <a:lnTo>
                    <a:pt x="10" y="0"/>
                  </a:lnTo>
                  <a:lnTo>
                    <a:pt x="19" y="0"/>
                  </a:lnTo>
                  <a:lnTo>
                    <a:pt x="10" y="1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83" name="Freeform 60">
              <a:extLst>
                <a:ext uri="{FF2B5EF4-FFF2-40B4-BE49-F238E27FC236}">
                  <a16:creationId xmlns:a16="http://schemas.microsoft.com/office/drawing/2014/main" id="{1DD46674-21D2-4AB1-921F-B9F5524AB476}"/>
                </a:ext>
              </a:extLst>
            </p:cNvPr>
            <p:cNvSpPr>
              <a:spLocks/>
            </p:cNvSpPr>
            <p:nvPr/>
          </p:nvSpPr>
          <p:spPr bwMode="gray">
            <a:xfrm>
              <a:off x="4895" y="2156"/>
              <a:ext cx="19" cy="10"/>
            </a:xfrm>
            <a:custGeom>
              <a:avLst/>
              <a:gdLst>
                <a:gd name="T0" fmla="*/ 0 w 19"/>
                <a:gd name="T1" fmla="*/ 10 h 10"/>
                <a:gd name="T2" fmla="*/ 10 w 19"/>
                <a:gd name="T3" fmla="*/ 0 h 10"/>
                <a:gd name="T4" fmla="*/ 19 w 19"/>
                <a:gd name="T5" fmla="*/ 0 h 10"/>
                <a:gd name="T6" fmla="*/ 19 w 19"/>
                <a:gd name="T7" fmla="*/ 0 h 10"/>
                <a:gd name="T8" fmla="*/ 10 w 19"/>
                <a:gd name="T9" fmla="*/ 10 h 10"/>
                <a:gd name="T10" fmla="*/ 0 w 19"/>
                <a:gd name="T11" fmla="*/ 10 h 10"/>
                <a:gd name="T12" fmla="*/ 0 w 19"/>
                <a:gd name="T13" fmla="*/ 1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0" y="10"/>
                  </a:moveTo>
                  <a:lnTo>
                    <a:pt x="10" y="0"/>
                  </a:lnTo>
                  <a:lnTo>
                    <a:pt x="19" y="0"/>
                  </a:lnTo>
                  <a:lnTo>
                    <a:pt x="10" y="1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84" name="Freeform 61">
              <a:extLst>
                <a:ext uri="{FF2B5EF4-FFF2-40B4-BE49-F238E27FC236}">
                  <a16:creationId xmlns:a16="http://schemas.microsoft.com/office/drawing/2014/main" id="{1A456283-E7C2-4433-B9D2-4B10ADD61A6A}"/>
                </a:ext>
              </a:extLst>
            </p:cNvPr>
            <p:cNvSpPr>
              <a:spLocks/>
            </p:cNvSpPr>
            <p:nvPr/>
          </p:nvSpPr>
          <p:spPr bwMode="gray">
            <a:xfrm>
              <a:off x="4924" y="2137"/>
              <a:ext cx="19" cy="10"/>
            </a:xfrm>
            <a:custGeom>
              <a:avLst/>
              <a:gdLst>
                <a:gd name="T0" fmla="*/ 0 w 19"/>
                <a:gd name="T1" fmla="*/ 10 h 10"/>
                <a:gd name="T2" fmla="*/ 10 w 19"/>
                <a:gd name="T3" fmla="*/ 0 h 10"/>
                <a:gd name="T4" fmla="*/ 10 w 19"/>
                <a:gd name="T5" fmla="*/ 0 h 10"/>
                <a:gd name="T6" fmla="*/ 19 w 19"/>
                <a:gd name="T7" fmla="*/ 10 h 10"/>
                <a:gd name="T8" fmla="*/ 10 w 19"/>
                <a:gd name="T9" fmla="*/ 10 h 10"/>
                <a:gd name="T10" fmla="*/ 0 w 19"/>
                <a:gd name="T11" fmla="*/ 10 h 10"/>
                <a:gd name="T12" fmla="*/ 0 w 19"/>
                <a:gd name="T13" fmla="*/ 1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0" y="10"/>
                  </a:moveTo>
                  <a:lnTo>
                    <a:pt x="10" y="0"/>
                  </a:lnTo>
                  <a:lnTo>
                    <a:pt x="19" y="10"/>
                  </a:lnTo>
                  <a:lnTo>
                    <a:pt x="10" y="1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85" name="Freeform 62">
              <a:extLst>
                <a:ext uri="{FF2B5EF4-FFF2-40B4-BE49-F238E27FC236}">
                  <a16:creationId xmlns:a16="http://schemas.microsoft.com/office/drawing/2014/main" id="{5D71004C-3DD3-4960-845C-4F21E419FDDA}"/>
                </a:ext>
              </a:extLst>
            </p:cNvPr>
            <p:cNvSpPr>
              <a:spLocks/>
            </p:cNvSpPr>
            <p:nvPr/>
          </p:nvSpPr>
          <p:spPr bwMode="gray">
            <a:xfrm>
              <a:off x="4924" y="2137"/>
              <a:ext cx="19" cy="10"/>
            </a:xfrm>
            <a:custGeom>
              <a:avLst/>
              <a:gdLst>
                <a:gd name="T0" fmla="*/ 0 w 19"/>
                <a:gd name="T1" fmla="*/ 10 h 10"/>
                <a:gd name="T2" fmla="*/ 10 w 19"/>
                <a:gd name="T3" fmla="*/ 0 h 10"/>
                <a:gd name="T4" fmla="*/ 10 w 19"/>
                <a:gd name="T5" fmla="*/ 0 h 10"/>
                <a:gd name="T6" fmla="*/ 19 w 19"/>
                <a:gd name="T7" fmla="*/ 10 h 10"/>
                <a:gd name="T8" fmla="*/ 10 w 19"/>
                <a:gd name="T9" fmla="*/ 10 h 10"/>
                <a:gd name="T10" fmla="*/ 0 w 19"/>
                <a:gd name="T11" fmla="*/ 10 h 10"/>
                <a:gd name="T12" fmla="*/ 0 w 19"/>
                <a:gd name="T13" fmla="*/ 1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0" y="10"/>
                  </a:moveTo>
                  <a:lnTo>
                    <a:pt x="10" y="0"/>
                  </a:lnTo>
                  <a:lnTo>
                    <a:pt x="19" y="10"/>
                  </a:lnTo>
                  <a:lnTo>
                    <a:pt x="10" y="1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86" name="Freeform 63">
              <a:extLst>
                <a:ext uri="{FF2B5EF4-FFF2-40B4-BE49-F238E27FC236}">
                  <a16:creationId xmlns:a16="http://schemas.microsoft.com/office/drawing/2014/main" id="{2A093685-A9A5-4798-B900-D2727BA49144}"/>
                </a:ext>
              </a:extLst>
            </p:cNvPr>
            <p:cNvSpPr>
              <a:spLocks/>
            </p:cNvSpPr>
            <p:nvPr/>
          </p:nvSpPr>
          <p:spPr bwMode="gray">
            <a:xfrm>
              <a:off x="4981" y="2070"/>
              <a:ext cx="10" cy="10"/>
            </a:xfrm>
            <a:custGeom>
              <a:avLst/>
              <a:gdLst>
                <a:gd name="T0" fmla="*/ 10 w 10"/>
                <a:gd name="T1" fmla="*/ 0 h 10"/>
                <a:gd name="T2" fmla="*/ 10 w 10"/>
                <a:gd name="T3" fmla="*/ 0 h 10"/>
                <a:gd name="T4" fmla="*/ 10 w 10"/>
                <a:gd name="T5" fmla="*/ 10 h 10"/>
                <a:gd name="T6" fmla="*/ 0 w 10"/>
                <a:gd name="T7" fmla="*/ 10 h 10"/>
                <a:gd name="T8" fmla="*/ 0 w 10"/>
                <a:gd name="T9" fmla="*/ 10 h 10"/>
                <a:gd name="T10" fmla="*/ 0 w 10"/>
                <a:gd name="T11" fmla="*/ 0 h 10"/>
                <a:gd name="T12" fmla="*/ 10 w 10"/>
                <a:gd name="T13" fmla="*/ 0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10" y="0"/>
                  </a:moveTo>
                  <a:lnTo>
                    <a:pt x="10" y="0"/>
                  </a:lnTo>
                  <a:lnTo>
                    <a:pt x="10" y="10"/>
                  </a:lnTo>
                  <a:lnTo>
                    <a:pt x="0" y="10"/>
                  </a:lnTo>
                  <a:lnTo>
                    <a:pt x="0" y="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87" name="Freeform 64">
              <a:extLst>
                <a:ext uri="{FF2B5EF4-FFF2-40B4-BE49-F238E27FC236}">
                  <a16:creationId xmlns:a16="http://schemas.microsoft.com/office/drawing/2014/main" id="{73977EAC-251C-4D30-9723-255ED015F170}"/>
                </a:ext>
              </a:extLst>
            </p:cNvPr>
            <p:cNvSpPr>
              <a:spLocks/>
            </p:cNvSpPr>
            <p:nvPr/>
          </p:nvSpPr>
          <p:spPr bwMode="gray">
            <a:xfrm>
              <a:off x="4981" y="2070"/>
              <a:ext cx="10" cy="10"/>
            </a:xfrm>
            <a:custGeom>
              <a:avLst/>
              <a:gdLst>
                <a:gd name="T0" fmla="*/ 10 w 10"/>
                <a:gd name="T1" fmla="*/ 0 h 10"/>
                <a:gd name="T2" fmla="*/ 10 w 10"/>
                <a:gd name="T3" fmla="*/ 0 h 10"/>
                <a:gd name="T4" fmla="*/ 10 w 10"/>
                <a:gd name="T5" fmla="*/ 10 h 10"/>
                <a:gd name="T6" fmla="*/ 0 w 10"/>
                <a:gd name="T7" fmla="*/ 10 h 10"/>
                <a:gd name="T8" fmla="*/ 0 w 10"/>
                <a:gd name="T9" fmla="*/ 10 h 10"/>
                <a:gd name="T10" fmla="*/ 0 w 10"/>
                <a:gd name="T11" fmla="*/ 0 h 10"/>
                <a:gd name="T12" fmla="*/ 10 w 10"/>
                <a:gd name="T13" fmla="*/ 0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10" y="0"/>
                  </a:moveTo>
                  <a:lnTo>
                    <a:pt x="10" y="0"/>
                  </a:lnTo>
                  <a:lnTo>
                    <a:pt x="10" y="10"/>
                  </a:lnTo>
                  <a:lnTo>
                    <a:pt x="0" y="10"/>
                  </a:lnTo>
                  <a:lnTo>
                    <a:pt x="0" y="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88" name="Freeform 65">
              <a:extLst>
                <a:ext uri="{FF2B5EF4-FFF2-40B4-BE49-F238E27FC236}">
                  <a16:creationId xmlns:a16="http://schemas.microsoft.com/office/drawing/2014/main" id="{1EDFA835-44E9-4CE5-AED8-81209676D3D6}"/>
                </a:ext>
              </a:extLst>
            </p:cNvPr>
            <p:cNvSpPr>
              <a:spLocks/>
            </p:cNvSpPr>
            <p:nvPr/>
          </p:nvSpPr>
          <p:spPr bwMode="gray">
            <a:xfrm>
              <a:off x="4295" y="2586"/>
              <a:ext cx="38" cy="28"/>
            </a:xfrm>
            <a:custGeom>
              <a:avLst/>
              <a:gdLst>
                <a:gd name="T0" fmla="*/ 38 w 38"/>
                <a:gd name="T1" fmla="*/ 0 h 28"/>
                <a:gd name="T2" fmla="*/ 29 w 38"/>
                <a:gd name="T3" fmla="*/ 0 h 28"/>
                <a:gd name="T4" fmla="*/ 19 w 38"/>
                <a:gd name="T5" fmla="*/ 0 h 28"/>
                <a:gd name="T6" fmla="*/ 9 w 38"/>
                <a:gd name="T7" fmla="*/ 0 h 28"/>
                <a:gd name="T8" fmla="*/ 9 w 38"/>
                <a:gd name="T9" fmla="*/ 0 h 28"/>
                <a:gd name="T10" fmla="*/ 0 w 38"/>
                <a:gd name="T11" fmla="*/ 9 h 28"/>
                <a:gd name="T12" fmla="*/ 0 w 38"/>
                <a:gd name="T13" fmla="*/ 19 h 28"/>
                <a:gd name="T14" fmla="*/ 9 w 38"/>
                <a:gd name="T15" fmla="*/ 28 h 28"/>
                <a:gd name="T16" fmla="*/ 19 w 38"/>
                <a:gd name="T17" fmla="*/ 28 h 28"/>
                <a:gd name="T18" fmla="*/ 29 w 38"/>
                <a:gd name="T19" fmla="*/ 19 h 28"/>
                <a:gd name="T20" fmla="*/ 29 w 38"/>
                <a:gd name="T21" fmla="*/ 9 h 28"/>
                <a:gd name="T22" fmla="*/ 38 w 38"/>
                <a:gd name="T23" fmla="*/ 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28"/>
                <a:gd name="T38" fmla="*/ 38 w 38"/>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28">
                  <a:moveTo>
                    <a:pt x="38" y="0"/>
                  </a:moveTo>
                  <a:lnTo>
                    <a:pt x="29" y="0"/>
                  </a:lnTo>
                  <a:lnTo>
                    <a:pt x="19" y="0"/>
                  </a:lnTo>
                  <a:lnTo>
                    <a:pt x="9" y="0"/>
                  </a:lnTo>
                  <a:lnTo>
                    <a:pt x="0" y="9"/>
                  </a:lnTo>
                  <a:lnTo>
                    <a:pt x="0" y="19"/>
                  </a:lnTo>
                  <a:lnTo>
                    <a:pt x="9" y="28"/>
                  </a:lnTo>
                  <a:lnTo>
                    <a:pt x="19" y="28"/>
                  </a:lnTo>
                  <a:lnTo>
                    <a:pt x="29" y="19"/>
                  </a:lnTo>
                  <a:lnTo>
                    <a:pt x="29" y="9"/>
                  </a:lnTo>
                  <a:lnTo>
                    <a:pt x="38"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89" name="Freeform 66">
              <a:extLst>
                <a:ext uri="{FF2B5EF4-FFF2-40B4-BE49-F238E27FC236}">
                  <a16:creationId xmlns:a16="http://schemas.microsoft.com/office/drawing/2014/main" id="{767DC39C-C222-4194-80C1-EB536642DA8C}"/>
                </a:ext>
              </a:extLst>
            </p:cNvPr>
            <p:cNvSpPr>
              <a:spLocks/>
            </p:cNvSpPr>
            <p:nvPr/>
          </p:nvSpPr>
          <p:spPr bwMode="gray">
            <a:xfrm>
              <a:off x="4295" y="2586"/>
              <a:ext cx="38" cy="28"/>
            </a:xfrm>
            <a:custGeom>
              <a:avLst/>
              <a:gdLst>
                <a:gd name="T0" fmla="*/ 38 w 38"/>
                <a:gd name="T1" fmla="*/ 0 h 28"/>
                <a:gd name="T2" fmla="*/ 29 w 38"/>
                <a:gd name="T3" fmla="*/ 0 h 28"/>
                <a:gd name="T4" fmla="*/ 19 w 38"/>
                <a:gd name="T5" fmla="*/ 0 h 28"/>
                <a:gd name="T6" fmla="*/ 9 w 38"/>
                <a:gd name="T7" fmla="*/ 0 h 28"/>
                <a:gd name="T8" fmla="*/ 9 w 38"/>
                <a:gd name="T9" fmla="*/ 0 h 28"/>
                <a:gd name="T10" fmla="*/ 0 w 38"/>
                <a:gd name="T11" fmla="*/ 9 h 28"/>
                <a:gd name="T12" fmla="*/ 0 w 38"/>
                <a:gd name="T13" fmla="*/ 19 h 28"/>
                <a:gd name="T14" fmla="*/ 9 w 38"/>
                <a:gd name="T15" fmla="*/ 28 h 28"/>
                <a:gd name="T16" fmla="*/ 19 w 38"/>
                <a:gd name="T17" fmla="*/ 28 h 28"/>
                <a:gd name="T18" fmla="*/ 29 w 38"/>
                <a:gd name="T19" fmla="*/ 19 h 28"/>
                <a:gd name="T20" fmla="*/ 29 w 38"/>
                <a:gd name="T21" fmla="*/ 9 h 28"/>
                <a:gd name="T22" fmla="*/ 38 w 38"/>
                <a:gd name="T23" fmla="*/ 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28"/>
                <a:gd name="T38" fmla="*/ 38 w 38"/>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28">
                  <a:moveTo>
                    <a:pt x="38" y="0"/>
                  </a:moveTo>
                  <a:lnTo>
                    <a:pt x="29" y="0"/>
                  </a:lnTo>
                  <a:lnTo>
                    <a:pt x="19" y="0"/>
                  </a:lnTo>
                  <a:lnTo>
                    <a:pt x="9" y="0"/>
                  </a:lnTo>
                  <a:lnTo>
                    <a:pt x="0" y="9"/>
                  </a:lnTo>
                  <a:lnTo>
                    <a:pt x="0" y="19"/>
                  </a:lnTo>
                  <a:lnTo>
                    <a:pt x="9" y="28"/>
                  </a:lnTo>
                  <a:lnTo>
                    <a:pt x="19" y="28"/>
                  </a:lnTo>
                  <a:lnTo>
                    <a:pt x="29" y="19"/>
                  </a:lnTo>
                  <a:lnTo>
                    <a:pt x="29" y="9"/>
                  </a:lnTo>
                  <a:lnTo>
                    <a:pt x="38"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90" name="Freeform 67">
              <a:extLst>
                <a:ext uri="{FF2B5EF4-FFF2-40B4-BE49-F238E27FC236}">
                  <a16:creationId xmlns:a16="http://schemas.microsoft.com/office/drawing/2014/main" id="{EA5647AD-894B-4D20-BBB9-054E022373A3}"/>
                </a:ext>
              </a:extLst>
            </p:cNvPr>
            <p:cNvSpPr>
              <a:spLocks/>
            </p:cNvSpPr>
            <p:nvPr/>
          </p:nvSpPr>
          <p:spPr bwMode="gray">
            <a:xfrm>
              <a:off x="4095" y="2786"/>
              <a:ext cx="152" cy="153"/>
            </a:xfrm>
            <a:custGeom>
              <a:avLst/>
              <a:gdLst>
                <a:gd name="T0" fmla="*/ 0 w 152"/>
                <a:gd name="T1" fmla="*/ 0 h 153"/>
                <a:gd name="T2" fmla="*/ 9 w 152"/>
                <a:gd name="T3" fmla="*/ 10 h 153"/>
                <a:gd name="T4" fmla="*/ 28 w 152"/>
                <a:gd name="T5" fmla="*/ 10 h 153"/>
                <a:gd name="T6" fmla="*/ 38 w 152"/>
                <a:gd name="T7" fmla="*/ 10 h 153"/>
                <a:gd name="T8" fmla="*/ 38 w 152"/>
                <a:gd name="T9" fmla="*/ 19 h 153"/>
                <a:gd name="T10" fmla="*/ 47 w 152"/>
                <a:gd name="T11" fmla="*/ 19 h 153"/>
                <a:gd name="T12" fmla="*/ 47 w 152"/>
                <a:gd name="T13" fmla="*/ 19 h 153"/>
                <a:gd name="T14" fmla="*/ 57 w 152"/>
                <a:gd name="T15" fmla="*/ 29 h 153"/>
                <a:gd name="T16" fmla="*/ 66 w 152"/>
                <a:gd name="T17" fmla="*/ 38 h 153"/>
                <a:gd name="T18" fmla="*/ 76 w 152"/>
                <a:gd name="T19" fmla="*/ 48 h 153"/>
                <a:gd name="T20" fmla="*/ 86 w 152"/>
                <a:gd name="T21" fmla="*/ 48 h 153"/>
                <a:gd name="T22" fmla="*/ 95 w 152"/>
                <a:gd name="T23" fmla="*/ 57 h 153"/>
                <a:gd name="T24" fmla="*/ 105 w 152"/>
                <a:gd name="T25" fmla="*/ 67 h 153"/>
                <a:gd name="T26" fmla="*/ 114 w 152"/>
                <a:gd name="T27" fmla="*/ 76 h 153"/>
                <a:gd name="T28" fmla="*/ 124 w 152"/>
                <a:gd name="T29" fmla="*/ 76 h 153"/>
                <a:gd name="T30" fmla="*/ 124 w 152"/>
                <a:gd name="T31" fmla="*/ 76 h 153"/>
                <a:gd name="T32" fmla="*/ 124 w 152"/>
                <a:gd name="T33" fmla="*/ 86 h 153"/>
                <a:gd name="T34" fmla="*/ 133 w 152"/>
                <a:gd name="T35" fmla="*/ 95 h 153"/>
                <a:gd name="T36" fmla="*/ 143 w 152"/>
                <a:gd name="T37" fmla="*/ 105 h 153"/>
                <a:gd name="T38" fmla="*/ 143 w 152"/>
                <a:gd name="T39" fmla="*/ 105 h 153"/>
                <a:gd name="T40" fmla="*/ 152 w 152"/>
                <a:gd name="T41" fmla="*/ 115 h 153"/>
                <a:gd name="T42" fmla="*/ 152 w 152"/>
                <a:gd name="T43" fmla="*/ 153 h 153"/>
                <a:gd name="T44" fmla="*/ 152 w 152"/>
                <a:gd name="T45" fmla="*/ 153 h 153"/>
                <a:gd name="T46" fmla="*/ 133 w 152"/>
                <a:gd name="T47" fmla="*/ 143 h 153"/>
                <a:gd name="T48" fmla="*/ 124 w 152"/>
                <a:gd name="T49" fmla="*/ 143 h 153"/>
                <a:gd name="T50" fmla="*/ 95 w 152"/>
                <a:gd name="T51" fmla="*/ 124 h 153"/>
                <a:gd name="T52" fmla="*/ 86 w 152"/>
                <a:gd name="T53" fmla="*/ 105 h 153"/>
                <a:gd name="T54" fmla="*/ 76 w 152"/>
                <a:gd name="T55" fmla="*/ 95 h 153"/>
                <a:gd name="T56" fmla="*/ 66 w 152"/>
                <a:gd name="T57" fmla="*/ 76 h 153"/>
                <a:gd name="T58" fmla="*/ 57 w 152"/>
                <a:gd name="T59" fmla="*/ 76 h 153"/>
                <a:gd name="T60" fmla="*/ 47 w 152"/>
                <a:gd name="T61" fmla="*/ 57 h 153"/>
                <a:gd name="T62" fmla="*/ 47 w 152"/>
                <a:gd name="T63" fmla="*/ 48 h 153"/>
                <a:gd name="T64" fmla="*/ 38 w 152"/>
                <a:gd name="T65" fmla="*/ 38 h 153"/>
                <a:gd name="T66" fmla="*/ 28 w 152"/>
                <a:gd name="T67" fmla="*/ 38 h 153"/>
                <a:gd name="T68" fmla="*/ 19 w 152"/>
                <a:gd name="T69" fmla="*/ 29 h 153"/>
                <a:gd name="T70" fmla="*/ 19 w 152"/>
                <a:gd name="T71" fmla="*/ 29 h 153"/>
                <a:gd name="T72" fmla="*/ 0 w 152"/>
                <a:gd name="T73" fmla="*/ 10 h 153"/>
                <a:gd name="T74" fmla="*/ 0 w 1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2"/>
                <a:gd name="T115" fmla="*/ 0 h 153"/>
                <a:gd name="T116" fmla="*/ 152 w 1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2" h="153">
                  <a:moveTo>
                    <a:pt x="0" y="0"/>
                  </a:moveTo>
                  <a:lnTo>
                    <a:pt x="9" y="10"/>
                  </a:lnTo>
                  <a:lnTo>
                    <a:pt x="28" y="10"/>
                  </a:lnTo>
                  <a:lnTo>
                    <a:pt x="38" y="10"/>
                  </a:lnTo>
                  <a:lnTo>
                    <a:pt x="38" y="19"/>
                  </a:lnTo>
                  <a:lnTo>
                    <a:pt x="47" y="19"/>
                  </a:lnTo>
                  <a:lnTo>
                    <a:pt x="57" y="29"/>
                  </a:lnTo>
                  <a:lnTo>
                    <a:pt x="66" y="38"/>
                  </a:lnTo>
                  <a:lnTo>
                    <a:pt x="76" y="48"/>
                  </a:lnTo>
                  <a:lnTo>
                    <a:pt x="86" y="48"/>
                  </a:lnTo>
                  <a:lnTo>
                    <a:pt x="95" y="57"/>
                  </a:lnTo>
                  <a:lnTo>
                    <a:pt x="105" y="67"/>
                  </a:lnTo>
                  <a:lnTo>
                    <a:pt x="114" y="76"/>
                  </a:lnTo>
                  <a:lnTo>
                    <a:pt x="124" y="76"/>
                  </a:lnTo>
                  <a:lnTo>
                    <a:pt x="124" y="86"/>
                  </a:lnTo>
                  <a:lnTo>
                    <a:pt x="133" y="95"/>
                  </a:lnTo>
                  <a:lnTo>
                    <a:pt x="143" y="105"/>
                  </a:lnTo>
                  <a:lnTo>
                    <a:pt x="152" y="115"/>
                  </a:lnTo>
                  <a:lnTo>
                    <a:pt x="152" y="153"/>
                  </a:lnTo>
                  <a:lnTo>
                    <a:pt x="133" y="143"/>
                  </a:lnTo>
                  <a:lnTo>
                    <a:pt x="124" y="143"/>
                  </a:lnTo>
                  <a:lnTo>
                    <a:pt x="95" y="124"/>
                  </a:lnTo>
                  <a:lnTo>
                    <a:pt x="86" y="105"/>
                  </a:lnTo>
                  <a:lnTo>
                    <a:pt x="76" y="95"/>
                  </a:lnTo>
                  <a:lnTo>
                    <a:pt x="66" y="76"/>
                  </a:lnTo>
                  <a:lnTo>
                    <a:pt x="57" y="76"/>
                  </a:lnTo>
                  <a:lnTo>
                    <a:pt x="47" y="57"/>
                  </a:lnTo>
                  <a:lnTo>
                    <a:pt x="47" y="48"/>
                  </a:lnTo>
                  <a:lnTo>
                    <a:pt x="38" y="38"/>
                  </a:lnTo>
                  <a:lnTo>
                    <a:pt x="28" y="38"/>
                  </a:lnTo>
                  <a:lnTo>
                    <a:pt x="19" y="29"/>
                  </a:lnTo>
                  <a:lnTo>
                    <a:pt x="0"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91" name="Freeform 68">
              <a:extLst>
                <a:ext uri="{FF2B5EF4-FFF2-40B4-BE49-F238E27FC236}">
                  <a16:creationId xmlns:a16="http://schemas.microsoft.com/office/drawing/2014/main" id="{42DD857B-FFE5-42BC-B062-07E0CEAD4B0A}"/>
                </a:ext>
              </a:extLst>
            </p:cNvPr>
            <p:cNvSpPr>
              <a:spLocks/>
            </p:cNvSpPr>
            <p:nvPr/>
          </p:nvSpPr>
          <p:spPr bwMode="gray">
            <a:xfrm>
              <a:off x="4095" y="2786"/>
              <a:ext cx="152" cy="153"/>
            </a:xfrm>
            <a:custGeom>
              <a:avLst/>
              <a:gdLst>
                <a:gd name="T0" fmla="*/ 0 w 152"/>
                <a:gd name="T1" fmla="*/ 0 h 153"/>
                <a:gd name="T2" fmla="*/ 9 w 152"/>
                <a:gd name="T3" fmla="*/ 10 h 153"/>
                <a:gd name="T4" fmla="*/ 28 w 152"/>
                <a:gd name="T5" fmla="*/ 10 h 153"/>
                <a:gd name="T6" fmla="*/ 38 w 152"/>
                <a:gd name="T7" fmla="*/ 10 h 153"/>
                <a:gd name="T8" fmla="*/ 38 w 152"/>
                <a:gd name="T9" fmla="*/ 19 h 153"/>
                <a:gd name="T10" fmla="*/ 47 w 152"/>
                <a:gd name="T11" fmla="*/ 19 h 153"/>
                <a:gd name="T12" fmla="*/ 47 w 152"/>
                <a:gd name="T13" fmla="*/ 19 h 153"/>
                <a:gd name="T14" fmla="*/ 57 w 152"/>
                <a:gd name="T15" fmla="*/ 29 h 153"/>
                <a:gd name="T16" fmla="*/ 66 w 152"/>
                <a:gd name="T17" fmla="*/ 38 h 153"/>
                <a:gd name="T18" fmla="*/ 76 w 152"/>
                <a:gd name="T19" fmla="*/ 48 h 153"/>
                <a:gd name="T20" fmla="*/ 86 w 152"/>
                <a:gd name="T21" fmla="*/ 48 h 153"/>
                <a:gd name="T22" fmla="*/ 95 w 152"/>
                <a:gd name="T23" fmla="*/ 57 h 153"/>
                <a:gd name="T24" fmla="*/ 105 w 152"/>
                <a:gd name="T25" fmla="*/ 67 h 153"/>
                <a:gd name="T26" fmla="*/ 114 w 152"/>
                <a:gd name="T27" fmla="*/ 76 h 153"/>
                <a:gd name="T28" fmla="*/ 124 w 152"/>
                <a:gd name="T29" fmla="*/ 76 h 153"/>
                <a:gd name="T30" fmla="*/ 124 w 152"/>
                <a:gd name="T31" fmla="*/ 76 h 153"/>
                <a:gd name="T32" fmla="*/ 124 w 152"/>
                <a:gd name="T33" fmla="*/ 86 h 153"/>
                <a:gd name="T34" fmla="*/ 133 w 152"/>
                <a:gd name="T35" fmla="*/ 95 h 153"/>
                <a:gd name="T36" fmla="*/ 143 w 152"/>
                <a:gd name="T37" fmla="*/ 105 h 153"/>
                <a:gd name="T38" fmla="*/ 143 w 152"/>
                <a:gd name="T39" fmla="*/ 105 h 153"/>
                <a:gd name="T40" fmla="*/ 152 w 152"/>
                <a:gd name="T41" fmla="*/ 115 h 153"/>
                <a:gd name="T42" fmla="*/ 152 w 152"/>
                <a:gd name="T43" fmla="*/ 153 h 153"/>
                <a:gd name="T44" fmla="*/ 152 w 152"/>
                <a:gd name="T45" fmla="*/ 153 h 153"/>
                <a:gd name="T46" fmla="*/ 133 w 152"/>
                <a:gd name="T47" fmla="*/ 143 h 153"/>
                <a:gd name="T48" fmla="*/ 124 w 152"/>
                <a:gd name="T49" fmla="*/ 143 h 153"/>
                <a:gd name="T50" fmla="*/ 95 w 152"/>
                <a:gd name="T51" fmla="*/ 124 h 153"/>
                <a:gd name="T52" fmla="*/ 86 w 152"/>
                <a:gd name="T53" fmla="*/ 105 h 153"/>
                <a:gd name="T54" fmla="*/ 76 w 152"/>
                <a:gd name="T55" fmla="*/ 95 h 153"/>
                <a:gd name="T56" fmla="*/ 66 w 152"/>
                <a:gd name="T57" fmla="*/ 76 h 153"/>
                <a:gd name="T58" fmla="*/ 57 w 152"/>
                <a:gd name="T59" fmla="*/ 76 h 153"/>
                <a:gd name="T60" fmla="*/ 47 w 152"/>
                <a:gd name="T61" fmla="*/ 57 h 153"/>
                <a:gd name="T62" fmla="*/ 47 w 152"/>
                <a:gd name="T63" fmla="*/ 48 h 153"/>
                <a:gd name="T64" fmla="*/ 38 w 152"/>
                <a:gd name="T65" fmla="*/ 38 h 153"/>
                <a:gd name="T66" fmla="*/ 28 w 152"/>
                <a:gd name="T67" fmla="*/ 38 h 153"/>
                <a:gd name="T68" fmla="*/ 19 w 152"/>
                <a:gd name="T69" fmla="*/ 29 h 153"/>
                <a:gd name="T70" fmla="*/ 19 w 152"/>
                <a:gd name="T71" fmla="*/ 29 h 153"/>
                <a:gd name="T72" fmla="*/ 0 w 152"/>
                <a:gd name="T73" fmla="*/ 10 h 153"/>
                <a:gd name="T74" fmla="*/ 0 w 152"/>
                <a:gd name="T75" fmla="*/ 0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2"/>
                <a:gd name="T115" fmla="*/ 0 h 153"/>
                <a:gd name="T116" fmla="*/ 152 w 1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2" h="153">
                  <a:moveTo>
                    <a:pt x="0" y="0"/>
                  </a:moveTo>
                  <a:lnTo>
                    <a:pt x="9" y="10"/>
                  </a:lnTo>
                  <a:lnTo>
                    <a:pt x="28" y="10"/>
                  </a:lnTo>
                  <a:lnTo>
                    <a:pt x="38" y="10"/>
                  </a:lnTo>
                  <a:lnTo>
                    <a:pt x="38" y="19"/>
                  </a:lnTo>
                  <a:lnTo>
                    <a:pt x="47" y="19"/>
                  </a:lnTo>
                  <a:lnTo>
                    <a:pt x="57" y="29"/>
                  </a:lnTo>
                  <a:lnTo>
                    <a:pt x="66" y="38"/>
                  </a:lnTo>
                  <a:lnTo>
                    <a:pt x="76" y="48"/>
                  </a:lnTo>
                  <a:lnTo>
                    <a:pt x="86" y="48"/>
                  </a:lnTo>
                  <a:lnTo>
                    <a:pt x="95" y="57"/>
                  </a:lnTo>
                  <a:lnTo>
                    <a:pt x="105" y="67"/>
                  </a:lnTo>
                  <a:lnTo>
                    <a:pt x="114" y="76"/>
                  </a:lnTo>
                  <a:lnTo>
                    <a:pt x="124" y="76"/>
                  </a:lnTo>
                  <a:lnTo>
                    <a:pt x="124" y="86"/>
                  </a:lnTo>
                  <a:lnTo>
                    <a:pt x="133" y="95"/>
                  </a:lnTo>
                  <a:lnTo>
                    <a:pt x="143" y="105"/>
                  </a:lnTo>
                  <a:lnTo>
                    <a:pt x="152" y="115"/>
                  </a:lnTo>
                  <a:lnTo>
                    <a:pt x="152" y="153"/>
                  </a:lnTo>
                  <a:lnTo>
                    <a:pt x="133" y="143"/>
                  </a:lnTo>
                  <a:lnTo>
                    <a:pt x="124" y="143"/>
                  </a:lnTo>
                  <a:lnTo>
                    <a:pt x="95" y="124"/>
                  </a:lnTo>
                  <a:lnTo>
                    <a:pt x="86" y="105"/>
                  </a:lnTo>
                  <a:lnTo>
                    <a:pt x="76" y="95"/>
                  </a:lnTo>
                  <a:lnTo>
                    <a:pt x="66" y="76"/>
                  </a:lnTo>
                  <a:lnTo>
                    <a:pt x="57" y="76"/>
                  </a:lnTo>
                  <a:lnTo>
                    <a:pt x="47" y="57"/>
                  </a:lnTo>
                  <a:lnTo>
                    <a:pt x="47" y="48"/>
                  </a:lnTo>
                  <a:lnTo>
                    <a:pt x="38" y="38"/>
                  </a:lnTo>
                  <a:lnTo>
                    <a:pt x="28" y="38"/>
                  </a:lnTo>
                  <a:lnTo>
                    <a:pt x="19" y="29"/>
                  </a:lnTo>
                  <a:lnTo>
                    <a:pt x="0"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92" name="Freeform 69">
              <a:extLst>
                <a:ext uri="{FF2B5EF4-FFF2-40B4-BE49-F238E27FC236}">
                  <a16:creationId xmlns:a16="http://schemas.microsoft.com/office/drawing/2014/main" id="{78E15EC9-4D58-41AC-A792-600D475FC5B2}"/>
                </a:ext>
              </a:extLst>
            </p:cNvPr>
            <p:cNvSpPr>
              <a:spLocks/>
            </p:cNvSpPr>
            <p:nvPr/>
          </p:nvSpPr>
          <p:spPr bwMode="gray">
            <a:xfrm>
              <a:off x="4247" y="2939"/>
              <a:ext cx="134" cy="38"/>
            </a:xfrm>
            <a:custGeom>
              <a:avLst/>
              <a:gdLst>
                <a:gd name="T0" fmla="*/ 134 w 134"/>
                <a:gd name="T1" fmla="*/ 28 h 38"/>
                <a:gd name="T2" fmla="*/ 124 w 134"/>
                <a:gd name="T3" fmla="*/ 28 h 38"/>
                <a:gd name="T4" fmla="*/ 115 w 134"/>
                <a:gd name="T5" fmla="*/ 28 h 38"/>
                <a:gd name="T6" fmla="*/ 105 w 134"/>
                <a:gd name="T7" fmla="*/ 19 h 38"/>
                <a:gd name="T8" fmla="*/ 105 w 134"/>
                <a:gd name="T9" fmla="*/ 19 h 38"/>
                <a:gd name="T10" fmla="*/ 77 w 134"/>
                <a:gd name="T11" fmla="*/ 9 h 38"/>
                <a:gd name="T12" fmla="*/ 77 w 134"/>
                <a:gd name="T13" fmla="*/ 9 h 38"/>
                <a:gd name="T14" fmla="*/ 77 w 134"/>
                <a:gd name="T15" fmla="*/ 19 h 38"/>
                <a:gd name="T16" fmla="*/ 48 w 134"/>
                <a:gd name="T17" fmla="*/ 9 h 38"/>
                <a:gd name="T18" fmla="*/ 38 w 134"/>
                <a:gd name="T19" fmla="*/ 9 h 38"/>
                <a:gd name="T20" fmla="*/ 29 w 134"/>
                <a:gd name="T21" fmla="*/ 9 h 38"/>
                <a:gd name="T22" fmla="*/ 29 w 134"/>
                <a:gd name="T23" fmla="*/ 9 h 38"/>
                <a:gd name="T24" fmla="*/ 10 w 134"/>
                <a:gd name="T25" fmla="*/ 0 h 38"/>
                <a:gd name="T26" fmla="*/ 0 w 134"/>
                <a:gd name="T27" fmla="*/ 9 h 38"/>
                <a:gd name="T28" fmla="*/ 10 w 134"/>
                <a:gd name="T29" fmla="*/ 19 h 38"/>
                <a:gd name="T30" fmla="*/ 38 w 134"/>
                <a:gd name="T31" fmla="*/ 28 h 38"/>
                <a:gd name="T32" fmla="*/ 38 w 134"/>
                <a:gd name="T33" fmla="*/ 28 h 38"/>
                <a:gd name="T34" fmla="*/ 57 w 134"/>
                <a:gd name="T35" fmla="*/ 28 h 38"/>
                <a:gd name="T36" fmla="*/ 77 w 134"/>
                <a:gd name="T37" fmla="*/ 28 h 38"/>
                <a:gd name="T38" fmla="*/ 105 w 134"/>
                <a:gd name="T39" fmla="*/ 28 h 38"/>
                <a:gd name="T40" fmla="*/ 115 w 134"/>
                <a:gd name="T41" fmla="*/ 38 h 38"/>
                <a:gd name="T42" fmla="*/ 134 w 134"/>
                <a:gd name="T43" fmla="*/ 38 h 38"/>
                <a:gd name="T44" fmla="*/ 134 w 134"/>
                <a:gd name="T45" fmla="*/ 28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4"/>
                <a:gd name="T70" fmla="*/ 0 h 38"/>
                <a:gd name="T71" fmla="*/ 134 w 1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4" h="38">
                  <a:moveTo>
                    <a:pt x="134" y="28"/>
                  </a:moveTo>
                  <a:lnTo>
                    <a:pt x="124" y="28"/>
                  </a:lnTo>
                  <a:lnTo>
                    <a:pt x="115" y="28"/>
                  </a:lnTo>
                  <a:lnTo>
                    <a:pt x="105" y="19"/>
                  </a:lnTo>
                  <a:lnTo>
                    <a:pt x="77" y="9"/>
                  </a:lnTo>
                  <a:lnTo>
                    <a:pt x="77" y="19"/>
                  </a:lnTo>
                  <a:lnTo>
                    <a:pt x="48" y="9"/>
                  </a:lnTo>
                  <a:lnTo>
                    <a:pt x="38" y="9"/>
                  </a:lnTo>
                  <a:lnTo>
                    <a:pt x="29" y="9"/>
                  </a:lnTo>
                  <a:lnTo>
                    <a:pt x="10" y="0"/>
                  </a:lnTo>
                  <a:lnTo>
                    <a:pt x="0" y="9"/>
                  </a:lnTo>
                  <a:lnTo>
                    <a:pt x="10" y="19"/>
                  </a:lnTo>
                  <a:lnTo>
                    <a:pt x="38" y="28"/>
                  </a:lnTo>
                  <a:lnTo>
                    <a:pt x="57" y="28"/>
                  </a:lnTo>
                  <a:lnTo>
                    <a:pt x="77" y="28"/>
                  </a:lnTo>
                  <a:lnTo>
                    <a:pt x="105" y="28"/>
                  </a:lnTo>
                  <a:lnTo>
                    <a:pt x="115" y="38"/>
                  </a:lnTo>
                  <a:lnTo>
                    <a:pt x="134" y="38"/>
                  </a:lnTo>
                  <a:lnTo>
                    <a:pt x="134" y="2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93" name="Freeform 70">
              <a:extLst>
                <a:ext uri="{FF2B5EF4-FFF2-40B4-BE49-F238E27FC236}">
                  <a16:creationId xmlns:a16="http://schemas.microsoft.com/office/drawing/2014/main" id="{A58608B8-DBCA-4FDC-94EF-E0A9FC6E5EED}"/>
                </a:ext>
              </a:extLst>
            </p:cNvPr>
            <p:cNvSpPr>
              <a:spLocks/>
            </p:cNvSpPr>
            <p:nvPr/>
          </p:nvSpPr>
          <p:spPr bwMode="gray">
            <a:xfrm>
              <a:off x="4247" y="2939"/>
              <a:ext cx="134" cy="38"/>
            </a:xfrm>
            <a:custGeom>
              <a:avLst/>
              <a:gdLst>
                <a:gd name="T0" fmla="*/ 134 w 134"/>
                <a:gd name="T1" fmla="*/ 28 h 38"/>
                <a:gd name="T2" fmla="*/ 124 w 134"/>
                <a:gd name="T3" fmla="*/ 28 h 38"/>
                <a:gd name="T4" fmla="*/ 115 w 134"/>
                <a:gd name="T5" fmla="*/ 28 h 38"/>
                <a:gd name="T6" fmla="*/ 105 w 134"/>
                <a:gd name="T7" fmla="*/ 19 h 38"/>
                <a:gd name="T8" fmla="*/ 105 w 134"/>
                <a:gd name="T9" fmla="*/ 19 h 38"/>
                <a:gd name="T10" fmla="*/ 77 w 134"/>
                <a:gd name="T11" fmla="*/ 9 h 38"/>
                <a:gd name="T12" fmla="*/ 77 w 134"/>
                <a:gd name="T13" fmla="*/ 9 h 38"/>
                <a:gd name="T14" fmla="*/ 77 w 134"/>
                <a:gd name="T15" fmla="*/ 19 h 38"/>
                <a:gd name="T16" fmla="*/ 48 w 134"/>
                <a:gd name="T17" fmla="*/ 9 h 38"/>
                <a:gd name="T18" fmla="*/ 38 w 134"/>
                <a:gd name="T19" fmla="*/ 9 h 38"/>
                <a:gd name="T20" fmla="*/ 29 w 134"/>
                <a:gd name="T21" fmla="*/ 9 h 38"/>
                <a:gd name="T22" fmla="*/ 29 w 134"/>
                <a:gd name="T23" fmla="*/ 9 h 38"/>
                <a:gd name="T24" fmla="*/ 10 w 134"/>
                <a:gd name="T25" fmla="*/ 0 h 38"/>
                <a:gd name="T26" fmla="*/ 0 w 134"/>
                <a:gd name="T27" fmla="*/ 9 h 38"/>
                <a:gd name="T28" fmla="*/ 10 w 134"/>
                <a:gd name="T29" fmla="*/ 19 h 38"/>
                <a:gd name="T30" fmla="*/ 38 w 134"/>
                <a:gd name="T31" fmla="*/ 28 h 38"/>
                <a:gd name="T32" fmla="*/ 38 w 134"/>
                <a:gd name="T33" fmla="*/ 28 h 38"/>
                <a:gd name="T34" fmla="*/ 57 w 134"/>
                <a:gd name="T35" fmla="*/ 28 h 38"/>
                <a:gd name="T36" fmla="*/ 77 w 134"/>
                <a:gd name="T37" fmla="*/ 28 h 38"/>
                <a:gd name="T38" fmla="*/ 105 w 134"/>
                <a:gd name="T39" fmla="*/ 28 h 38"/>
                <a:gd name="T40" fmla="*/ 115 w 134"/>
                <a:gd name="T41" fmla="*/ 38 h 38"/>
                <a:gd name="T42" fmla="*/ 134 w 134"/>
                <a:gd name="T43" fmla="*/ 38 h 38"/>
                <a:gd name="T44" fmla="*/ 134 w 134"/>
                <a:gd name="T45" fmla="*/ 28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4"/>
                <a:gd name="T70" fmla="*/ 0 h 38"/>
                <a:gd name="T71" fmla="*/ 134 w 1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4" h="38">
                  <a:moveTo>
                    <a:pt x="134" y="28"/>
                  </a:moveTo>
                  <a:lnTo>
                    <a:pt x="124" y="28"/>
                  </a:lnTo>
                  <a:lnTo>
                    <a:pt x="115" y="28"/>
                  </a:lnTo>
                  <a:lnTo>
                    <a:pt x="105" y="19"/>
                  </a:lnTo>
                  <a:lnTo>
                    <a:pt x="77" y="9"/>
                  </a:lnTo>
                  <a:lnTo>
                    <a:pt x="77" y="19"/>
                  </a:lnTo>
                  <a:lnTo>
                    <a:pt x="48" y="9"/>
                  </a:lnTo>
                  <a:lnTo>
                    <a:pt x="38" y="9"/>
                  </a:lnTo>
                  <a:lnTo>
                    <a:pt x="29" y="9"/>
                  </a:lnTo>
                  <a:lnTo>
                    <a:pt x="10" y="0"/>
                  </a:lnTo>
                  <a:lnTo>
                    <a:pt x="0" y="9"/>
                  </a:lnTo>
                  <a:lnTo>
                    <a:pt x="10" y="19"/>
                  </a:lnTo>
                  <a:lnTo>
                    <a:pt x="38" y="28"/>
                  </a:lnTo>
                  <a:lnTo>
                    <a:pt x="57" y="28"/>
                  </a:lnTo>
                  <a:lnTo>
                    <a:pt x="77" y="28"/>
                  </a:lnTo>
                  <a:lnTo>
                    <a:pt x="105" y="28"/>
                  </a:lnTo>
                  <a:lnTo>
                    <a:pt x="115" y="38"/>
                  </a:lnTo>
                  <a:lnTo>
                    <a:pt x="134" y="38"/>
                  </a:lnTo>
                  <a:lnTo>
                    <a:pt x="134" y="2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94" name="Freeform 71">
              <a:extLst>
                <a:ext uri="{FF2B5EF4-FFF2-40B4-BE49-F238E27FC236}">
                  <a16:creationId xmlns:a16="http://schemas.microsoft.com/office/drawing/2014/main" id="{45FF923B-1861-4705-B386-B9C22C0B8971}"/>
                </a:ext>
              </a:extLst>
            </p:cNvPr>
            <p:cNvSpPr>
              <a:spLocks/>
            </p:cNvSpPr>
            <p:nvPr/>
          </p:nvSpPr>
          <p:spPr bwMode="gray">
            <a:xfrm>
              <a:off x="4381" y="2967"/>
              <a:ext cx="9" cy="10"/>
            </a:xfrm>
            <a:custGeom>
              <a:avLst/>
              <a:gdLst>
                <a:gd name="T0" fmla="*/ 0 w 9"/>
                <a:gd name="T1" fmla="*/ 0 h 10"/>
                <a:gd name="T2" fmla="*/ 0 w 9"/>
                <a:gd name="T3" fmla="*/ 10 h 10"/>
                <a:gd name="T4" fmla="*/ 9 w 9"/>
                <a:gd name="T5" fmla="*/ 10 h 10"/>
                <a:gd name="T6" fmla="*/ 9 w 9"/>
                <a:gd name="T7" fmla="*/ 10 h 10"/>
                <a:gd name="T8" fmla="*/ 9 w 9"/>
                <a:gd name="T9" fmla="*/ 0 h 10"/>
                <a:gd name="T10" fmla="*/ 0 w 9"/>
                <a:gd name="T11" fmla="*/ 0 h 10"/>
                <a:gd name="T12" fmla="*/ 0 60000 65536"/>
                <a:gd name="T13" fmla="*/ 0 60000 65536"/>
                <a:gd name="T14" fmla="*/ 0 60000 65536"/>
                <a:gd name="T15" fmla="*/ 0 60000 65536"/>
                <a:gd name="T16" fmla="*/ 0 60000 65536"/>
                <a:gd name="T17" fmla="*/ 0 60000 65536"/>
                <a:gd name="T18" fmla="*/ 0 w 9"/>
                <a:gd name="T19" fmla="*/ 0 h 10"/>
                <a:gd name="T20" fmla="*/ 9 w 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9" h="10">
                  <a:moveTo>
                    <a:pt x="0" y="0"/>
                  </a:moveTo>
                  <a:lnTo>
                    <a:pt x="0" y="10"/>
                  </a:lnTo>
                  <a:lnTo>
                    <a:pt x="9" y="10"/>
                  </a:lnTo>
                  <a:lnTo>
                    <a:pt x="9"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95" name="Freeform 72">
              <a:extLst>
                <a:ext uri="{FF2B5EF4-FFF2-40B4-BE49-F238E27FC236}">
                  <a16:creationId xmlns:a16="http://schemas.microsoft.com/office/drawing/2014/main" id="{C8A4D5C0-5704-45A1-8829-82D2931B9617}"/>
                </a:ext>
              </a:extLst>
            </p:cNvPr>
            <p:cNvSpPr>
              <a:spLocks/>
            </p:cNvSpPr>
            <p:nvPr/>
          </p:nvSpPr>
          <p:spPr bwMode="gray">
            <a:xfrm>
              <a:off x="4381" y="2967"/>
              <a:ext cx="9" cy="10"/>
            </a:xfrm>
            <a:custGeom>
              <a:avLst/>
              <a:gdLst>
                <a:gd name="T0" fmla="*/ 0 w 9"/>
                <a:gd name="T1" fmla="*/ 0 h 10"/>
                <a:gd name="T2" fmla="*/ 0 w 9"/>
                <a:gd name="T3" fmla="*/ 10 h 10"/>
                <a:gd name="T4" fmla="*/ 9 w 9"/>
                <a:gd name="T5" fmla="*/ 10 h 10"/>
                <a:gd name="T6" fmla="*/ 9 w 9"/>
                <a:gd name="T7" fmla="*/ 10 h 10"/>
                <a:gd name="T8" fmla="*/ 9 w 9"/>
                <a:gd name="T9" fmla="*/ 0 h 10"/>
                <a:gd name="T10" fmla="*/ 0 w 9"/>
                <a:gd name="T11" fmla="*/ 0 h 10"/>
                <a:gd name="T12" fmla="*/ 0 60000 65536"/>
                <a:gd name="T13" fmla="*/ 0 60000 65536"/>
                <a:gd name="T14" fmla="*/ 0 60000 65536"/>
                <a:gd name="T15" fmla="*/ 0 60000 65536"/>
                <a:gd name="T16" fmla="*/ 0 60000 65536"/>
                <a:gd name="T17" fmla="*/ 0 60000 65536"/>
                <a:gd name="T18" fmla="*/ 0 w 9"/>
                <a:gd name="T19" fmla="*/ 0 h 10"/>
                <a:gd name="T20" fmla="*/ 9 w 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9" h="10">
                  <a:moveTo>
                    <a:pt x="0" y="0"/>
                  </a:moveTo>
                  <a:lnTo>
                    <a:pt x="0" y="10"/>
                  </a:lnTo>
                  <a:lnTo>
                    <a:pt x="9" y="10"/>
                  </a:lnTo>
                  <a:lnTo>
                    <a:pt x="9"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96" name="Freeform 73">
              <a:extLst>
                <a:ext uri="{FF2B5EF4-FFF2-40B4-BE49-F238E27FC236}">
                  <a16:creationId xmlns:a16="http://schemas.microsoft.com/office/drawing/2014/main" id="{0F6EC953-7205-47CF-B3C6-1DA8DE5BD218}"/>
                </a:ext>
              </a:extLst>
            </p:cNvPr>
            <p:cNvSpPr>
              <a:spLocks/>
            </p:cNvSpPr>
            <p:nvPr/>
          </p:nvSpPr>
          <p:spPr bwMode="gray">
            <a:xfrm>
              <a:off x="4400" y="2977"/>
              <a:ext cx="47" cy="9"/>
            </a:xfrm>
            <a:custGeom>
              <a:avLst/>
              <a:gdLst>
                <a:gd name="T0" fmla="*/ 0 w 47"/>
                <a:gd name="T1" fmla="*/ 0 h 9"/>
                <a:gd name="T2" fmla="*/ 9 w 47"/>
                <a:gd name="T3" fmla="*/ 0 h 9"/>
                <a:gd name="T4" fmla="*/ 9 w 47"/>
                <a:gd name="T5" fmla="*/ 0 h 9"/>
                <a:gd name="T6" fmla="*/ 19 w 47"/>
                <a:gd name="T7" fmla="*/ 0 h 9"/>
                <a:gd name="T8" fmla="*/ 28 w 47"/>
                <a:gd name="T9" fmla="*/ 0 h 9"/>
                <a:gd name="T10" fmla="*/ 28 w 47"/>
                <a:gd name="T11" fmla="*/ 0 h 9"/>
                <a:gd name="T12" fmla="*/ 47 w 47"/>
                <a:gd name="T13" fmla="*/ 0 h 9"/>
                <a:gd name="T14" fmla="*/ 47 w 47"/>
                <a:gd name="T15" fmla="*/ 0 h 9"/>
                <a:gd name="T16" fmla="*/ 47 w 47"/>
                <a:gd name="T17" fmla="*/ 0 h 9"/>
                <a:gd name="T18" fmla="*/ 19 w 47"/>
                <a:gd name="T19" fmla="*/ 9 h 9"/>
                <a:gd name="T20" fmla="*/ 9 w 47"/>
                <a:gd name="T21" fmla="*/ 0 h 9"/>
                <a:gd name="T22" fmla="*/ 0 w 47"/>
                <a:gd name="T23" fmla="*/ 0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9"/>
                <a:gd name="T38" fmla="*/ 47 w 47"/>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9">
                  <a:moveTo>
                    <a:pt x="0" y="0"/>
                  </a:moveTo>
                  <a:lnTo>
                    <a:pt x="9" y="0"/>
                  </a:lnTo>
                  <a:lnTo>
                    <a:pt x="19" y="0"/>
                  </a:lnTo>
                  <a:lnTo>
                    <a:pt x="28" y="0"/>
                  </a:lnTo>
                  <a:lnTo>
                    <a:pt x="47" y="0"/>
                  </a:lnTo>
                  <a:lnTo>
                    <a:pt x="19" y="9"/>
                  </a:lnTo>
                  <a:lnTo>
                    <a:pt x="9"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97" name="Freeform 74">
              <a:extLst>
                <a:ext uri="{FF2B5EF4-FFF2-40B4-BE49-F238E27FC236}">
                  <a16:creationId xmlns:a16="http://schemas.microsoft.com/office/drawing/2014/main" id="{82D121AF-7168-4A95-BB02-61C09F35FE8A}"/>
                </a:ext>
              </a:extLst>
            </p:cNvPr>
            <p:cNvSpPr>
              <a:spLocks/>
            </p:cNvSpPr>
            <p:nvPr/>
          </p:nvSpPr>
          <p:spPr bwMode="gray">
            <a:xfrm>
              <a:off x="4400" y="2977"/>
              <a:ext cx="47" cy="9"/>
            </a:xfrm>
            <a:custGeom>
              <a:avLst/>
              <a:gdLst>
                <a:gd name="T0" fmla="*/ 0 w 47"/>
                <a:gd name="T1" fmla="*/ 0 h 9"/>
                <a:gd name="T2" fmla="*/ 9 w 47"/>
                <a:gd name="T3" fmla="*/ 0 h 9"/>
                <a:gd name="T4" fmla="*/ 9 w 47"/>
                <a:gd name="T5" fmla="*/ 0 h 9"/>
                <a:gd name="T6" fmla="*/ 19 w 47"/>
                <a:gd name="T7" fmla="*/ 0 h 9"/>
                <a:gd name="T8" fmla="*/ 28 w 47"/>
                <a:gd name="T9" fmla="*/ 0 h 9"/>
                <a:gd name="T10" fmla="*/ 28 w 47"/>
                <a:gd name="T11" fmla="*/ 0 h 9"/>
                <a:gd name="T12" fmla="*/ 47 w 47"/>
                <a:gd name="T13" fmla="*/ 0 h 9"/>
                <a:gd name="T14" fmla="*/ 47 w 47"/>
                <a:gd name="T15" fmla="*/ 0 h 9"/>
                <a:gd name="T16" fmla="*/ 47 w 47"/>
                <a:gd name="T17" fmla="*/ 0 h 9"/>
                <a:gd name="T18" fmla="*/ 19 w 47"/>
                <a:gd name="T19" fmla="*/ 9 h 9"/>
                <a:gd name="T20" fmla="*/ 9 w 47"/>
                <a:gd name="T21" fmla="*/ 0 h 9"/>
                <a:gd name="T22" fmla="*/ 0 w 47"/>
                <a:gd name="T23" fmla="*/ 0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9"/>
                <a:gd name="T38" fmla="*/ 47 w 47"/>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9">
                  <a:moveTo>
                    <a:pt x="0" y="0"/>
                  </a:moveTo>
                  <a:lnTo>
                    <a:pt x="9" y="0"/>
                  </a:lnTo>
                  <a:lnTo>
                    <a:pt x="19" y="0"/>
                  </a:lnTo>
                  <a:lnTo>
                    <a:pt x="28" y="0"/>
                  </a:lnTo>
                  <a:lnTo>
                    <a:pt x="47" y="0"/>
                  </a:lnTo>
                  <a:lnTo>
                    <a:pt x="19" y="9"/>
                  </a:lnTo>
                  <a:lnTo>
                    <a:pt x="9"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98" name="Freeform 75">
              <a:extLst>
                <a:ext uri="{FF2B5EF4-FFF2-40B4-BE49-F238E27FC236}">
                  <a16:creationId xmlns:a16="http://schemas.microsoft.com/office/drawing/2014/main" id="{1F3ACE2F-7BAD-464A-940D-62E04F84FCDE}"/>
                </a:ext>
              </a:extLst>
            </p:cNvPr>
            <p:cNvSpPr>
              <a:spLocks/>
            </p:cNvSpPr>
            <p:nvPr/>
          </p:nvSpPr>
          <p:spPr bwMode="gray">
            <a:xfrm>
              <a:off x="4457" y="2977"/>
              <a:ext cx="38" cy="1"/>
            </a:xfrm>
            <a:custGeom>
              <a:avLst/>
              <a:gdLst>
                <a:gd name="T0" fmla="*/ 0 w 38"/>
                <a:gd name="T1" fmla="*/ 0 h 1"/>
                <a:gd name="T2" fmla="*/ 9 w 38"/>
                <a:gd name="T3" fmla="*/ 0 h 1"/>
                <a:gd name="T4" fmla="*/ 29 w 38"/>
                <a:gd name="T5" fmla="*/ 0 h 1"/>
                <a:gd name="T6" fmla="*/ 38 w 38"/>
                <a:gd name="T7" fmla="*/ 0 h 1"/>
                <a:gd name="T8" fmla="*/ 29 w 38"/>
                <a:gd name="T9" fmla="*/ 0 h 1"/>
                <a:gd name="T10" fmla="*/ 0 w 38"/>
                <a:gd name="T11" fmla="*/ 0 h 1"/>
                <a:gd name="T12" fmla="*/ 0 w 38"/>
                <a:gd name="T13" fmla="*/ 0 h 1"/>
                <a:gd name="T14" fmla="*/ 0 60000 65536"/>
                <a:gd name="T15" fmla="*/ 0 60000 65536"/>
                <a:gd name="T16" fmla="*/ 0 60000 65536"/>
                <a:gd name="T17" fmla="*/ 0 60000 65536"/>
                <a:gd name="T18" fmla="*/ 0 60000 65536"/>
                <a:gd name="T19" fmla="*/ 0 60000 65536"/>
                <a:gd name="T20" fmla="*/ 0 60000 65536"/>
                <a:gd name="T21" fmla="*/ 0 w 38"/>
                <a:gd name="T22" fmla="*/ 0 h 1"/>
                <a:gd name="T23" fmla="*/ 38 w 38"/>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1">
                  <a:moveTo>
                    <a:pt x="0" y="0"/>
                  </a:moveTo>
                  <a:lnTo>
                    <a:pt x="9" y="0"/>
                  </a:lnTo>
                  <a:lnTo>
                    <a:pt x="29" y="0"/>
                  </a:lnTo>
                  <a:lnTo>
                    <a:pt x="38" y="0"/>
                  </a:lnTo>
                  <a:lnTo>
                    <a:pt x="29"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99" name="Freeform 76">
              <a:extLst>
                <a:ext uri="{FF2B5EF4-FFF2-40B4-BE49-F238E27FC236}">
                  <a16:creationId xmlns:a16="http://schemas.microsoft.com/office/drawing/2014/main" id="{1BED9CEE-AE43-4BA7-94DF-4239C30597F2}"/>
                </a:ext>
              </a:extLst>
            </p:cNvPr>
            <p:cNvSpPr>
              <a:spLocks/>
            </p:cNvSpPr>
            <p:nvPr/>
          </p:nvSpPr>
          <p:spPr bwMode="gray">
            <a:xfrm>
              <a:off x="4457" y="2977"/>
              <a:ext cx="38" cy="1"/>
            </a:xfrm>
            <a:custGeom>
              <a:avLst/>
              <a:gdLst>
                <a:gd name="T0" fmla="*/ 0 w 38"/>
                <a:gd name="T1" fmla="*/ 0 h 1"/>
                <a:gd name="T2" fmla="*/ 9 w 38"/>
                <a:gd name="T3" fmla="*/ 0 h 1"/>
                <a:gd name="T4" fmla="*/ 29 w 38"/>
                <a:gd name="T5" fmla="*/ 0 h 1"/>
                <a:gd name="T6" fmla="*/ 38 w 38"/>
                <a:gd name="T7" fmla="*/ 0 h 1"/>
                <a:gd name="T8" fmla="*/ 29 w 38"/>
                <a:gd name="T9" fmla="*/ 0 h 1"/>
                <a:gd name="T10" fmla="*/ 0 w 38"/>
                <a:gd name="T11" fmla="*/ 0 h 1"/>
                <a:gd name="T12" fmla="*/ 0 w 38"/>
                <a:gd name="T13" fmla="*/ 0 h 1"/>
                <a:gd name="T14" fmla="*/ 0 60000 65536"/>
                <a:gd name="T15" fmla="*/ 0 60000 65536"/>
                <a:gd name="T16" fmla="*/ 0 60000 65536"/>
                <a:gd name="T17" fmla="*/ 0 60000 65536"/>
                <a:gd name="T18" fmla="*/ 0 60000 65536"/>
                <a:gd name="T19" fmla="*/ 0 60000 65536"/>
                <a:gd name="T20" fmla="*/ 0 60000 65536"/>
                <a:gd name="T21" fmla="*/ 0 w 38"/>
                <a:gd name="T22" fmla="*/ 0 h 1"/>
                <a:gd name="T23" fmla="*/ 38 w 38"/>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1">
                  <a:moveTo>
                    <a:pt x="0" y="0"/>
                  </a:moveTo>
                  <a:lnTo>
                    <a:pt x="9" y="0"/>
                  </a:lnTo>
                  <a:lnTo>
                    <a:pt x="29" y="0"/>
                  </a:lnTo>
                  <a:lnTo>
                    <a:pt x="38" y="0"/>
                  </a:lnTo>
                  <a:lnTo>
                    <a:pt x="29"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00" name="Freeform 77">
              <a:extLst>
                <a:ext uri="{FF2B5EF4-FFF2-40B4-BE49-F238E27FC236}">
                  <a16:creationId xmlns:a16="http://schemas.microsoft.com/office/drawing/2014/main" id="{345B1F1B-03E1-4A66-9EAD-06599FDE7672}"/>
                </a:ext>
              </a:extLst>
            </p:cNvPr>
            <p:cNvSpPr>
              <a:spLocks/>
            </p:cNvSpPr>
            <p:nvPr/>
          </p:nvSpPr>
          <p:spPr bwMode="gray">
            <a:xfrm>
              <a:off x="4447" y="2834"/>
              <a:ext cx="86" cy="105"/>
            </a:xfrm>
            <a:custGeom>
              <a:avLst/>
              <a:gdLst>
                <a:gd name="T0" fmla="*/ 77 w 86"/>
                <a:gd name="T1" fmla="*/ 0 h 105"/>
                <a:gd name="T2" fmla="*/ 77 w 86"/>
                <a:gd name="T3" fmla="*/ 9 h 105"/>
                <a:gd name="T4" fmla="*/ 67 w 86"/>
                <a:gd name="T5" fmla="*/ 19 h 105"/>
                <a:gd name="T6" fmla="*/ 48 w 86"/>
                <a:gd name="T7" fmla="*/ 19 h 105"/>
                <a:gd name="T8" fmla="*/ 29 w 86"/>
                <a:gd name="T9" fmla="*/ 9 h 105"/>
                <a:gd name="T10" fmla="*/ 29 w 86"/>
                <a:gd name="T11" fmla="*/ 9 h 105"/>
                <a:gd name="T12" fmla="*/ 19 w 86"/>
                <a:gd name="T13" fmla="*/ 19 h 105"/>
                <a:gd name="T14" fmla="*/ 19 w 86"/>
                <a:gd name="T15" fmla="*/ 19 h 105"/>
                <a:gd name="T16" fmla="*/ 10 w 86"/>
                <a:gd name="T17" fmla="*/ 19 h 105"/>
                <a:gd name="T18" fmla="*/ 10 w 86"/>
                <a:gd name="T19" fmla="*/ 28 h 105"/>
                <a:gd name="T20" fmla="*/ 10 w 86"/>
                <a:gd name="T21" fmla="*/ 38 h 105"/>
                <a:gd name="T22" fmla="*/ 0 w 86"/>
                <a:gd name="T23" fmla="*/ 38 h 105"/>
                <a:gd name="T24" fmla="*/ 10 w 86"/>
                <a:gd name="T25" fmla="*/ 57 h 105"/>
                <a:gd name="T26" fmla="*/ 0 w 86"/>
                <a:gd name="T27" fmla="*/ 57 h 105"/>
                <a:gd name="T28" fmla="*/ 0 w 86"/>
                <a:gd name="T29" fmla="*/ 57 h 105"/>
                <a:gd name="T30" fmla="*/ 0 w 86"/>
                <a:gd name="T31" fmla="*/ 76 h 105"/>
                <a:gd name="T32" fmla="*/ 10 w 86"/>
                <a:gd name="T33" fmla="*/ 76 h 105"/>
                <a:gd name="T34" fmla="*/ 10 w 86"/>
                <a:gd name="T35" fmla="*/ 76 h 105"/>
                <a:gd name="T36" fmla="*/ 10 w 86"/>
                <a:gd name="T37" fmla="*/ 95 h 105"/>
                <a:gd name="T38" fmla="*/ 10 w 86"/>
                <a:gd name="T39" fmla="*/ 95 h 105"/>
                <a:gd name="T40" fmla="*/ 10 w 86"/>
                <a:gd name="T41" fmla="*/ 105 h 105"/>
                <a:gd name="T42" fmla="*/ 10 w 86"/>
                <a:gd name="T43" fmla="*/ 105 h 105"/>
                <a:gd name="T44" fmla="*/ 19 w 86"/>
                <a:gd name="T45" fmla="*/ 95 h 105"/>
                <a:gd name="T46" fmla="*/ 19 w 86"/>
                <a:gd name="T47" fmla="*/ 67 h 105"/>
                <a:gd name="T48" fmla="*/ 10 w 86"/>
                <a:gd name="T49" fmla="*/ 67 h 105"/>
                <a:gd name="T50" fmla="*/ 19 w 86"/>
                <a:gd name="T51" fmla="*/ 67 h 105"/>
                <a:gd name="T52" fmla="*/ 19 w 86"/>
                <a:gd name="T53" fmla="*/ 67 h 105"/>
                <a:gd name="T54" fmla="*/ 19 w 86"/>
                <a:gd name="T55" fmla="*/ 57 h 105"/>
                <a:gd name="T56" fmla="*/ 29 w 86"/>
                <a:gd name="T57" fmla="*/ 67 h 105"/>
                <a:gd name="T58" fmla="*/ 29 w 86"/>
                <a:gd name="T59" fmla="*/ 76 h 105"/>
                <a:gd name="T60" fmla="*/ 39 w 86"/>
                <a:gd name="T61" fmla="*/ 86 h 105"/>
                <a:gd name="T62" fmla="*/ 39 w 86"/>
                <a:gd name="T63" fmla="*/ 95 h 105"/>
                <a:gd name="T64" fmla="*/ 39 w 86"/>
                <a:gd name="T65" fmla="*/ 95 h 105"/>
                <a:gd name="T66" fmla="*/ 48 w 86"/>
                <a:gd name="T67" fmla="*/ 86 h 105"/>
                <a:gd name="T68" fmla="*/ 48 w 86"/>
                <a:gd name="T69" fmla="*/ 86 h 105"/>
                <a:gd name="T70" fmla="*/ 48 w 86"/>
                <a:gd name="T71" fmla="*/ 76 h 105"/>
                <a:gd name="T72" fmla="*/ 48 w 86"/>
                <a:gd name="T73" fmla="*/ 76 h 105"/>
                <a:gd name="T74" fmla="*/ 48 w 86"/>
                <a:gd name="T75" fmla="*/ 57 h 105"/>
                <a:gd name="T76" fmla="*/ 39 w 86"/>
                <a:gd name="T77" fmla="*/ 57 h 105"/>
                <a:gd name="T78" fmla="*/ 29 w 86"/>
                <a:gd name="T79" fmla="*/ 47 h 105"/>
                <a:gd name="T80" fmla="*/ 39 w 86"/>
                <a:gd name="T81" fmla="*/ 47 h 105"/>
                <a:gd name="T82" fmla="*/ 39 w 86"/>
                <a:gd name="T83" fmla="*/ 47 h 105"/>
                <a:gd name="T84" fmla="*/ 48 w 86"/>
                <a:gd name="T85" fmla="*/ 38 h 105"/>
                <a:gd name="T86" fmla="*/ 67 w 86"/>
                <a:gd name="T87" fmla="*/ 38 h 105"/>
                <a:gd name="T88" fmla="*/ 67 w 86"/>
                <a:gd name="T89" fmla="*/ 38 h 105"/>
                <a:gd name="T90" fmla="*/ 58 w 86"/>
                <a:gd name="T91" fmla="*/ 38 h 105"/>
                <a:gd name="T92" fmla="*/ 48 w 86"/>
                <a:gd name="T93" fmla="*/ 38 h 105"/>
                <a:gd name="T94" fmla="*/ 29 w 86"/>
                <a:gd name="T95" fmla="*/ 38 h 105"/>
                <a:gd name="T96" fmla="*/ 29 w 86"/>
                <a:gd name="T97" fmla="*/ 47 h 105"/>
                <a:gd name="T98" fmla="*/ 10 w 86"/>
                <a:gd name="T99" fmla="*/ 38 h 105"/>
                <a:gd name="T100" fmla="*/ 10 w 86"/>
                <a:gd name="T101" fmla="*/ 28 h 105"/>
                <a:gd name="T102" fmla="*/ 19 w 86"/>
                <a:gd name="T103" fmla="*/ 19 h 105"/>
                <a:gd name="T104" fmla="*/ 58 w 86"/>
                <a:gd name="T105" fmla="*/ 19 h 105"/>
                <a:gd name="T106" fmla="*/ 67 w 86"/>
                <a:gd name="T107" fmla="*/ 28 h 105"/>
                <a:gd name="T108" fmla="*/ 77 w 86"/>
                <a:gd name="T109" fmla="*/ 19 h 105"/>
                <a:gd name="T110" fmla="*/ 86 w 86"/>
                <a:gd name="T111" fmla="*/ 0 h 105"/>
                <a:gd name="T112" fmla="*/ 77 w 86"/>
                <a:gd name="T113" fmla="*/ 0 h 10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6"/>
                <a:gd name="T172" fmla="*/ 0 h 105"/>
                <a:gd name="T173" fmla="*/ 86 w 86"/>
                <a:gd name="T174" fmla="*/ 105 h 10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6" h="105">
                  <a:moveTo>
                    <a:pt x="77" y="0"/>
                  </a:moveTo>
                  <a:lnTo>
                    <a:pt x="77" y="9"/>
                  </a:lnTo>
                  <a:lnTo>
                    <a:pt x="67" y="19"/>
                  </a:lnTo>
                  <a:lnTo>
                    <a:pt x="48" y="19"/>
                  </a:lnTo>
                  <a:lnTo>
                    <a:pt x="29" y="9"/>
                  </a:lnTo>
                  <a:lnTo>
                    <a:pt x="19" y="19"/>
                  </a:lnTo>
                  <a:lnTo>
                    <a:pt x="10" y="19"/>
                  </a:lnTo>
                  <a:lnTo>
                    <a:pt x="10" y="28"/>
                  </a:lnTo>
                  <a:lnTo>
                    <a:pt x="10" y="38"/>
                  </a:lnTo>
                  <a:lnTo>
                    <a:pt x="0" y="38"/>
                  </a:lnTo>
                  <a:lnTo>
                    <a:pt x="10" y="57"/>
                  </a:lnTo>
                  <a:lnTo>
                    <a:pt x="0" y="57"/>
                  </a:lnTo>
                  <a:lnTo>
                    <a:pt x="0" y="76"/>
                  </a:lnTo>
                  <a:lnTo>
                    <a:pt x="10" y="76"/>
                  </a:lnTo>
                  <a:lnTo>
                    <a:pt x="10" y="95"/>
                  </a:lnTo>
                  <a:lnTo>
                    <a:pt x="10" y="105"/>
                  </a:lnTo>
                  <a:lnTo>
                    <a:pt x="19" y="95"/>
                  </a:lnTo>
                  <a:lnTo>
                    <a:pt x="19" y="67"/>
                  </a:lnTo>
                  <a:lnTo>
                    <a:pt x="10" y="67"/>
                  </a:lnTo>
                  <a:lnTo>
                    <a:pt x="19" y="67"/>
                  </a:lnTo>
                  <a:lnTo>
                    <a:pt x="19" y="57"/>
                  </a:lnTo>
                  <a:lnTo>
                    <a:pt x="29" y="67"/>
                  </a:lnTo>
                  <a:lnTo>
                    <a:pt x="29" y="76"/>
                  </a:lnTo>
                  <a:lnTo>
                    <a:pt x="39" y="86"/>
                  </a:lnTo>
                  <a:lnTo>
                    <a:pt x="39" y="95"/>
                  </a:lnTo>
                  <a:lnTo>
                    <a:pt x="48" y="86"/>
                  </a:lnTo>
                  <a:lnTo>
                    <a:pt x="48" y="76"/>
                  </a:lnTo>
                  <a:lnTo>
                    <a:pt x="48" y="57"/>
                  </a:lnTo>
                  <a:lnTo>
                    <a:pt x="39" y="57"/>
                  </a:lnTo>
                  <a:lnTo>
                    <a:pt x="29" y="47"/>
                  </a:lnTo>
                  <a:lnTo>
                    <a:pt x="39" y="47"/>
                  </a:lnTo>
                  <a:lnTo>
                    <a:pt x="48" y="38"/>
                  </a:lnTo>
                  <a:lnTo>
                    <a:pt x="67" y="38"/>
                  </a:lnTo>
                  <a:lnTo>
                    <a:pt x="58" y="38"/>
                  </a:lnTo>
                  <a:lnTo>
                    <a:pt x="48" y="38"/>
                  </a:lnTo>
                  <a:lnTo>
                    <a:pt x="29" y="38"/>
                  </a:lnTo>
                  <a:lnTo>
                    <a:pt x="29" y="47"/>
                  </a:lnTo>
                  <a:lnTo>
                    <a:pt x="10" y="38"/>
                  </a:lnTo>
                  <a:lnTo>
                    <a:pt x="10" y="28"/>
                  </a:lnTo>
                  <a:lnTo>
                    <a:pt x="19" y="19"/>
                  </a:lnTo>
                  <a:lnTo>
                    <a:pt x="58" y="19"/>
                  </a:lnTo>
                  <a:lnTo>
                    <a:pt x="67" y="28"/>
                  </a:lnTo>
                  <a:lnTo>
                    <a:pt x="77" y="19"/>
                  </a:lnTo>
                  <a:lnTo>
                    <a:pt x="86" y="0"/>
                  </a:lnTo>
                  <a:lnTo>
                    <a:pt x="77"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01" name="Freeform 78">
              <a:extLst>
                <a:ext uri="{FF2B5EF4-FFF2-40B4-BE49-F238E27FC236}">
                  <a16:creationId xmlns:a16="http://schemas.microsoft.com/office/drawing/2014/main" id="{078C944D-DA64-419F-A3D4-EF9217D98CB3}"/>
                </a:ext>
              </a:extLst>
            </p:cNvPr>
            <p:cNvSpPr>
              <a:spLocks/>
            </p:cNvSpPr>
            <p:nvPr/>
          </p:nvSpPr>
          <p:spPr bwMode="gray">
            <a:xfrm>
              <a:off x="4447" y="2834"/>
              <a:ext cx="86" cy="105"/>
            </a:xfrm>
            <a:custGeom>
              <a:avLst/>
              <a:gdLst>
                <a:gd name="T0" fmla="*/ 77 w 86"/>
                <a:gd name="T1" fmla="*/ 0 h 105"/>
                <a:gd name="T2" fmla="*/ 77 w 86"/>
                <a:gd name="T3" fmla="*/ 9 h 105"/>
                <a:gd name="T4" fmla="*/ 67 w 86"/>
                <a:gd name="T5" fmla="*/ 19 h 105"/>
                <a:gd name="T6" fmla="*/ 48 w 86"/>
                <a:gd name="T7" fmla="*/ 19 h 105"/>
                <a:gd name="T8" fmla="*/ 29 w 86"/>
                <a:gd name="T9" fmla="*/ 9 h 105"/>
                <a:gd name="T10" fmla="*/ 29 w 86"/>
                <a:gd name="T11" fmla="*/ 9 h 105"/>
                <a:gd name="T12" fmla="*/ 19 w 86"/>
                <a:gd name="T13" fmla="*/ 19 h 105"/>
                <a:gd name="T14" fmla="*/ 19 w 86"/>
                <a:gd name="T15" fmla="*/ 19 h 105"/>
                <a:gd name="T16" fmla="*/ 10 w 86"/>
                <a:gd name="T17" fmla="*/ 19 h 105"/>
                <a:gd name="T18" fmla="*/ 10 w 86"/>
                <a:gd name="T19" fmla="*/ 28 h 105"/>
                <a:gd name="T20" fmla="*/ 10 w 86"/>
                <a:gd name="T21" fmla="*/ 38 h 105"/>
                <a:gd name="T22" fmla="*/ 0 w 86"/>
                <a:gd name="T23" fmla="*/ 38 h 105"/>
                <a:gd name="T24" fmla="*/ 10 w 86"/>
                <a:gd name="T25" fmla="*/ 57 h 105"/>
                <a:gd name="T26" fmla="*/ 0 w 86"/>
                <a:gd name="T27" fmla="*/ 57 h 105"/>
                <a:gd name="T28" fmla="*/ 0 w 86"/>
                <a:gd name="T29" fmla="*/ 57 h 105"/>
                <a:gd name="T30" fmla="*/ 0 w 86"/>
                <a:gd name="T31" fmla="*/ 76 h 105"/>
                <a:gd name="T32" fmla="*/ 10 w 86"/>
                <a:gd name="T33" fmla="*/ 76 h 105"/>
                <a:gd name="T34" fmla="*/ 10 w 86"/>
                <a:gd name="T35" fmla="*/ 76 h 105"/>
                <a:gd name="T36" fmla="*/ 10 w 86"/>
                <a:gd name="T37" fmla="*/ 95 h 105"/>
                <a:gd name="T38" fmla="*/ 10 w 86"/>
                <a:gd name="T39" fmla="*/ 95 h 105"/>
                <a:gd name="T40" fmla="*/ 10 w 86"/>
                <a:gd name="T41" fmla="*/ 105 h 105"/>
                <a:gd name="T42" fmla="*/ 10 w 86"/>
                <a:gd name="T43" fmla="*/ 105 h 105"/>
                <a:gd name="T44" fmla="*/ 19 w 86"/>
                <a:gd name="T45" fmla="*/ 95 h 105"/>
                <a:gd name="T46" fmla="*/ 19 w 86"/>
                <a:gd name="T47" fmla="*/ 67 h 105"/>
                <a:gd name="T48" fmla="*/ 10 w 86"/>
                <a:gd name="T49" fmla="*/ 67 h 105"/>
                <a:gd name="T50" fmla="*/ 19 w 86"/>
                <a:gd name="T51" fmla="*/ 67 h 105"/>
                <a:gd name="T52" fmla="*/ 19 w 86"/>
                <a:gd name="T53" fmla="*/ 67 h 105"/>
                <a:gd name="T54" fmla="*/ 19 w 86"/>
                <a:gd name="T55" fmla="*/ 57 h 105"/>
                <a:gd name="T56" fmla="*/ 29 w 86"/>
                <a:gd name="T57" fmla="*/ 67 h 105"/>
                <a:gd name="T58" fmla="*/ 29 w 86"/>
                <a:gd name="T59" fmla="*/ 76 h 105"/>
                <a:gd name="T60" fmla="*/ 39 w 86"/>
                <a:gd name="T61" fmla="*/ 86 h 105"/>
                <a:gd name="T62" fmla="*/ 39 w 86"/>
                <a:gd name="T63" fmla="*/ 95 h 105"/>
                <a:gd name="T64" fmla="*/ 39 w 86"/>
                <a:gd name="T65" fmla="*/ 95 h 105"/>
                <a:gd name="T66" fmla="*/ 48 w 86"/>
                <a:gd name="T67" fmla="*/ 86 h 105"/>
                <a:gd name="T68" fmla="*/ 48 w 86"/>
                <a:gd name="T69" fmla="*/ 86 h 105"/>
                <a:gd name="T70" fmla="*/ 48 w 86"/>
                <a:gd name="T71" fmla="*/ 76 h 105"/>
                <a:gd name="T72" fmla="*/ 48 w 86"/>
                <a:gd name="T73" fmla="*/ 76 h 105"/>
                <a:gd name="T74" fmla="*/ 48 w 86"/>
                <a:gd name="T75" fmla="*/ 57 h 105"/>
                <a:gd name="T76" fmla="*/ 39 w 86"/>
                <a:gd name="T77" fmla="*/ 57 h 105"/>
                <a:gd name="T78" fmla="*/ 29 w 86"/>
                <a:gd name="T79" fmla="*/ 47 h 105"/>
                <a:gd name="T80" fmla="*/ 39 w 86"/>
                <a:gd name="T81" fmla="*/ 47 h 105"/>
                <a:gd name="T82" fmla="*/ 39 w 86"/>
                <a:gd name="T83" fmla="*/ 47 h 105"/>
                <a:gd name="T84" fmla="*/ 48 w 86"/>
                <a:gd name="T85" fmla="*/ 38 h 105"/>
                <a:gd name="T86" fmla="*/ 67 w 86"/>
                <a:gd name="T87" fmla="*/ 38 h 105"/>
                <a:gd name="T88" fmla="*/ 67 w 86"/>
                <a:gd name="T89" fmla="*/ 38 h 105"/>
                <a:gd name="T90" fmla="*/ 58 w 86"/>
                <a:gd name="T91" fmla="*/ 38 h 105"/>
                <a:gd name="T92" fmla="*/ 48 w 86"/>
                <a:gd name="T93" fmla="*/ 38 h 105"/>
                <a:gd name="T94" fmla="*/ 29 w 86"/>
                <a:gd name="T95" fmla="*/ 38 h 105"/>
                <a:gd name="T96" fmla="*/ 29 w 86"/>
                <a:gd name="T97" fmla="*/ 47 h 105"/>
                <a:gd name="T98" fmla="*/ 10 w 86"/>
                <a:gd name="T99" fmla="*/ 38 h 105"/>
                <a:gd name="T100" fmla="*/ 10 w 86"/>
                <a:gd name="T101" fmla="*/ 28 h 105"/>
                <a:gd name="T102" fmla="*/ 19 w 86"/>
                <a:gd name="T103" fmla="*/ 19 h 105"/>
                <a:gd name="T104" fmla="*/ 58 w 86"/>
                <a:gd name="T105" fmla="*/ 19 h 105"/>
                <a:gd name="T106" fmla="*/ 67 w 86"/>
                <a:gd name="T107" fmla="*/ 28 h 105"/>
                <a:gd name="T108" fmla="*/ 77 w 86"/>
                <a:gd name="T109" fmla="*/ 19 h 105"/>
                <a:gd name="T110" fmla="*/ 86 w 86"/>
                <a:gd name="T111" fmla="*/ 0 h 105"/>
                <a:gd name="T112" fmla="*/ 77 w 86"/>
                <a:gd name="T113" fmla="*/ 0 h 10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6"/>
                <a:gd name="T172" fmla="*/ 0 h 105"/>
                <a:gd name="T173" fmla="*/ 86 w 86"/>
                <a:gd name="T174" fmla="*/ 105 h 10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6" h="105">
                  <a:moveTo>
                    <a:pt x="77" y="0"/>
                  </a:moveTo>
                  <a:lnTo>
                    <a:pt x="77" y="9"/>
                  </a:lnTo>
                  <a:lnTo>
                    <a:pt x="67" y="19"/>
                  </a:lnTo>
                  <a:lnTo>
                    <a:pt x="48" y="19"/>
                  </a:lnTo>
                  <a:lnTo>
                    <a:pt x="29" y="9"/>
                  </a:lnTo>
                  <a:lnTo>
                    <a:pt x="19" y="19"/>
                  </a:lnTo>
                  <a:lnTo>
                    <a:pt x="10" y="19"/>
                  </a:lnTo>
                  <a:lnTo>
                    <a:pt x="10" y="28"/>
                  </a:lnTo>
                  <a:lnTo>
                    <a:pt x="10" y="38"/>
                  </a:lnTo>
                  <a:lnTo>
                    <a:pt x="0" y="38"/>
                  </a:lnTo>
                  <a:lnTo>
                    <a:pt x="10" y="57"/>
                  </a:lnTo>
                  <a:lnTo>
                    <a:pt x="0" y="57"/>
                  </a:lnTo>
                  <a:lnTo>
                    <a:pt x="0" y="76"/>
                  </a:lnTo>
                  <a:lnTo>
                    <a:pt x="10" y="76"/>
                  </a:lnTo>
                  <a:lnTo>
                    <a:pt x="10" y="95"/>
                  </a:lnTo>
                  <a:lnTo>
                    <a:pt x="10" y="105"/>
                  </a:lnTo>
                  <a:lnTo>
                    <a:pt x="19" y="95"/>
                  </a:lnTo>
                  <a:lnTo>
                    <a:pt x="19" y="67"/>
                  </a:lnTo>
                  <a:lnTo>
                    <a:pt x="10" y="67"/>
                  </a:lnTo>
                  <a:lnTo>
                    <a:pt x="19" y="67"/>
                  </a:lnTo>
                  <a:lnTo>
                    <a:pt x="19" y="57"/>
                  </a:lnTo>
                  <a:lnTo>
                    <a:pt x="29" y="67"/>
                  </a:lnTo>
                  <a:lnTo>
                    <a:pt x="29" y="76"/>
                  </a:lnTo>
                  <a:lnTo>
                    <a:pt x="39" y="86"/>
                  </a:lnTo>
                  <a:lnTo>
                    <a:pt x="39" y="95"/>
                  </a:lnTo>
                  <a:lnTo>
                    <a:pt x="48" y="86"/>
                  </a:lnTo>
                  <a:lnTo>
                    <a:pt x="48" y="76"/>
                  </a:lnTo>
                  <a:lnTo>
                    <a:pt x="48" y="57"/>
                  </a:lnTo>
                  <a:lnTo>
                    <a:pt x="39" y="57"/>
                  </a:lnTo>
                  <a:lnTo>
                    <a:pt x="29" y="47"/>
                  </a:lnTo>
                  <a:lnTo>
                    <a:pt x="39" y="47"/>
                  </a:lnTo>
                  <a:lnTo>
                    <a:pt x="48" y="38"/>
                  </a:lnTo>
                  <a:lnTo>
                    <a:pt x="67" y="38"/>
                  </a:lnTo>
                  <a:lnTo>
                    <a:pt x="58" y="38"/>
                  </a:lnTo>
                  <a:lnTo>
                    <a:pt x="48" y="38"/>
                  </a:lnTo>
                  <a:lnTo>
                    <a:pt x="29" y="38"/>
                  </a:lnTo>
                  <a:lnTo>
                    <a:pt x="29" y="47"/>
                  </a:lnTo>
                  <a:lnTo>
                    <a:pt x="10" y="38"/>
                  </a:lnTo>
                  <a:lnTo>
                    <a:pt x="10" y="28"/>
                  </a:lnTo>
                  <a:lnTo>
                    <a:pt x="19" y="19"/>
                  </a:lnTo>
                  <a:lnTo>
                    <a:pt x="58" y="19"/>
                  </a:lnTo>
                  <a:lnTo>
                    <a:pt x="67" y="28"/>
                  </a:lnTo>
                  <a:lnTo>
                    <a:pt x="77" y="19"/>
                  </a:lnTo>
                  <a:lnTo>
                    <a:pt x="86" y="0"/>
                  </a:lnTo>
                  <a:lnTo>
                    <a:pt x="77"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02" name="Freeform 79">
              <a:extLst>
                <a:ext uri="{FF2B5EF4-FFF2-40B4-BE49-F238E27FC236}">
                  <a16:creationId xmlns:a16="http://schemas.microsoft.com/office/drawing/2014/main" id="{53C5EF10-6A12-4A1C-AF2A-EAFFDCD5AB65}"/>
                </a:ext>
              </a:extLst>
            </p:cNvPr>
            <p:cNvSpPr>
              <a:spLocks/>
            </p:cNvSpPr>
            <p:nvPr/>
          </p:nvSpPr>
          <p:spPr bwMode="gray">
            <a:xfrm>
              <a:off x="4457" y="2605"/>
              <a:ext cx="38" cy="76"/>
            </a:xfrm>
            <a:custGeom>
              <a:avLst/>
              <a:gdLst>
                <a:gd name="T0" fmla="*/ 19 w 38"/>
                <a:gd name="T1" fmla="*/ 0 h 76"/>
                <a:gd name="T2" fmla="*/ 29 w 38"/>
                <a:gd name="T3" fmla="*/ 9 h 76"/>
                <a:gd name="T4" fmla="*/ 38 w 38"/>
                <a:gd name="T5" fmla="*/ 0 h 76"/>
                <a:gd name="T6" fmla="*/ 38 w 38"/>
                <a:gd name="T7" fmla="*/ 0 h 76"/>
                <a:gd name="T8" fmla="*/ 38 w 38"/>
                <a:gd name="T9" fmla="*/ 19 h 76"/>
                <a:gd name="T10" fmla="*/ 38 w 38"/>
                <a:gd name="T11" fmla="*/ 19 h 76"/>
                <a:gd name="T12" fmla="*/ 38 w 38"/>
                <a:gd name="T13" fmla="*/ 28 h 76"/>
                <a:gd name="T14" fmla="*/ 29 w 38"/>
                <a:gd name="T15" fmla="*/ 38 h 76"/>
                <a:gd name="T16" fmla="*/ 29 w 38"/>
                <a:gd name="T17" fmla="*/ 47 h 76"/>
                <a:gd name="T18" fmla="*/ 29 w 38"/>
                <a:gd name="T19" fmla="*/ 57 h 76"/>
                <a:gd name="T20" fmla="*/ 29 w 38"/>
                <a:gd name="T21" fmla="*/ 67 h 76"/>
                <a:gd name="T22" fmla="*/ 29 w 38"/>
                <a:gd name="T23" fmla="*/ 67 h 76"/>
                <a:gd name="T24" fmla="*/ 29 w 38"/>
                <a:gd name="T25" fmla="*/ 76 h 76"/>
                <a:gd name="T26" fmla="*/ 19 w 38"/>
                <a:gd name="T27" fmla="*/ 67 h 76"/>
                <a:gd name="T28" fmla="*/ 19 w 38"/>
                <a:gd name="T29" fmla="*/ 57 h 76"/>
                <a:gd name="T30" fmla="*/ 9 w 38"/>
                <a:gd name="T31" fmla="*/ 57 h 76"/>
                <a:gd name="T32" fmla="*/ 0 w 38"/>
                <a:gd name="T33" fmla="*/ 38 h 76"/>
                <a:gd name="T34" fmla="*/ 0 w 38"/>
                <a:gd name="T35" fmla="*/ 38 h 76"/>
                <a:gd name="T36" fmla="*/ 9 w 38"/>
                <a:gd name="T37" fmla="*/ 28 h 76"/>
                <a:gd name="T38" fmla="*/ 9 w 38"/>
                <a:gd name="T39" fmla="*/ 9 h 76"/>
                <a:gd name="T40" fmla="*/ 19 w 38"/>
                <a:gd name="T41" fmla="*/ 9 h 76"/>
                <a:gd name="T42" fmla="*/ 19 w 38"/>
                <a:gd name="T43" fmla="*/ 0 h 76"/>
                <a:gd name="T44" fmla="*/ 19 w 38"/>
                <a:gd name="T45" fmla="*/ 0 h 7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8"/>
                <a:gd name="T70" fmla="*/ 0 h 76"/>
                <a:gd name="T71" fmla="*/ 38 w 38"/>
                <a:gd name="T72" fmla="*/ 76 h 7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8" h="76">
                  <a:moveTo>
                    <a:pt x="19" y="0"/>
                  </a:moveTo>
                  <a:lnTo>
                    <a:pt x="29" y="9"/>
                  </a:lnTo>
                  <a:lnTo>
                    <a:pt x="38" y="0"/>
                  </a:lnTo>
                  <a:lnTo>
                    <a:pt x="38" y="19"/>
                  </a:lnTo>
                  <a:lnTo>
                    <a:pt x="38" y="28"/>
                  </a:lnTo>
                  <a:lnTo>
                    <a:pt x="29" y="38"/>
                  </a:lnTo>
                  <a:lnTo>
                    <a:pt x="29" y="47"/>
                  </a:lnTo>
                  <a:lnTo>
                    <a:pt x="29" y="57"/>
                  </a:lnTo>
                  <a:lnTo>
                    <a:pt x="29" y="67"/>
                  </a:lnTo>
                  <a:lnTo>
                    <a:pt x="29" y="76"/>
                  </a:lnTo>
                  <a:lnTo>
                    <a:pt x="19" y="67"/>
                  </a:lnTo>
                  <a:lnTo>
                    <a:pt x="19" y="57"/>
                  </a:lnTo>
                  <a:lnTo>
                    <a:pt x="9" y="57"/>
                  </a:lnTo>
                  <a:lnTo>
                    <a:pt x="0" y="38"/>
                  </a:lnTo>
                  <a:lnTo>
                    <a:pt x="9" y="28"/>
                  </a:lnTo>
                  <a:lnTo>
                    <a:pt x="9" y="9"/>
                  </a:lnTo>
                  <a:lnTo>
                    <a:pt x="19" y="9"/>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03" name="Freeform 80">
              <a:extLst>
                <a:ext uri="{FF2B5EF4-FFF2-40B4-BE49-F238E27FC236}">
                  <a16:creationId xmlns:a16="http://schemas.microsoft.com/office/drawing/2014/main" id="{3A9E9602-EE72-4BC7-947F-7CD4A41A7825}"/>
                </a:ext>
              </a:extLst>
            </p:cNvPr>
            <p:cNvSpPr>
              <a:spLocks/>
            </p:cNvSpPr>
            <p:nvPr/>
          </p:nvSpPr>
          <p:spPr bwMode="gray">
            <a:xfrm>
              <a:off x="4457" y="2605"/>
              <a:ext cx="38" cy="76"/>
            </a:xfrm>
            <a:custGeom>
              <a:avLst/>
              <a:gdLst>
                <a:gd name="T0" fmla="*/ 19 w 38"/>
                <a:gd name="T1" fmla="*/ 0 h 76"/>
                <a:gd name="T2" fmla="*/ 29 w 38"/>
                <a:gd name="T3" fmla="*/ 9 h 76"/>
                <a:gd name="T4" fmla="*/ 38 w 38"/>
                <a:gd name="T5" fmla="*/ 0 h 76"/>
                <a:gd name="T6" fmla="*/ 38 w 38"/>
                <a:gd name="T7" fmla="*/ 0 h 76"/>
                <a:gd name="T8" fmla="*/ 38 w 38"/>
                <a:gd name="T9" fmla="*/ 19 h 76"/>
                <a:gd name="T10" fmla="*/ 38 w 38"/>
                <a:gd name="T11" fmla="*/ 19 h 76"/>
                <a:gd name="T12" fmla="*/ 38 w 38"/>
                <a:gd name="T13" fmla="*/ 28 h 76"/>
                <a:gd name="T14" fmla="*/ 29 w 38"/>
                <a:gd name="T15" fmla="*/ 38 h 76"/>
                <a:gd name="T16" fmla="*/ 29 w 38"/>
                <a:gd name="T17" fmla="*/ 47 h 76"/>
                <a:gd name="T18" fmla="*/ 29 w 38"/>
                <a:gd name="T19" fmla="*/ 57 h 76"/>
                <a:gd name="T20" fmla="*/ 29 w 38"/>
                <a:gd name="T21" fmla="*/ 67 h 76"/>
                <a:gd name="T22" fmla="*/ 29 w 38"/>
                <a:gd name="T23" fmla="*/ 67 h 76"/>
                <a:gd name="T24" fmla="*/ 29 w 38"/>
                <a:gd name="T25" fmla="*/ 76 h 76"/>
                <a:gd name="T26" fmla="*/ 19 w 38"/>
                <a:gd name="T27" fmla="*/ 67 h 76"/>
                <a:gd name="T28" fmla="*/ 19 w 38"/>
                <a:gd name="T29" fmla="*/ 57 h 76"/>
                <a:gd name="T30" fmla="*/ 9 w 38"/>
                <a:gd name="T31" fmla="*/ 57 h 76"/>
                <a:gd name="T32" fmla="*/ 0 w 38"/>
                <a:gd name="T33" fmla="*/ 38 h 76"/>
                <a:gd name="T34" fmla="*/ 0 w 38"/>
                <a:gd name="T35" fmla="*/ 38 h 76"/>
                <a:gd name="T36" fmla="*/ 9 w 38"/>
                <a:gd name="T37" fmla="*/ 28 h 76"/>
                <a:gd name="T38" fmla="*/ 9 w 38"/>
                <a:gd name="T39" fmla="*/ 9 h 76"/>
                <a:gd name="T40" fmla="*/ 19 w 38"/>
                <a:gd name="T41" fmla="*/ 9 h 76"/>
                <a:gd name="T42" fmla="*/ 19 w 38"/>
                <a:gd name="T43" fmla="*/ 0 h 76"/>
                <a:gd name="T44" fmla="*/ 19 w 38"/>
                <a:gd name="T45" fmla="*/ 0 h 7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8"/>
                <a:gd name="T70" fmla="*/ 0 h 76"/>
                <a:gd name="T71" fmla="*/ 38 w 38"/>
                <a:gd name="T72" fmla="*/ 76 h 7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8" h="76">
                  <a:moveTo>
                    <a:pt x="19" y="0"/>
                  </a:moveTo>
                  <a:lnTo>
                    <a:pt x="29" y="9"/>
                  </a:lnTo>
                  <a:lnTo>
                    <a:pt x="38" y="0"/>
                  </a:lnTo>
                  <a:lnTo>
                    <a:pt x="38" y="19"/>
                  </a:lnTo>
                  <a:lnTo>
                    <a:pt x="38" y="28"/>
                  </a:lnTo>
                  <a:lnTo>
                    <a:pt x="29" y="38"/>
                  </a:lnTo>
                  <a:lnTo>
                    <a:pt x="29" y="47"/>
                  </a:lnTo>
                  <a:lnTo>
                    <a:pt x="29" y="57"/>
                  </a:lnTo>
                  <a:lnTo>
                    <a:pt x="29" y="67"/>
                  </a:lnTo>
                  <a:lnTo>
                    <a:pt x="29" y="76"/>
                  </a:lnTo>
                  <a:lnTo>
                    <a:pt x="19" y="67"/>
                  </a:lnTo>
                  <a:lnTo>
                    <a:pt x="19" y="57"/>
                  </a:lnTo>
                  <a:lnTo>
                    <a:pt x="9" y="57"/>
                  </a:lnTo>
                  <a:lnTo>
                    <a:pt x="0" y="38"/>
                  </a:lnTo>
                  <a:lnTo>
                    <a:pt x="9" y="28"/>
                  </a:lnTo>
                  <a:lnTo>
                    <a:pt x="9" y="9"/>
                  </a:lnTo>
                  <a:lnTo>
                    <a:pt x="19" y="9"/>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04" name="Freeform 81">
              <a:extLst>
                <a:ext uri="{FF2B5EF4-FFF2-40B4-BE49-F238E27FC236}">
                  <a16:creationId xmlns:a16="http://schemas.microsoft.com/office/drawing/2014/main" id="{C37170A6-9C8B-4AEB-AE93-69ABF939F2D0}"/>
                </a:ext>
              </a:extLst>
            </p:cNvPr>
            <p:cNvSpPr>
              <a:spLocks/>
            </p:cNvSpPr>
            <p:nvPr/>
          </p:nvSpPr>
          <p:spPr bwMode="gray">
            <a:xfrm>
              <a:off x="4466" y="2672"/>
              <a:ext cx="20" cy="19"/>
            </a:xfrm>
            <a:custGeom>
              <a:avLst/>
              <a:gdLst>
                <a:gd name="T0" fmla="*/ 10 w 20"/>
                <a:gd name="T1" fmla="*/ 9 h 19"/>
                <a:gd name="T2" fmla="*/ 20 w 20"/>
                <a:gd name="T3" fmla="*/ 9 h 19"/>
                <a:gd name="T4" fmla="*/ 20 w 20"/>
                <a:gd name="T5" fmla="*/ 19 h 19"/>
                <a:gd name="T6" fmla="*/ 10 w 20"/>
                <a:gd name="T7" fmla="*/ 19 h 19"/>
                <a:gd name="T8" fmla="*/ 10 w 20"/>
                <a:gd name="T9" fmla="*/ 19 h 19"/>
                <a:gd name="T10" fmla="*/ 10 w 20"/>
                <a:gd name="T11" fmla="*/ 9 h 19"/>
                <a:gd name="T12" fmla="*/ 0 w 20"/>
                <a:gd name="T13" fmla="*/ 9 h 19"/>
                <a:gd name="T14" fmla="*/ 0 w 20"/>
                <a:gd name="T15" fmla="*/ 0 h 19"/>
                <a:gd name="T16" fmla="*/ 10 w 20"/>
                <a:gd name="T17" fmla="*/ 9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9"/>
                <a:gd name="T29" fmla="*/ 20 w 20"/>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9">
                  <a:moveTo>
                    <a:pt x="10" y="9"/>
                  </a:moveTo>
                  <a:lnTo>
                    <a:pt x="20" y="9"/>
                  </a:lnTo>
                  <a:lnTo>
                    <a:pt x="20" y="19"/>
                  </a:lnTo>
                  <a:lnTo>
                    <a:pt x="10" y="19"/>
                  </a:lnTo>
                  <a:lnTo>
                    <a:pt x="10" y="9"/>
                  </a:lnTo>
                  <a:lnTo>
                    <a:pt x="0" y="9"/>
                  </a:lnTo>
                  <a:lnTo>
                    <a:pt x="0" y="0"/>
                  </a:lnTo>
                  <a:lnTo>
                    <a:pt x="1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05" name="Freeform 82">
              <a:extLst>
                <a:ext uri="{FF2B5EF4-FFF2-40B4-BE49-F238E27FC236}">
                  <a16:creationId xmlns:a16="http://schemas.microsoft.com/office/drawing/2014/main" id="{05B09F11-5CAF-4F50-A703-319786F65A8C}"/>
                </a:ext>
              </a:extLst>
            </p:cNvPr>
            <p:cNvSpPr>
              <a:spLocks/>
            </p:cNvSpPr>
            <p:nvPr/>
          </p:nvSpPr>
          <p:spPr bwMode="gray">
            <a:xfrm>
              <a:off x="4466" y="2672"/>
              <a:ext cx="20" cy="19"/>
            </a:xfrm>
            <a:custGeom>
              <a:avLst/>
              <a:gdLst>
                <a:gd name="T0" fmla="*/ 10 w 20"/>
                <a:gd name="T1" fmla="*/ 9 h 19"/>
                <a:gd name="T2" fmla="*/ 20 w 20"/>
                <a:gd name="T3" fmla="*/ 9 h 19"/>
                <a:gd name="T4" fmla="*/ 20 w 20"/>
                <a:gd name="T5" fmla="*/ 19 h 19"/>
                <a:gd name="T6" fmla="*/ 10 w 20"/>
                <a:gd name="T7" fmla="*/ 19 h 19"/>
                <a:gd name="T8" fmla="*/ 10 w 20"/>
                <a:gd name="T9" fmla="*/ 19 h 19"/>
                <a:gd name="T10" fmla="*/ 10 w 20"/>
                <a:gd name="T11" fmla="*/ 9 h 19"/>
                <a:gd name="T12" fmla="*/ 0 w 20"/>
                <a:gd name="T13" fmla="*/ 9 h 19"/>
                <a:gd name="T14" fmla="*/ 0 w 20"/>
                <a:gd name="T15" fmla="*/ 0 h 19"/>
                <a:gd name="T16" fmla="*/ 10 w 20"/>
                <a:gd name="T17" fmla="*/ 9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9"/>
                <a:gd name="T29" fmla="*/ 20 w 20"/>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9">
                  <a:moveTo>
                    <a:pt x="10" y="9"/>
                  </a:moveTo>
                  <a:lnTo>
                    <a:pt x="20" y="9"/>
                  </a:lnTo>
                  <a:lnTo>
                    <a:pt x="20" y="19"/>
                  </a:lnTo>
                  <a:lnTo>
                    <a:pt x="10" y="19"/>
                  </a:lnTo>
                  <a:lnTo>
                    <a:pt x="10" y="9"/>
                  </a:lnTo>
                  <a:lnTo>
                    <a:pt x="0" y="9"/>
                  </a:lnTo>
                  <a:lnTo>
                    <a:pt x="0" y="0"/>
                  </a:lnTo>
                  <a:lnTo>
                    <a:pt x="1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06" name="Freeform 83">
              <a:extLst>
                <a:ext uri="{FF2B5EF4-FFF2-40B4-BE49-F238E27FC236}">
                  <a16:creationId xmlns:a16="http://schemas.microsoft.com/office/drawing/2014/main" id="{44C0A10D-531C-4ED2-AA10-F8ADFB9026C4}"/>
                </a:ext>
              </a:extLst>
            </p:cNvPr>
            <p:cNvSpPr>
              <a:spLocks/>
            </p:cNvSpPr>
            <p:nvPr/>
          </p:nvSpPr>
          <p:spPr bwMode="gray">
            <a:xfrm>
              <a:off x="4486" y="2672"/>
              <a:ext cx="38" cy="19"/>
            </a:xfrm>
            <a:custGeom>
              <a:avLst/>
              <a:gdLst>
                <a:gd name="T0" fmla="*/ 0 w 38"/>
                <a:gd name="T1" fmla="*/ 0 h 19"/>
                <a:gd name="T2" fmla="*/ 9 w 38"/>
                <a:gd name="T3" fmla="*/ 0 h 19"/>
                <a:gd name="T4" fmla="*/ 19 w 38"/>
                <a:gd name="T5" fmla="*/ 0 h 19"/>
                <a:gd name="T6" fmla="*/ 19 w 38"/>
                <a:gd name="T7" fmla="*/ 0 h 19"/>
                <a:gd name="T8" fmla="*/ 28 w 38"/>
                <a:gd name="T9" fmla="*/ 0 h 19"/>
                <a:gd name="T10" fmla="*/ 28 w 38"/>
                <a:gd name="T11" fmla="*/ 0 h 19"/>
                <a:gd name="T12" fmla="*/ 28 w 38"/>
                <a:gd name="T13" fmla="*/ 9 h 19"/>
                <a:gd name="T14" fmla="*/ 38 w 38"/>
                <a:gd name="T15" fmla="*/ 9 h 19"/>
                <a:gd name="T16" fmla="*/ 38 w 38"/>
                <a:gd name="T17" fmla="*/ 19 h 19"/>
                <a:gd name="T18" fmla="*/ 19 w 38"/>
                <a:gd name="T19" fmla="*/ 9 h 19"/>
                <a:gd name="T20" fmla="*/ 9 w 38"/>
                <a:gd name="T21" fmla="*/ 0 h 19"/>
                <a:gd name="T22" fmla="*/ 9 w 38"/>
                <a:gd name="T23" fmla="*/ 9 h 19"/>
                <a:gd name="T24" fmla="*/ 0 w 38"/>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19"/>
                <a:gd name="T41" fmla="*/ 38 w 3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19">
                  <a:moveTo>
                    <a:pt x="0" y="0"/>
                  </a:moveTo>
                  <a:lnTo>
                    <a:pt x="9" y="0"/>
                  </a:lnTo>
                  <a:lnTo>
                    <a:pt x="19" y="0"/>
                  </a:lnTo>
                  <a:lnTo>
                    <a:pt x="28" y="0"/>
                  </a:lnTo>
                  <a:lnTo>
                    <a:pt x="28" y="9"/>
                  </a:lnTo>
                  <a:lnTo>
                    <a:pt x="38" y="9"/>
                  </a:lnTo>
                  <a:lnTo>
                    <a:pt x="38" y="19"/>
                  </a:lnTo>
                  <a:lnTo>
                    <a:pt x="19" y="9"/>
                  </a:lnTo>
                  <a:lnTo>
                    <a:pt x="9" y="0"/>
                  </a:lnTo>
                  <a:lnTo>
                    <a:pt x="9"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07" name="Freeform 84">
              <a:extLst>
                <a:ext uri="{FF2B5EF4-FFF2-40B4-BE49-F238E27FC236}">
                  <a16:creationId xmlns:a16="http://schemas.microsoft.com/office/drawing/2014/main" id="{7B91CEEA-C260-42D3-8861-59E45677E1EB}"/>
                </a:ext>
              </a:extLst>
            </p:cNvPr>
            <p:cNvSpPr>
              <a:spLocks/>
            </p:cNvSpPr>
            <p:nvPr/>
          </p:nvSpPr>
          <p:spPr bwMode="gray">
            <a:xfrm>
              <a:off x="4486" y="2672"/>
              <a:ext cx="38" cy="19"/>
            </a:xfrm>
            <a:custGeom>
              <a:avLst/>
              <a:gdLst>
                <a:gd name="T0" fmla="*/ 0 w 38"/>
                <a:gd name="T1" fmla="*/ 0 h 19"/>
                <a:gd name="T2" fmla="*/ 9 w 38"/>
                <a:gd name="T3" fmla="*/ 0 h 19"/>
                <a:gd name="T4" fmla="*/ 19 w 38"/>
                <a:gd name="T5" fmla="*/ 0 h 19"/>
                <a:gd name="T6" fmla="*/ 19 w 38"/>
                <a:gd name="T7" fmla="*/ 0 h 19"/>
                <a:gd name="T8" fmla="*/ 28 w 38"/>
                <a:gd name="T9" fmla="*/ 0 h 19"/>
                <a:gd name="T10" fmla="*/ 28 w 38"/>
                <a:gd name="T11" fmla="*/ 0 h 19"/>
                <a:gd name="T12" fmla="*/ 28 w 38"/>
                <a:gd name="T13" fmla="*/ 9 h 19"/>
                <a:gd name="T14" fmla="*/ 38 w 38"/>
                <a:gd name="T15" fmla="*/ 9 h 19"/>
                <a:gd name="T16" fmla="*/ 38 w 38"/>
                <a:gd name="T17" fmla="*/ 19 h 19"/>
                <a:gd name="T18" fmla="*/ 19 w 38"/>
                <a:gd name="T19" fmla="*/ 9 h 19"/>
                <a:gd name="T20" fmla="*/ 9 w 38"/>
                <a:gd name="T21" fmla="*/ 0 h 19"/>
                <a:gd name="T22" fmla="*/ 9 w 38"/>
                <a:gd name="T23" fmla="*/ 9 h 19"/>
                <a:gd name="T24" fmla="*/ 0 w 38"/>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19"/>
                <a:gd name="T41" fmla="*/ 38 w 3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19">
                  <a:moveTo>
                    <a:pt x="0" y="0"/>
                  </a:moveTo>
                  <a:lnTo>
                    <a:pt x="9" y="0"/>
                  </a:lnTo>
                  <a:lnTo>
                    <a:pt x="19" y="0"/>
                  </a:lnTo>
                  <a:lnTo>
                    <a:pt x="28" y="0"/>
                  </a:lnTo>
                  <a:lnTo>
                    <a:pt x="28" y="9"/>
                  </a:lnTo>
                  <a:lnTo>
                    <a:pt x="38" y="9"/>
                  </a:lnTo>
                  <a:lnTo>
                    <a:pt x="38" y="19"/>
                  </a:lnTo>
                  <a:lnTo>
                    <a:pt x="19" y="9"/>
                  </a:lnTo>
                  <a:lnTo>
                    <a:pt x="9" y="0"/>
                  </a:lnTo>
                  <a:lnTo>
                    <a:pt x="9"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08" name="Freeform 85">
              <a:extLst>
                <a:ext uri="{FF2B5EF4-FFF2-40B4-BE49-F238E27FC236}">
                  <a16:creationId xmlns:a16="http://schemas.microsoft.com/office/drawing/2014/main" id="{DF435DD2-8764-4552-9F48-2E58FEE2E474}"/>
                </a:ext>
              </a:extLst>
            </p:cNvPr>
            <p:cNvSpPr>
              <a:spLocks/>
            </p:cNvSpPr>
            <p:nvPr/>
          </p:nvSpPr>
          <p:spPr bwMode="gray">
            <a:xfrm>
              <a:off x="4524" y="2691"/>
              <a:ext cx="19" cy="19"/>
            </a:xfrm>
            <a:custGeom>
              <a:avLst/>
              <a:gdLst>
                <a:gd name="T0" fmla="*/ 0 w 19"/>
                <a:gd name="T1" fmla="*/ 0 h 19"/>
                <a:gd name="T2" fmla="*/ 9 w 19"/>
                <a:gd name="T3" fmla="*/ 0 h 19"/>
                <a:gd name="T4" fmla="*/ 19 w 19"/>
                <a:gd name="T5" fmla="*/ 0 h 19"/>
                <a:gd name="T6" fmla="*/ 19 w 19"/>
                <a:gd name="T7" fmla="*/ 9 h 19"/>
                <a:gd name="T8" fmla="*/ 19 w 19"/>
                <a:gd name="T9" fmla="*/ 19 h 19"/>
                <a:gd name="T10" fmla="*/ 9 w 19"/>
                <a:gd name="T11" fmla="*/ 19 h 19"/>
                <a:gd name="T12" fmla="*/ 9 w 19"/>
                <a:gd name="T13" fmla="*/ 9 h 19"/>
                <a:gd name="T14" fmla="*/ 0 w 19"/>
                <a:gd name="T15" fmla="*/ 9 h 19"/>
                <a:gd name="T16" fmla="*/ 0 w 19"/>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9"/>
                <a:gd name="T29" fmla="*/ 19 w 19"/>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9">
                  <a:moveTo>
                    <a:pt x="0" y="0"/>
                  </a:moveTo>
                  <a:lnTo>
                    <a:pt x="9" y="0"/>
                  </a:lnTo>
                  <a:lnTo>
                    <a:pt x="19" y="0"/>
                  </a:lnTo>
                  <a:lnTo>
                    <a:pt x="19" y="9"/>
                  </a:lnTo>
                  <a:lnTo>
                    <a:pt x="19" y="19"/>
                  </a:lnTo>
                  <a:lnTo>
                    <a:pt x="9" y="19"/>
                  </a:lnTo>
                  <a:lnTo>
                    <a:pt x="9" y="9"/>
                  </a:lnTo>
                  <a:lnTo>
                    <a:pt x="0"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09" name="Freeform 86">
              <a:extLst>
                <a:ext uri="{FF2B5EF4-FFF2-40B4-BE49-F238E27FC236}">
                  <a16:creationId xmlns:a16="http://schemas.microsoft.com/office/drawing/2014/main" id="{91D57D7A-D2A3-4D5A-8282-FACF61FFD4D1}"/>
                </a:ext>
              </a:extLst>
            </p:cNvPr>
            <p:cNvSpPr>
              <a:spLocks/>
            </p:cNvSpPr>
            <p:nvPr/>
          </p:nvSpPr>
          <p:spPr bwMode="gray">
            <a:xfrm>
              <a:off x="4524" y="2691"/>
              <a:ext cx="19" cy="19"/>
            </a:xfrm>
            <a:custGeom>
              <a:avLst/>
              <a:gdLst>
                <a:gd name="T0" fmla="*/ 0 w 19"/>
                <a:gd name="T1" fmla="*/ 0 h 19"/>
                <a:gd name="T2" fmla="*/ 9 w 19"/>
                <a:gd name="T3" fmla="*/ 0 h 19"/>
                <a:gd name="T4" fmla="*/ 19 w 19"/>
                <a:gd name="T5" fmla="*/ 0 h 19"/>
                <a:gd name="T6" fmla="*/ 19 w 19"/>
                <a:gd name="T7" fmla="*/ 9 h 19"/>
                <a:gd name="T8" fmla="*/ 19 w 19"/>
                <a:gd name="T9" fmla="*/ 19 h 19"/>
                <a:gd name="T10" fmla="*/ 9 w 19"/>
                <a:gd name="T11" fmla="*/ 19 h 19"/>
                <a:gd name="T12" fmla="*/ 9 w 19"/>
                <a:gd name="T13" fmla="*/ 9 h 19"/>
                <a:gd name="T14" fmla="*/ 0 w 19"/>
                <a:gd name="T15" fmla="*/ 9 h 19"/>
                <a:gd name="T16" fmla="*/ 0 w 19"/>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9"/>
                <a:gd name="T29" fmla="*/ 19 w 19"/>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9">
                  <a:moveTo>
                    <a:pt x="0" y="0"/>
                  </a:moveTo>
                  <a:lnTo>
                    <a:pt x="9" y="0"/>
                  </a:lnTo>
                  <a:lnTo>
                    <a:pt x="19" y="0"/>
                  </a:lnTo>
                  <a:lnTo>
                    <a:pt x="19" y="9"/>
                  </a:lnTo>
                  <a:lnTo>
                    <a:pt x="19" y="19"/>
                  </a:lnTo>
                  <a:lnTo>
                    <a:pt x="9" y="19"/>
                  </a:lnTo>
                  <a:lnTo>
                    <a:pt x="9" y="9"/>
                  </a:lnTo>
                  <a:lnTo>
                    <a:pt x="0"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10" name="Freeform 87">
              <a:extLst>
                <a:ext uri="{FF2B5EF4-FFF2-40B4-BE49-F238E27FC236}">
                  <a16:creationId xmlns:a16="http://schemas.microsoft.com/office/drawing/2014/main" id="{38287C19-0027-41C7-8EC7-F72AEE3EF1A1}"/>
                </a:ext>
              </a:extLst>
            </p:cNvPr>
            <p:cNvSpPr>
              <a:spLocks/>
            </p:cNvSpPr>
            <p:nvPr/>
          </p:nvSpPr>
          <p:spPr bwMode="gray">
            <a:xfrm>
              <a:off x="4495" y="2729"/>
              <a:ext cx="67" cy="57"/>
            </a:xfrm>
            <a:custGeom>
              <a:avLst/>
              <a:gdLst>
                <a:gd name="T0" fmla="*/ 29 w 67"/>
                <a:gd name="T1" fmla="*/ 28 h 57"/>
                <a:gd name="T2" fmla="*/ 29 w 67"/>
                <a:gd name="T3" fmla="*/ 38 h 57"/>
                <a:gd name="T4" fmla="*/ 29 w 67"/>
                <a:gd name="T5" fmla="*/ 38 h 57"/>
                <a:gd name="T6" fmla="*/ 29 w 67"/>
                <a:gd name="T7" fmla="*/ 47 h 57"/>
                <a:gd name="T8" fmla="*/ 38 w 67"/>
                <a:gd name="T9" fmla="*/ 57 h 57"/>
                <a:gd name="T10" fmla="*/ 38 w 67"/>
                <a:gd name="T11" fmla="*/ 47 h 57"/>
                <a:gd name="T12" fmla="*/ 48 w 67"/>
                <a:gd name="T13" fmla="*/ 47 h 57"/>
                <a:gd name="T14" fmla="*/ 38 w 67"/>
                <a:gd name="T15" fmla="*/ 57 h 57"/>
                <a:gd name="T16" fmla="*/ 48 w 67"/>
                <a:gd name="T17" fmla="*/ 57 h 57"/>
                <a:gd name="T18" fmla="*/ 48 w 67"/>
                <a:gd name="T19" fmla="*/ 57 h 57"/>
                <a:gd name="T20" fmla="*/ 48 w 67"/>
                <a:gd name="T21" fmla="*/ 47 h 57"/>
                <a:gd name="T22" fmla="*/ 48 w 67"/>
                <a:gd name="T23" fmla="*/ 47 h 57"/>
                <a:gd name="T24" fmla="*/ 48 w 67"/>
                <a:gd name="T25" fmla="*/ 38 h 57"/>
                <a:gd name="T26" fmla="*/ 48 w 67"/>
                <a:gd name="T27" fmla="*/ 38 h 57"/>
                <a:gd name="T28" fmla="*/ 57 w 67"/>
                <a:gd name="T29" fmla="*/ 38 h 57"/>
                <a:gd name="T30" fmla="*/ 57 w 67"/>
                <a:gd name="T31" fmla="*/ 38 h 57"/>
                <a:gd name="T32" fmla="*/ 67 w 67"/>
                <a:gd name="T33" fmla="*/ 28 h 57"/>
                <a:gd name="T34" fmla="*/ 57 w 67"/>
                <a:gd name="T35" fmla="*/ 19 h 57"/>
                <a:gd name="T36" fmla="*/ 57 w 67"/>
                <a:gd name="T37" fmla="*/ 19 h 57"/>
                <a:gd name="T38" fmla="*/ 57 w 67"/>
                <a:gd name="T39" fmla="*/ 9 h 57"/>
                <a:gd name="T40" fmla="*/ 48 w 67"/>
                <a:gd name="T41" fmla="*/ 0 h 57"/>
                <a:gd name="T42" fmla="*/ 48 w 67"/>
                <a:gd name="T43" fmla="*/ 9 h 57"/>
                <a:gd name="T44" fmla="*/ 48 w 67"/>
                <a:gd name="T45" fmla="*/ 9 h 57"/>
                <a:gd name="T46" fmla="*/ 38 w 67"/>
                <a:gd name="T47" fmla="*/ 9 h 57"/>
                <a:gd name="T48" fmla="*/ 38 w 67"/>
                <a:gd name="T49" fmla="*/ 9 h 57"/>
                <a:gd name="T50" fmla="*/ 38 w 67"/>
                <a:gd name="T51" fmla="*/ 19 h 57"/>
                <a:gd name="T52" fmla="*/ 29 w 67"/>
                <a:gd name="T53" fmla="*/ 19 h 57"/>
                <a:gd name="T54" fmla="*/ 29 w 67"/>
                <a:gd name="T55" fmla="*/ 19 h 57"/>
                <a:gd name="T56" fmla="*/ 29 w 67"/>
                <a:gd name="T57" fmla="*/ 28 h 57"/>
                <a:gd name="T58" fmla="*/ 29 w 67"/>
                <a:gd name="T59" fmla="*/ 19 h 57"/>
                <a:gd name="T60" fmla="*/ 19 w 67"/>
                <a:gd name="T61" fmla="*/ 9 h 57"/>
                <a:gd name="T62" fmla="*/ 0 w 67"/>
                <a:gd name="T63" fmla="*/ 28 h 57"/>
                <a:gd name="T64" fmla="*/ 0 w 67"/>
                <a:gd name="T65" fmla="*/ 28 h 57"/>
                <a:gd name="T66" fmla="*/ 0 w 67"/>
                <a:gd name="T67" fmla="*/ 28 h 57"/>
                <a:gd name="T68" fmla="*/ 0 w 67"/>
                <a:gd name="T69" fmla="*/ 38 h 57"/>
                <a:gd name="T70" fmla="*/ 0 w 67"/>
                <a:gd name="T71" fmla="*/ 38 h 57"/>
                <a:gd name="T72" fmla="*/ 0 w 67"/>
                <a:gd name="T73" fmla="*/ 38 h 57"/>
                <a:gd name="T74" fmla="*/ 0 w 67"/>
                <a:gd name="T75" fmla="*/ 28 h 57"/>
                <a:gd name="T76" fmla="*/ 10 w 67"/>
                <a:gd name="T77" fmla="*/ 28 h 57"/>
                <a:gd name="T78" fmla="*/ 10 w 67"/>
                <a:gd name="T79" fmla="*/ 28 h 57"/>
                <a:gd name="T80" fmla="*/ 19 w 67"/>
                <a:gd name="T81" fmla="*/ 28 h 57"/>
                <a:gd name="T82" fmla="*/ 19 w 67"/>
                <a:gd name="T83" fmla="*/ 28 h 57"/>
                <a:gd name="T84" fmla="*/ 29 w 67"/>
                <a:gd name="T85" fmla="*/ 28 h 5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7"/>
                <a:gd name="T130" fmla="*/ 0 h 57"/>
                <a:gd name="T131" fmla="*/ 67 w 67"/>
                <a:gd name="T132" fmla="*/ 57 h 5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7" h="57">
                  <a:moveTo>
                    <a:pt x="29" y="28"/>
                  </a:moveTo>
                  <a:lnTo>
                    <a:pt x="29" y="38"/>
                  </a:lnTo>
                  <a:lnTo>
                    <a:pt x="29" y="47"/>
                  </a:lnTo>
                  <a:lnTo>
                    <a:pt x="38" y="57"/>
                  </a:lnTo>
                  <a:lnTo>
                    <a:pt x="38" y="47"/>
                  </a:lnTo>
                  <a:lnTo>
                    <a:pt x="48" y="47"/>
                  </a:lnTo>
                  <a:lnTo>
                    <a:pt x="38" y="57"/>
                  </a:lnTo>
                  <a:lnTo>
                    <a:pt x="48" y="57"/>
                  </a:lnTo>
                  <a:lnTo>
                    <a:pt x="48" y="47"/>
                  </a:lnTo>
                  <a:lnTo>
                    <a:pt x="48" y="38"/>
                  </a:lnTo>
                  <a:lnTo>
                    <a:pt x="57" y="38"/>
                  </a:lnTo>
                  <a:lnTo>
                    <a:pt x="67" y="28"/>
                  </a:lnTo>
                  <a:lnTo>
                    <a:pt x="57" y="19"/>
                  </a:lnTo>
                  <a:lnTo>
                    <a:pt x="57" y="9"/>
                  </a:lnTo>
                  <a:lnTo>
                    <a:pt x="48" y="0"/>
                  </a:lnTo>
                  <a:lnTo>
                    <a:pt x="48" y="9"/>
                  </a:lnTo>
                  <a:lnTo>
                    <a:pt x="38" y="9"/>
                  </a:lnTo>
                  <a:lnTo>
                    <a:pt x="38" y="19"/>
                  </a:lnTo>
                  <a:lnTo>
                    <a:pt x="29" y="19"/>
                  </a:lnTo>
                  <a:lnTo>
                    <a:pt x="29" y="28"/>
                  </a:lnTo>
                  <a:lnTo>
                    <a:pt x="29" y="19"/>
                  </a:lnTo>
                  <a:lnTo>
                    <a:pt x="19" y="9"/>
                  </a:lnTo>
                  <a:lnTo>
                    <a:pt x="0" y="28"/>
                  </a:lnTo>
                  <a:lnTo>
                    <a:pt x="0" y="38"/>
                  </a:lnTo>
                  <a:lnTo>
                    <a:pt x="0" y="28"/>
                  </a:lnTo>
                  <a:lnTo>
                    <a:pt x="10" y="28"/>
                  </a:lnTo>
                  <a:lnTo>
                    <a:pt x="19" y="28"/>
                  </a:lnTo>
                  <a:lnTo>
                    <a:pt x="29" y="2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11" name="Freeform 88">
              <a:extLst>
                <a:ext uri="{FF2B5EF4-FFF2-40B4-BE49-F238E27FC236}">
                  <a16:creationId xmlns:a16="http://schemas.microsoft.com/office/drawing/2014/main" id="{481BDB9D-3D54-4E8C-84B9-5F75F7E57C94}"/>
                </a:ext>
              </a:extLst>
            </p:cNvPr>
            <p:cNvSpPr>
              <a:spLocks/>
            </p:cNvSpPr>
            <p:nvPr/>
          </p:nvSpPr>
          <p:spPr bwMode="gray">
            <a:xfrm>
              <a:off x="4495" y="2729"/>
              <a:ext cx="67" cy="57"/>
            </a:xfrm>
            <a:custGeom>
              <a:avLst/>
              <a:gdLst>
                <a:gd name="T0" fmla="*/ 29 w 67"/>
                <a:gd name="T1" fmla="*/ 28 h 57"/>
                <a:gd name="T2" fmla="*/ 29 w 67"/>
                <a:gd name="T3" fmla="*/ 38 h 57"/>
                <a:gd name="T4" fmla="*/ 29 w 67"/>
                <a:gd name="T5" fmla="*/ 38 h 57"/>
                <a:gd name="T6" fmla="*/ 29 w 67"/>
                <a:gd name="T7" fmla="*/ 47 h 57"/>
                <a:gd name="T8" fmla="*/ 38 w 67"/>
                <a:gd name="T9" fmla="*/ 57 h 57"/>
                <a:gd name="T10" fmla="*/ 38 w 67"/>
                <a:gd name="T11" fmla="*/ 47 h 57"/>
                <a:gd name="T12" fmla="*/ 48 w 67"/>
                <a:gd name="T13" fmla="*/ 47 h 57"/>
                <a:gd name="T14" fmla="*/ 38 w 67"/>
                <a:gd name="T15" fmla="*/ 57 h 57"/>
                <a:gd name="T16" fmla="*/ 48 w 67"/>
                <a:gd name="T17" fmla="*/ 57 h 57"/>
                <a:gd name="T18" fmla="*/ 48 w 67"/>
                <a:gd name="T19" fmla="*/ 57 h 57"/>
                <a:gd name="T20" fmla="*/ 48 w 67"/>
                <a:gd name="T21" fmla="*/ 47 h 57"/>
                <a:gd name="T22" fmla="*/ 48 w 67"/>
                <a:gd name="T23" fmla="*/ 47 h 57"/>
                <a:gd name="T24" fmla="*/ 48 w 67"/>
                <a:gd name="T25" fmla="*/ 38 h 57"/>
                <a:gd name="T26" fmla="*/ 48 w 67"/>
                <a:gd name="T27" fmla="*/ 38 h 57"/>
                <a:gd name="T28" fmla="*/ 57 w 67"/>
                <a:gd name="T29" fmla="*/ 38 h 57"/>
                <a:gd name="T30" fmla="*/ 57 w 67"/>
                <a:gd name="T31" fmla="*/ 38 h 57"/>
                <a:gd name="T32" fmla="*/ 67 w 67"/>
                <a:gd name="T33" fmla="*/ 28 h 57"/>
                <a:gd name="T34" fmla="*/ 57 w 67"/>
                <a:gd name="T35" fmla="*/ 19 h 57"/>
                <a:gd name="T36" fmla="*/ 57 w 67"/>
                <a:gd name="T37" fmla="*/ 19 h 57"/>
                <a:gd name="T38" fmla="*/ 57 w 67"/>
                <a:gd name="T39" fmla="*/ 9 h 57"/>
                <a:gd name="T40" fmla="*/ 48 w 67"/>
                <a:gd name="T41" fmla="*/ 0 h 57"/>
                <a:gd name="T42" fmla="*/ 48 w 67"/>
                <a:gd name="T43" fmla="*/ 9 h 57"/>
                <a:gd name="T44" fmla="*/ 48 w 67"/>
                <a:gd name="T45" fmla="*/ 9 h 57"/>
                <a:gd name="T46" fmla="*/ 38 w 67"/>
                <a:gd name="T47" fmla="*/ 9 h 57"/>
                <a:gd name="T48" fmla="*/ 38 w 67"/>
                <a:gd name="T49" fmla="*/ 9 h 57"/>
                <a:gd name="T50" fmla="*/ 38 w 67"/>
                <a:gd name="T51" fmla="*/ 19 h 57"/>
                <a:gd name="T52" fmla="*/ 29 w 67"/>
                <a:gd name="T53" fmla="*/ 19 h 57"/>
                <a:gd name="T54" fmla="*/ 29 w 67"/>
                <a:gd name="T55" fmla="*/ 19 h 57"/>
                <a:gd name="T56" fmla="*/ 29 w 67"/>
                <a:gd name="T57" fmla="*/ 28 h 57"/>
                <a:gd name="T58" fmla="*/ 29 w 67"/>
                <a:gd name="T59" fmla="*/ 19 h 57"/>
                <a:gd name="T60" fmla="*/ 19 w 67"/>
                <a:gd name="T61" fmla="*/ 9 h 57"/>
                <a:gd name="T62" fmla="*/ 0 w 67"/>
                <a:gd name="T63" fmla="*/ 28 h 57"/>
                <a:gd name="T64" fmla="*/ 0 w 67"/>
                <a:gd name="T65" fmla="*/ 28 h 57"/>
                <a:gd name="T66" fmla="*/ 0 w 67"/>
                <a:gd name="T67" fmla="*/ 28 h 57"/>
                <a:gd name="T68" fmla="*/ 0 w 67"/>
                <a:gd name="T69" fmla="*/ 38 h 57"/>
                <a:gd name="T70" fmla="*/ 0 w 67"/>
                <a:gd name="T71" fmla="*/ 38 h 57"/>
                <a:gd name="T72" fmla="*/ 0 w 67"/>
                <a:gd name="T73" fmla="*/ 38 h 57"/>
                <a:gd name="T74" fmla="*/ 0 w 67"/>
                <a:gd name="T75" fmla="*/ 28 h 57"/>
                <a:gd name="T76" fmla="*/ 10 w 67"/>
                <a:gd name="T77" fmla="*/ 28 h 57"/>
                <a:gd name="T78" fmla="*/ 10 w 67"/>
                <a:gd name="T79" fmla="*/ 28 h 57"/>
                <a:gd name="T80" fmla="*/ 19 w 67"/>
                <a:gd name="T81" fmla="*/ 28 h 57"/>
                <a:gd name="T82" fmla="*/ 19 w 67"/>
                <a:gd name="T83" fmla="*/ 28 h 57"/>
                <a:gd name="T84" fmla="*/ 29 w 67"/>
                <a:gd name="T85" fmla="*/ 28 h 5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7"/>
                <a:gd name="T130" fmla="*/ 0 h 57"/>
                <a:gd name="T131" fmla="*/ 67 w 67"/>
                <a:gd name="T132" fmla="*/ 57 h 5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7" h="57">
                  <a:moveTo>
                    <a:pt x="29" y="28"/>
                  </a:moveTo>
                  <a:lnTo>
                    <a:pt x="29" y="38"/>
                  </a:lnTo>
                  <a:lnTo>
                    <a:pt x="29" y="47"/>
                  </a:lnTo>
                  <a:lnTo>
                    <a:pt x="38" y="57"/>
                  </a:lnTo>
                  <a:lnTo>
                    <a:pt x="38" y="47"/>
                  </a:lnTo>
                  <a:lnTo>
                    <a:pt x="48" y="47"/>
                  </a:lnTo>
                  <a:lnTo>
                    <a:pt x="38" y="57"/>
                  </a:lnTo>
                  <a:lnTo>
                    <a:pt x="48" y="57"/>
                  </a:lnTo>
                  <a:lnTo>
                    <a:pt x="48" y="47"/>
                  </a:lnTo>
                  <a:lnTo>
                    <a:pt x="48" y="38"/>
                  </a:lnTo>
                  <a:lnTo>
                    <a:pt x="57" y="38"/>
                  </a:lnTo>
                  <a:lnTo>
                    <a:pt x="67" y="28"/>
                  </a:lnTo>
                  <a:lnTo>
                    <a:pt x="57" y="19"/>
                  </a:lnTo>
                  <a:lnTo>
                    <a:pt x="57" y="9"/>
                  </a:lnTo>
                  <a:lnTo>
                    <a:pt x="48" y="0"/>
                  </a:lnTo>
                  <a:lnTo>
                    <a:pt x="48" y="9"/>
                  </a:lnTo>
                  <a:lnTo>
                    <a:pt x="38" y="9"/>
                  </a:lnTo>
                  <a:lnTo>
                    <a:pt x="38" y="19"/>
                  </a:lnTo>
                  <a:lnTo>
                    <a:pt x="29" y="19"/>
                  </a:lnTo>
                  <a:lnTo>
                    <a:pt x="29" y="28"/>
                  </a:lnTo>
                  <a:lnTo>
                    <a:pt x="29" y="19"/>
                  </a:lnTo>
                  <a:lnTo>
                    <a:pt x="19" y="9"/>
                  </a:lnTo>
                  <a:lnTo>
                    <a:pt x="0" y="28"/>
                  </a:lnTo>
                  <a:lnTo>
                    <a:pt x="0" y="38"/>
                  </a:lnTo>
                  <a:lnTo>
                    <a:pt x="0" y="28"/>
                  </a:lnTo>
                  <a:lnTo>
                    <a:pt x="10" y="28"/>
                  </a:lnTo>
                  <a:lnTo>
                    <a:pt x="19" y="28"/>
                  </a:lnTo>
                  <a:lnTo>
                    <a:pt x="29" y="2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12" name="Freeform 89">
              <a:extLst>
                <a:ext uri="{FF2B5EF4-FFF2-40B4-BE49-F238E27FC236}">
                  <a16:creationId xmlns:a16="http://schemas.microsoft.com/office/drawing/2014/main" id="{FAC21D50-9005-45B6-80BB-D29496764DC5}"/>
                </a:ext>
              </a:extLst>
            </p:cNvPr>
            <p:cNvSpPr>
              <a:spLocks/>
            </p:cNvSpPr>
            <p:nvPr/>
          </p:nvSpPr>
          <p:spPr bwMode="gray">
            <a:xfrm>
              <a:off x="4571" y="2843"/>
              <a:ext cx="19" cy="19"/>
            </a:xfrm>
            <a:custGeom>
              <a:avLst/>
              <a:gdLst>
                <a:gd name="T0" fmla="*/ 0 w 19"/>
                <a:gd name="T1" fmla="*/ 10 h 19"/>
                <a:gd name="T2" fmla="*/ 10 w 19"/>
                <a:gd name="T3" fmla="*/ 19 h 19"/>
                <a:gd name="T4" fmla="*/ 10 w 19"/>
                <a:gd name="T5" fmla="*/ 19 h 19"/>
                <a:gd name="T6" fmla="*/ 10 w 19"/>
                <a:gd name="T7" fmla="*/ 19 h 19"/>
                <a:gd name="T8" fmla="*/ 10 w 19"/>
                <a:gd name="T9" fmla="*/ 19 h 19"/>
                <a:gd name="T10" fmla="*/ 10 w 19"/>
                <a:gd name="T11" fmla="*/ 10 h 19"/>
                <a:gd name="T12" fmla="*/ 19 w 19"/>
                <a:gd name="T13" fmla="*/ 10 h 19"/>
                <a:gd name="T14" fmla="*/ 19 w 19"/>
                <a:gd name="T15" fmla="*/ 10 h 19"/>
                <a:gd name="T16" fmla="*/ 10 w 19"/>
                <a:gd name="T17" fmla="*/ 10 h 19"/>
                <a:gd name="T18" fmla="*/ 19 w 19"/>
                <a:gd name="T19" fmla="*/ 0 h 19"/>
                <a:gd name="T20" fmla="*/ 19 w 19"/>
                <a:gd name="T21" fmla="*/ 0 h 19"/>
                <a:gd name="T22" fmla="*/ 19 w 19"/>
                <a:gd name="T23" fmla="*/ 0 h 19"/>
                <a:gd name="T24" fmla="*/ 19 w 19"/>
                <a:gd name="T25" fmla="*/ 0 h 19"/>
                <a:gd name="T26" fmla="*/ 10 w 19"/>
                <a:gd name="T27" fmla="*/ 0 h 19"/>
                <a:gd name="T28" fmla="*/ 0 w 19"/>
                <a:gd name="T29" fmla="*/ 10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19"/>
                <a:gd name="T47" fmla="*/ 19 w 19"/>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19">
                  <a:moveTo>
                    <a:pt x="0" y="10"/>
                  </a:moveTo>
                  <a:lnTo>
                    <a:pt x="10" y="19"/>
                  </a:lnTo>
                  <a:lnTo>
                    <a:pt x="10" y="10"/>
                  </a:lnTo>
                  <a:lnTo>
                    <a:pt x="19" y="10"/>
                  </a:lnTo>
                  <a:lnTo>
                    <a:pt x="10" y="10"/>
                  </a:lnTo>
                  <a:lnTo>
                    <a:pt x="19" y="0"/>
                  </a:lnTo>
                  <a:lnTo>
                    <a:pt x="10" y="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13" name="Freeform 90">
              <a:extLst>
                <a:ext uri="{FF2B5EF4-FFF2-40B4-BE49-F238E27FC236}">
                  <a16:creationId xmlns:a16="http://schemas.microsoft.com/office/drawing/2014/main" id="{79837D32-3DDB-43CD-A882-C90C850221FC}"/>
                </a:ext>
              </a:extLst>
            </p:cNvPr>
            <p:cNvSpPr>
              <a:spLocks/>
            </p:cNvSpPr>
            <p:nvPr/>
          </p:nvSpPr>
          <p:spPr bwMode="gray">
            <a:xfrm>
              <a:off x="4571" y="2843"/>
              <a:ext cx="19" cy="19"/>
            </a:xfrm>
            <a:custGeom>
              <a:avLst/>
              <a:gdLst>
                <a:gd name="T0" fmla="*/ 0 w 19"/>
                <a:gd name="T1" fmla="*/ 10 h 19"/>
                <a:gd name="T2" fmla="*/ 10 w 19"/>
                <a:gd name="T3" fmla="*/ 19 h 19"/>
                <a:gd name="T4" fmla="*/ 10 w 19"/>
                <a:gd name="T5" fmla="*/ 19 h 19"/>
                <a:gd name="T6" fmla="*/ 10 w 19"/>
                <a:gd name="T7" fmla="*/ 19 h 19"/>
                <a:gd name="T8" fmla="*/ 10 w 19"/>
                <a:gd name="T9" fmla="*/ 19 h 19"/>
                <a:gd name="T10" fmla="*/ 10 w 19"/>
                <a:gd name="T11" fmla="*/ 10 h 19"/>
                <a:gd name="T12" fmla="*/ 19 w 19"/>
                <a:gd name="T13" fmla="*/ 10 h 19"/>
                <a:gd name="T14" fmla="*/ 19 w 19"/>
                <a:gd name="T15" fmla="*/ 10 h 19"/>
                <a:gd name="T16" fmla="*/ 10 w 19"/>
                <a:gd name="T17" fmla="*/ 10 h 19"/>
                <a:gd name="T18" fmla="*/ 19 w 19"/>
                <a:gd name="T19" fmla="*/ 0 h 19"/>
                <a:gd name="T20" fmla="*/ 19 w 19"/>
                <a:gd name="T21" fmla="*/ 0 h 19"/>
                <a:gd name="T22" fmla="*/ 19 w 19"/>
                <a:gd name="T23" fmla="*/ 0 h 19"/>
                <a:gd name="T24" fmla="*/ 19 w 19"/>
                <a:gd name="T25" fmla="*/ 0 h 19"/>
                <a:gd name="T26" fmla="*/ 10 w 19"/>
                <a:gd name="T27" fmla="*/ 0 h 19"/>
                <a:gd name="T28" fmla="*/ 0 w 19"/>
                <a:gd name="T29" fmla="*/ 10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19"/>
                <a:gd name="T47" fmla="*/ 19 w 19"/>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19">
                  <a:moveTo>
                    <a:pt x="0" y="10"/>
                  </a:moveTo>
                  <a:lnTo>
                    <a:pt x="10" y="19"/>
                  </a:lnTo>
                  <a:lnTo>
                    <a:pt x="10" y="10"/>
                  </a:lnTo>
                  <a:lnTo>
                    <a:pt x="19" y="10"/>
                  </a:lnTo>
                  <a:lnTo>
                    <a:pt x="10" y="10"/>
                  </a:lnTo>
                  <a:lnTo>
                    <a:pt x="19" y="0"/>
                  </a:lnTo>
                  <a:lnTo>
                    <a:pt x="10" y="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14" name="Freeform 91">
              <a:extLst>
                <a:ext uri="{FF2B5EF4-FFF2-40B4-BE49-F238E27FC236}">
                  <a16:creationId xmlns:a16="http://schemas.microsoft.com/office/drawing/2014/main" id="{41C2FC69-5BA2-401A-B679-BA44CFA4AC6B}"/>
                </a:ext>
              </a:extLst>
            </p:cNvPr>
            <p:cNvSpPr>
              <a:spLocks/>
            </p:cNvSpPr>
            <p:nvPr/>
          </p:nvSpPr>
          <p:spPr bwMode="gray">
            <a:xfrm>
              <a:off x="4552" y="2901"/>
              <a:ext cx="19" cy="9"/>
            </a:xfrm>
            <a:custGeom>
              <a:avLst/>
              <a:gdLst>
                <a:gd name="T0" fmla="*/ 0 w 19"/>
                <a:gd name="T1" fmla="*/ 0 h 9"/>
                <a:gd name="T2" fmla="*/ 0 w 19"/>
                <a:gd name="T3" fmla="*/ 0 h 9"/>
                <a:gd name="T4" fmla="*/ 10 w 19"/>
                <a:gd name="T5" fmla="*/ 0 h 9"/>
                <a:gd name="T6" fmla="*/ 19 w 19"/>
                <a:gd name="T7" fmla="*/ 0 h 9"/>
                <a:gd name="T8" fmla="*/ 10 w 19"/>
                <a:gd name="T9" fmla="*/ 9 h 9"/>
                <a:gd name="T10" fmla="*/ 10 w 19"/>
                <a:gd name="T11" fmla="*/ 9 h 9"/>
                <a:gd name="T12" fmla="*/ 0 w 19"/>
                <a:gd name="T13" fmla="*/ 0 h 9"/>
                <a:gd name="T14" fmla="*/ 0 60000 65536"/>
                <a:gd name="T15" fmla="*/ 0 60000 65536"/>
                <a:gd name="T16" fmla="*/ 0 60000 65536"/>
                <a:gd name="T17" fmla="*/ 0 60000 65536"/>
                <a:gd name="T18" fmla="*/ 0 60000 65536"/>
                <a:gd name="T19" fmla="*/ 0 60000 65536"/>
                <a:gd name="T20" fmla="*/ 0 60000 65536"/>
                <a:gd name="T21" fmla="*/ 0 w 19"/>
                <a:gd name="T22" fmla="*/ 0 h 9"/>
                <a:gd name="T23" fmla="*/ 19 w 1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9">
                  <a:moveTo>
                    <a:pt x="0" y="0"/>
                  </a:moveTo>
                  <a:lnTo>
                    <a:pt x="0" y="0"/>
                  </a:lnTo>
                  <a:lnTo>
                    <a:pt x="10" y="0"/>
                  </a:lnTo>
                  <a:lnTo>
                    <a:pt x="19" y="0"/>
                  </a:lnTo>
                  <a:lnTo>
                    <a:pt x="10"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15" name="Freeform 92">
              <a:extLst>
                <a:ext uri="{FF2B5EF4-FFF2-40B4-BE49-F238E27FC236}">
                  <a16:creationId xmlns:a16="http://schemas.microsoft.com/office/drawing/2014/main" id="{BA27828B-C5CB-4815-BACA-CBD15533E0F8}"/>
                </a:ext>
              </a:extLst>
            </p:cNvPr>
            <p:cNvSpPr>
              <a:spLocks/>
            </p:cNvSpPr>
            <p:nvPr/>
          </p:nvSpPr>
          <p:spPr bwMode="gray">
            <a:xfrm>
              <a:off x="4552" y="2901"/>
              <a:ext cx="19" cy="9"/>
            </a:xfrm>
            <a:custGeom>
              <a:avLst/>
              <a:gdLst>
                <a:gd name="T0" fmla="*/ 0 w 19"/>
                <a:gd name="T1" fmla="*/ 0 h 9"/>
                <a:gd name="T2" fmla="*/ 0 w 19"/>
                <a:gd name="T3" fmla="*/ 0 h 9"/>
                <a:gd name="T4" fmla="*/ 10 w 19"/>
                <a:gd name="T5" fmla="*/ 0 h 9"/>
                <a:gd name="T6" fmla="*/ 19 w 19"/>
                <a:gd name="T7" fmla="*/ 0 h 9"/>
                <a:gd name="T8" fmla="*/ 10 w 19"/>
                <a:gd name="T9" fmla="*/ 9 h 9"/>
                <a:gd name="T10" fmla="*/ 10 w 19"/>
                <a:gd name="T11" fmla="*/ 9 h 9"/>
                <a:gd name="T12" fmla="*/ 0 w 19"/>
                <a:gd name="T13" fmla="*/ 0 h 9"/>
                <a:gd name="T14" fmla="*/ 0 60000 65536"/>
                <a:gd name="T15" fmla="*/ 0 60000 65536"/>
                <a:gd name="T16" fmla="*/ 0 60000 65536"/>
                <a:gd name="T17" fmla="*/ 0 60000 65536"/>
                <a:gd name="T18" fmla="*/ 0 60000 65536"/>
                <a:gd name="T19" fmla="*/ 0 60000 65536"/>
                <a:gd name="T20" fmla="*/ 0 60000 65536"/>
                <a:gd name="T21" fmla="*/ 0 w 19"/>
                <a:gd name="T22" fmla="*/ 0 h 9"/>
                <a:gd name="T23" fmla="*/ 19 w 1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9">
                  <a:moveTo>
                    <a:pt x="0" y="0"/>
                  </a:moveTo>
                  <a:lnTo>
                    <a:pt x="0" y="0"/>
                  </a:lnTo>
                  <a:lnTo>
                    <a:pt x="10" y="0"/>
                  </a:lnTo>
                  <a:lnTo>
                    <a:pt x="19" y="0"/>
                  </a:lnTo>
                  <a:lnTo>
                    <a:pt x="10"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16" name="Freeform 93">
              <a:extLst>
                <a:ext uri="{FF2B5EF4-FFF2-40B4-BE49-F238E27FC236}">
                  <a16:creationId xmlns:a16="http://schemas.microsoft.com/office/drawing/2014/main" id="{BB37A228-2E85-4B4B-912A-7FB48ACE05DA}"/>
                </a:ext>
              </a:extLst>
            </p:cNvPr>
            <p:cNvSpPr>
              <a:spLocks/>
            </p:cNvSpPr>
            <p:nvPr/>
          </p:nvSpPr>
          <p:spPr bwMode="gray">
            <a:xfrm>
              <a:off x="4581" y="2901"/>
              <a:ext cx="48" cy="9"/>
            </a:xfrm>
            <a:custGeom>
              <a:avLst/>
              <a:gdLst>
                <a:gd name="T0" fmla="*/ 0 w 48"/>
                <a:gd name="T1" fmla="*/ 0 h 9"/>
                <a:gd name="T2" fmla="*/ 9 w 48"/>
                <a:gd name="T3" fmla="*/ 0 h 9"/>
                <a:gd name="T4" fmla="*/ 28 w 48"/>
                <a:gd name="T5" fmla="*/ 0 h 9"/>
                <a:gd name="T6" fmla="*/ 28 w 48"/>
                <a:gd name="T7" fmla="*/ 0 h 9"/>
                <a:gd name="T8" fmla="*/ 38 w 48"/>
                <a:gd name="T9" fmla="*/ 0 h 9"/>
                <a:gd name="T10" fmla="*/ 48 w 48"/>
                <a:gd name="T11" fmla="*/ 0 h 9"/>
                <a:gd name="T12" fmla="*/ 48 w 48"/>
                <a:gd name="T13" fmla="*/ 9 h 9"/>
                <a:gd name="T14" fmla="*/ 38 w 48"/>
                <a:gd name="T15" fmla="*/ 9 h 9"/>
                <a:gd name="T16" fmla="*/ 28 w 48"/>
                <a:gd name="T17" fmla="*/ 0 h 9"/>
                <a:gd name="T18" fmla="*/ 19 w 48"/>
                <a:gd name="T19" fmla="*/ 0 h 9"/>
                <a:gd name="T20" fmla="*/ 9 w 48"/>
                <a:gd name="T21" fmla="*/ 0 h 9"/>
                <a:gd name="T22" fmla="*/ 0 w 48"/>
                <a:gd name="T23" fmla="*/ 9 h 9"/>
                <a:gd name="T24" fmla="*/ 0 w 48"/>
                <a:gd name="T25" fmla="*/ 0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
                <a:gd name="T40" fmla="*/ 0 h 9"/>
                <a:gd name="T41" fmla="*/ 48 w 48"/>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 h="9">
                  <a:moveTo>
                    <a:pt x="0" y="0"/>
                  </a:moveTo>
                  <a:lnTo>
                    <a:pt x="9" y="0"/>
                  </a:lnTo>
                  <a:lnTo>
                    <a:pt x="28" y="0"/>
                  </a:lnTo>
                  <a:lnTo>
                    <a:pt x="38" y="0"/>
                  </a:lnTo>
                  <a:lnTo>
                    <a:pt x="48" y="0"/>
                  </a:lnTo>
                  <a:lnTo>
                    <a:pt x="48" y="9"/>
                  </a:lnTo>
                  <a:lnTo>
                    <a:pt x="38" y="9"/>
                  </a:lnTo>
                  <a:lnTo>
                    <a:pt x="28" y="0"/>
                  </a:lnTo>
                  <a:lnTo>
                    <a:pt x="19" y="0"/>
                  </a:lnTo>
                  <a:lnTo>
                    <a:pt x="9" y="0"/>
                  </a:lnTo>
                  <a:lnTo>
                    <a:pt x="0"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17" name="Freeform 94">
              <a:extLst>
                <a:ext uri="{FF2B5EF4-FFF2-40B4-BE49-F238E27FC236}">
                  <a16:creationId xmlns:a16="http://schemas.microsoft.com/office/drawing/2014/main" id="{AF378A2B-3523-400F-A491-67875B443272}"/>
                </a:ext>
              </a:extLst>
            </p:cNvPr>
            <p:cNvSpPr>
              <a:spLocks/>
            </p:cNvSpPr>
            <p:nvPr/>
          </p:nvSpPr>
          <p:spPr bwMode="gray">
            <a:xfrm>
              <a:off x="4581" y="2901"/>
              <a:ext cx="48" cy="9"/>
            </a:xfrm>
            <a:custGeom>
              <a:avLst/>
              <a:gdLst>
                <a:gd name="T0" fmla="*/ 0 w 48"/>
                <a:gd name="T1" fmla="*/ 0 h 9"/>
                <a:gd name="T2" fmla="*/ 9 w 48"/>
                <a:gd name="T3" fmla="*/ 0 h 9"/>
                <a:gd name="T4" fmla="*/ 28 w 48"/>
                <a:gd name="T5" fmla="*/ 0 h 9"/>
                <a:gd name="T6" fmla="*/ 28 w 48"/>
                <a:gd name="T7" fmla="*/ 0 h 9"/>
                <a:gd name="T8" fmla="*/ 38 w 48"/>
                <a:gd name="T9" fmla="*/ 0 h 9"/>
                <a:gd name="T10" fmla="*/ 48 w 48"/>
                <a:gd name="T11" fmla="*/ 0 h 9"/>
                <a:gd name="T12" fmla="*/ 48 w 48"/>
                <a:gd name="T13" fmla="*/ 9 h 9"/>
                <a:gd name="T14" fmla="*/ 38 w 48"/>
                <a:gd name="T15" fmla="*/ 9 h 9"/>
                <a:gd name="T16" fmla="*/ 28 w 48"/>
                <a:gd name="T17" fmla="*/ 0 h 9"/>
                <a:gd name="T18" fmla="*/ 19 w 48"/>
                <a:gd name="T19" fmla="*/ 0 h 9"/>
                <a:gd name="T20" fmla="*/ 9 w 48"/>
                <a:gd name="T21" fmla="*/ 0 h 9"/>
                <a:gd name="T22" fmla="*/ 0 w 48"/>
                <a:gd name="T23" fmla="*/ 9 h 9"/>
                <a:gd name="T24" fmla="*/ 0 w 48"/>
                <a:gd name="T25" fmla="*/ 0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
                <a:gd name="T40" fmla="*/ 0 h 9"/>
                <a:gd name="T41" fmla="*/ 48 w 48"/>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 h="9">
                  <a:moveTo>
                    <a:pt x="0" y="0"/>
                  </a:moveTo>
                  <a:lnTo>
                    <a:pt x="9" y="0"/>
                  </a:lnTo>
                  <a:lnTo>
                    <a:pt x="28" y="0"/>
                  </a:lnTo>
                  <a:lnTo>
                    <a:pt x="38" y="0"/>
                  </a:lnTo>
                  <a:lnTo>
                    <a:pt x="48" y="0"/>
                  </a:lnTo>
                  <a:lnTo>
                    <a:pt x="48" y="9"/>
                  </a:lnTo>
                  <a:lnTo>
                    <a:pt x="38" y="9"/>
                  </a:lnTo>
                  <a:lnTo>
                    <a:pt x="28" y="0"/>
                  </a:lnTo>
                  <a:lnTo>
                    <a:pt x="19" y="0"/>
                  </a:lnTo>
                  <a:lnTo>
                    <a:pt x="9" y="0"/>
                  </a:lnTo>
                  <a:lnTo>
                    <a:pt x="0"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18" name="Freeform 95">
              <a:extLst>
                <a:ext uri="{FF2B5EF4-FFF2-40B4-BE49-F238E27FC236}">
                  <a16:creationId xmlns:a16="http://schemas.microsoft.com/office/drawing/2014/main" id="{7192ED3C-6748-4541-A2F1-DF71C29038ED}"/>
                </a:ext>
              </a:extLst>
            </p:cNvPr>
            <p:cNvSpPr>
              <a:spLocks/>
            </p:cNvSpPr>
            <p:nvPr/>
          </p:nvSpPr>
          <p:spPr bwMode="gray">
            <a:xfrm>
              <a:off x="4524" y="2881"/>
              <a:ext cx="28" cy="10"/>
            </a:xfrm>
            <a:custGeom>
              <a:avLst/>
              <a:gdLst>
                <a:gd name="T0" fmla="*/ 9 w 28"/>
                <a:gd name="T1" fmla="*/ 10 h 10"/>
                <a:gd name="T2" fmla="*/ 0 w 28"/>
                <a:gd name="T3" fmla="*/ 0 h 10"/>
                <a:gd name="T4" fmla="*/ 0 w 28"/>
                <a:gd name="T5" fmla="*/ 0 h 10"/>
                <a:gd name="T6" fmla="*/ 9 w 28"/>
                <a:gd name="T7" fmla="*/ 0 h 10"/>
                <a:gd name="T8" fmla="*/ 9 w 28"/>
                <a:gd name="T9" fmla="*/ 0 h 10"/>
                <a:gd name="T10" fmla="*/ 9 w 28"/>
                <a:gd name="T11" fmla="*/ 0 h 10"/>
                <a:gd name="T12" fmla="*/ 28 w 28"/>
                <a:gd name="T13" fmla="*/ 0 h 10"/>
                <a:gd name="T14" fmla="*/ 28 w 28"/>
                <a:gd name="T15" fmla="*/ 10 h 10"/>
                <a:gd name="T16" fmla="*/ 9 w 28"/>
                <a:gd name="T17" fmla="*/ 1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10"/>
                <a:gd name="T29" fmla="*/ 28 w 28"/>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10">
                  <a:moveTo>
                    <a:pt x="9" y="10"/>
                  </a:moveTo>
                  <a:lnTo>
                    <a:pt x="0" y="0"/>
                  </a:lnTo>
                  <a:lnTo>
                    <a:pt x="9" y="0"/>
                  </a:lnTo>
                  <a:lnTo>
                    <a:pt x="28" y="0"/>
                  </a:lnTo>
                  <a:lnTo>
                    <a:pt x="28" y="10"/>
                  </a:lnTo>
                  <a:lnTo>
                    <a:pt x="9"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19" name="Freeform 96">
              <a:extLst>
                <a:ext uri="{FF2B5EF4-FFF2-40B4-BE49-F238E27FC236}">
                  <a16:creationId xmlns:a16="http://schemas.microsoft.com/office/drawing/2014/main" id="{017494A5-092F-433F-B967-9E5F83BCC723}"/>
                </a:ext>
              </a:extLst>
            </p:cNvPr>
            <p:cNvSpPr>
              <a:spLocks/>
            </p:cNvSpPr>
            <p:nvPr/>
          </p:nvSpPr>
          <p:spPr bwMode="gray">
            <a:xfrm>
              <a:off x="4524" y="2881"/>
              <a:ext cx="28" cy="10"/>
            </a:xfrm>
            <a:custGeom>
              <a:avLst/>
              <a:gdLst>
                <a:gd name="T0" fmla="*/ 9 w 28"/>
                <a:gd name="T1" fmla="*/ 10 h 10"/>
                <a:gd name="T2" fmla="*/ 0 w 28"/>
                <a:gd name="T3" fmla="*/ 0 h 10"/>
                <a:gd name="T4" fmla="*/ 0 w 28"/>
                <a:gd name="T5" fmla="*/ 0 h 10"/>
                <a:gd name="T6" fmla="*/ 9 w 28"/>
                <a:gd name="T7" fmla="*/ 0 h 10"/>
                <a:gd name="T8" fmla="*/ 9 w 28"/>
                <a:gd name="T9" fmla="*/ 0 h 10"/>
                <a:gd name="T10" fmla="*/ 9 w 28"/>
                <a:gd name="T11" fmla="*/ 0 h 10"/>
                <a:gd name="T12" fmla="*/ 28 w 28"/>
                <a:gd name="T13" fmla="*/ 0 h 10"/>
                <a:gd name="T14" fmla="*/ 28 w 28"/>
                <a:gd name="T15" fmla="*/ 10 h 10"/>
                <a:gd name="T16" fmla="*/ 9 w 28"/>
                <a:gd name="T17" fmla="*/ 1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10"/>
                <a:gd name="T29" fmla="*/ 28 w 28"/>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10">
                  <a:moveTo>
                    <a:pt x="9" y="10"/>
                  </a:moveTo>
                  <a:lnTo>
                    <a:pt x="0" y="0"/>
                  </a:lnTo>
                  <a:lnTo>
                    <a:pt x="9" y="0"/>
                  </a:lnTo>
                  <a:lnTo>
                    <a:pt x="28" y="0"/>
                  </a:lnTo>
                  <a:lnTo>
                    <a:pt x="28" y="10"/>
                  </a:lnTo>
                  <a:lnTo>
                    <a:pt x="9"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20" name="Freeform 97">
              <a:extLst>
                <a:ext uri="{FF2B5EF4-FFF2-40B4-BE49-F238E27FC236}">
                  <a16:creationId xmlns:a16="http://schemas.microsoft.com/office/drawing/2014/main" id="{19A9728F-8667-4806-948B-B65B4BA8104B}"/>
                </a:ext>
              </a:extLst>
            </p:cNvPr>
            <p:cNvSpPr>
              <a:spLocks/>
            </p:cNvSpPr>
            <p:nvPr/>
          </p:nvSpPr>
          <p:spPr bwMode="gray">
            <a:xfrm>
              <a:off x="4772" y="2891"/>
              <a:ext cx="142" cy="115"/>
            </a:xfrm>
            <a:custGeom>
              <a:avLst/>
              <a:gdLst>
                <a:gd name="T0" fmla="*/ 0 w 142"/>
                <a:gd name="T1" fmla="*/ 0 h 115"/>
                <a:gd name="T2" fmla="*/ 9 w 142"/>
                <a:gd name="T3" fmla="*/ 10 h 115"/>
                <a:gd name="T4" fmla="*/ 38 w 142"/>
                <a:gd name="T5" fmla="*/ 19 h 115"/>
                <a:gd name="T6" fmla="*/ 47 w 142"/>
                <a:gd name="T7" fmla="*/ 19 h 115"/>
                <a:gd name="T8" fmla="*/ 57 w 142"/>
                <a:gd name="T9" fmla="*/ 29 h 115"/>
                <a:gd name="T10" fmla="*/ 66 w 142"/>
                <a:gd name="T11" fmla="*/ 29 h 115"/>
                <a:gd name="T12" fmla="*/ 66 w 142"/>
                <a:gd name="T13" fmla="*/ 48 h 115"/>
                <a:gd name="T14" fmla="*/ 95 w 142"/>
                <a:gd name="T15" fmla="*/ 48 h 115"/>
                <a:gd name="T16" fmla="*/ 95 w 142"/>
                <a:gd name="T17" fmla="*/ 57 h 115"/>
                <a:gd name="T18" fmla="*/ 95 w 142"/>
                <a:gd name="T19" fmla="*/ 57 h 115"/>
                <a:gd name="T20" fmla="*/ 85 w 142"/>
                <a:gd name="T21" fmla="*/ 57 h 115"/>
                <a:gd name="T22" fmla="*/ 85 w 142"/>
                <a:gd name="T23" fmla="*/ 67 h 115"/>
                <a:gd name="T24" fmla="*/ 95 w 142"/>
                <a:gd name="T25" fmla="*/ 76 h 115"/>
                <a:gd name="T26" fmla="*/ 104 w 142"/>
                <a:gd name="T27" fmla="*/ 76 h 115"/>
                <a:gd name="T28" fmla="*/ 104 w 142"/>
                <a:gd name="T29" fmla="*/ 86 h 115"/>
                <a:gd name="T30" fmla="*/ 114 w 142"/>
                <a:gd name="T31" fmla="*/ 95 h 115"/>
                <a:gd name="T32" fmla="*/ 123 w 142"/>
                <a:gd name="T33" fmla="*/ 95 h 115"/>
                <a:gd name="T34" fmla="*/ 142 w 142"/>
                <a:gd name="T35" fmla="*/ 105 h 115"/>
                <a:gd name="T36" fmla="*/ 142 w 142"/>
                <a:gd name="T37" fmla="*/ 115 h 115"/>
                <a:gd name="T38" fmla="*/ 133 w 142"/>
                <a:gd name="T39" fmla="*/ 115 h 115"/>
                <a:gd name="T40" fmla="*/ 123 w 142"/>
                <a:gd name="T41" fmla="*/ 105 h 115"/>
                <a:gd name="T42" fmla="*/ 114 w 142"/>
                <a:gd name="T43" fmla="*/ 105 h 115"/>
                <a:gd name="T44" fmla="*/ 95 w 142"/>
                <a:gd name="T45" fmla="*/ 105 h 115"/>
                <a:gd name="T46" fmla="*/ 95 w 142"/>
                <a:gd name="T47" fmla="*/ 105 h 115"/>
                <a:gd name="T48" fmla="*/ 85 w 142"/>
                <a:gd name="T49" fmla="*/ 95 h 115"/>
                <a:gd name="T50" fmla="*/ 85 w 142"/>
                <a:gd name="T51" fmla="*/ 86 h 115"/>
                <a:gd name="T52" fmla="*/ 76 w 142"/>
                <a:gd name="T53" fmla="*/ 76 h 115"/>
                <a:gd name="T54" fmla="*/ 66 w 142"/>
                <a:gd name="T55" fmla="*/ 76 h 115"/>
                <a:gd name="T56" fmla="*/ 47 w 142"/>
                <a:gd name="T57" fmla="*/ 76 h 115"/>
                <a:gd name="T58" fmla="*/ 38 w 142"/>
                <a:gd name="T59" fmla="*/ 76 h 115"/>
                <a:gd name="T60" fmla="*/ 47 w 142"/>
                <a:gd name="T61" fmla="*/ 76 h 115"/>
                <a:gd name="T62" fmla="*/ 28 w 142"/>
                <a:gd name="T63" fmla="*/ 76 h 115"/>
                <a:gd name="T64" fmla="*/ 28 w 142"/>
                <a:gd name="T65" fmla="*/ 86 h 115"/>
                <a:gd name="T66" fmla="*/ 38 w 142"/>
                <a:gd name="T67" fmla="*/ 86 h 115"/>
                <a:gd name="T68" fmla="*/ 28 w 142"/>
                <a:gd name="T69" fmla="*/ 95 h 115"/>
                <a:gd name="T70" fmla="*/ 0 w 142"/>
                <a:gd name="T71" fmla="*/ 95 h 115"/>
                <a:gd name="T72" fmla="*/ 0 w 142"/>
                <a:gd name="T73" fmla="*/ 67 h 115"/>
                <a:gd name="T74" fmla="*/ 0 w 142"/>
                <a:gd name="T75" fmla="*/ 57 h 115"/>
                <a:gd name="T76" fmla="*/ 0 w 142"/>
                <a:gd name="T77" fmla="*/ 57 h 115"/>
                <a:gd name="T78" fmla="*/ 0 w 142"/>
                <a:gd name="T79" fmla="*/ 48 h 115"/>
                <a:gd name="T80" fmla="*/ 0 w 142"/>
                <a:gd name="T81" fmla="*/ 0 h 11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2"/>
                <a:gd name="T124" fmla="*/ 0 h 115"/>
                <a:gd name="T125" fmla="*/ 142 w 142"/>
                <a:gd name="T126" fmla="*/ 115 h 11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2" h="115">
                  <a:moveTo>
                    <a:pt x="0" y="0"/>
                  </a:moveTo>
                  <a:lnTo>
                    <a:pt x="9" y="10"/>
                  </a:lnTo>
                  <a:lnTo>
                    <a:pt x="38" y="19"/>
                  </a:lnTo>
                  <a:lnTo>
                    <a:pt x="47" y="19"/>
                  </a:lnTo>
                  <a:lnTo>
                    <a:pt x="57" y="29"/>
                  </a:lnTo>
                  <a:lnTo>
                    <a:pt x="66" y="29"/>
                  </a:lnTo>
                  <a:lnTo>
                    <a:pt x="66" y="48"/>
                  </a:lnTo>
                  <a:lnTo>
                    <a:pt x="95" y="48"/>
                  </a:lnTo>
                  <a:lnTo>
                    <a:pt x="95" y="57"/>
                  </a:lnTo>
                  <a:lnTo>
                    <a:pt x="85" y="57"/>
                  </a:lnTo>
                  <a:lnTo>
                    <a:pt x="85" y="67"/>
                  </a:lnTo>
                  <a:lnTo>
                    <a:pt x="95" y="76"/>
                  </a:lnTo>
                  <a:lnTo>
                    <a:pt x="104" y="76"/>
                  </a:lnTo>
                  <a:lnTo>
                    <a:pt x="104" y="86"/>
                  </a:lnTo>
                  <a:lnTo>
                    <a:pt x="114" y="95"/>
                  </a:lnTo>
                  <a:lnTo>
                    <a:pt x="123" y="95"/>
                  </a:lnTo>
                  <a:lnTo>
                    <a:pt x="142" y="105"/>
                  </a:lnTo>
                  <a:lnTo>
                    <a:pt x="142" y="115"/>
                  </a:lnTo>
                  <a:lnTo>
                    <a:pt x="133" y="115"/>
                  </a:lnTo>
                  <a:lnTo>
                    <a:pt x="123" y="105"/>
                  </a:lnTo>
                  <a:lnTo>
                    <a:pt x="114" y="105"/>
                  </a:lnTo>
                  <a:lnTo>
                    <a:pt x="95" y="105"/>
                  </a:lnTo>
                  <a:lnTo>
                    <a:pt x="85" y="95"/>
                  </a:lnTo>
                  <a:lnTo>
                    <a:pt x="85" y="86"/>
                  </a:lnTo>
                  <a:lnTo>
                    <a:pt x="76" y="76"/>
                  </a:lnTo>
                  <a:lnTo>
                    <a:pt x="66" y="76"/>
                  </a:lnTo>
                  <a:lnTo>
                    <a:pt x="47" y="76"/>
                  </a:lnTo>
                  <a:lnTo>
                    <a:pt x="38" y="76"/>
                  </a:lnTo>
                  <a:lnTo>
                    <a:pt x="47" y="76"/>
                  </a:lnTo>
                  <a:lnTo>
                    <a:pt x="28" y="76"/>
                  </a:lnTo>
                  <a:lnTo>
                    <a:pt x="28" y="86"/>
                  </a:lnTo>
                  <a:lnTo>
                    <a:pt x="38" y="86"/>
                  </a:lnTo>
                  <a:lnTo>
                    <a:pt x="28" y="95"/>
                  </a:lnTo>
                  <a:lnTo>
                    <a:pt x="0" y="95"/>
                  </a:lnTo>
                  <a:lnTo>
                    <a:pt x="0" y="67"/>
                  </a:lnTo>
                  <a:lnTo>
                    <a:pt x="0" y="57"/>
                  </a:lnTo>
                  <a:lnTo>
                    <a:pt x="0" y="48"/>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21" name="Freeform 98">
              <a:extLst>
                <a:ext uri="{FF2B5EF4-FFF2-40B4-BE49-F238E27FC236}">
                  <a16:creationId xmlns:a16="http://schemas.microsoft.com/office/drawing/2014/main" id="{2B71B95B-295E-4A6D-87F3-B19F0E5A2CFE}"/>
                </a:ext>
              </a:extLst>
            </p:cNvPr>
            <p:cNvSpPr>
              <a:spLocks/>
            </p:cNvSpPr>
            <p:nvPr/>
          </p:nvSpPr>
          <p:spPr bwMode="gray">
            <a:xfrm>
              <a:off x="4772" y="2891"/>
              <a:ext cx="142" cy="115"/>
            </a:xfrm>
            <a:custGeom>
              <a:avLst/>
              <a:gdLst>
                <a:gd name="T0" fmla="*/ 0 w 142"/>
                <a:gd name="T1" fmla="*/ 0 h 115"/>
                <a:gd name="T2" fmla="*/ 9 w 142"/>
                <a:gd name="T3" fmla="*/ 10 h 115"/>
                <a:gd name="T4" fmla="*/ 38 w 142"/>
                <a:gd name="T5" fmla="*/ 19 h 115"/>
                <a:gd name="T6" fmla="*/ 47 w 142"/>
                <a:gd name="T7" fmla="*/ 19 h 115"/>
                <a:gd name="T8" fmla="*/ 57 w 142"/>
                <a:gd name="T9" fmla="*/ 29 h 115"/>
                <a:gd name="T10" fmla="*/ 66 w 142"/>
                <a:gd name="T11" fmla="*/ 29 h 115"/>
                <a:gd name="T12" fmla="*/ 66 w 142"/>
                <a:gd name="T13" fmla="*/ 48 h 115"/>
                <a:gd name="T14" fmla="*/ 95 w 142"/>
                <a:gd name="T15" fmla="*/ 48 h 115"/>
                <a:gd name="T16" fmla="*/ 95 w 142"/>
                <a:gd name="T17" fmla="*/ 57 h 115"/>
                <a:gd name="T18" fmla="*/ 95 w 142"/>
                <a:gd name="T19" fmla="*/ 57 h 115"/>
                <a:gd name="T20" fmla="*/ 85 w 142"/>
                <a:gd name="T21" fmla="*/ 57 h 115"/>
                <a:gd name="T22" fmla="*/ 85 w 142"/>
                <a:gd name="T23" fmla="*/ 67 h 115"/>
                <a:gd name="T24" fmla="*/ 95 w 142"/>
                <a:gd name="T25" fmla="*/ 76 h 115"/>
                <a:gd name="T26" fmla="*/ 104 w 142"/>
                <a:gd name="T27" fmla="*/ 76 h 115"/>
                <a:gd name="T28" fmla="*/ 104 w 142"/>
                <a:gd name="T29" fmla="*/ 86 h 115"/>
                <a:gd name="T30" fmla="*/ 114 w 142"/>
                <a:gd name="T31" fmla="*/ 95 h 115"/>
                <a:gd name="T32" fmla="*/ 123 w 142"/>
                <a:gd name="T33" fmla="*/ 95 h 115"/>
                <a:gd name="T34" fmla="*/ 142 w 142"/>
                <a:gd name="T35" fmla="*/ 105 h 115"/>
                <a:gd name="T36" fmla="*/ 142 w 142"/>
                <a:gd name="T37" fmla="*/ 115 h 115"/>
                <a:gd name="T38" fmla="*/ 133 w 142"/>
                <a:gd name="T39" fmla="*/ 115 h 115"/>
                <a:gd name="T40" fmla="*/ 123 w 142"/>
                <a:gd name="T41" fmla="*/ 105 h 115"/>
                <a:gd name="T42" fmla="*/ 114 w 142"/>
                <a:gd name="T43" fmla="*/ 105 h 115"/>
                <a:gd name="T44" fmla="*/ 95 w 142"/>
                <a:gd name="T45" fmla="*/ 105 h 115"/>
                <a:gd name="T46" fmla="*/ 95 w 142"/>
                <a:gd name="T47" fmla="*/ 105 h 115"/>
                <a:gd name="T48" fmla="*/ 85 w 142"/>
                <a:gd name="T49" fmla="*/ 95 h 115"/>
                <a:gd name="T50" fmla="*/ 85 w 142"/>
                <a:gd name="T51" fmla="*/ 86 h 115"/>
                <a:gd name="T52" fmla="*/ 76 w 142"/>
                <a:gd name="T53" fmla="*/ 76 h 115"/>
                <a:gd name="T54" fmla="*/ 66 w 142"/>
                <a:gd name="T55" fmla="*/ 76 h 115"/>
                <a:gd name="T56" fmla="*/ 47 w 142"/>
                <a:gd name="T57" fmla="*/ 76 h 115"/>
                <a:gd name="T58" fmla="*/ 38 w 142"/>
                <a:gd name="T59" fmla="*/ 76 h 115"/>
                <a:gd name="T60" fmla="*/ 47 w 142"/>
                <a:gd name="T61" fmla="*/ 76 h 115"/>
                <a:gd name="T62" fmla="*/ 28 w 142"/>
                <a:gd name="T63" fmla="*/ 76 h 115"/>
                <a:gd name="T64" fmla="*/ 28 w 142"/>
                <a:gd name="T65" fmla="*/ 86 h 115"/>
                <a:gd name="T66" fmla="*/ 38 w 142"/>
                <a:gd name="T67" fmla="*/ 86 h 115"/>
                <a:gd name="T68" fmla="*/ 28 w 142"/>
                <a:gd name="T69" fmla="*/ 95 h 115"/>
                <a:gd name="T70" fmla="*/ 0 w 142"/>
                <a:gd name="T71" fmla="*/ 95 h 115"/>
                <a:gd name="T72" fmla="*/ 0 w 142"/>
                <a:gd name="T73" fmla="*/ 67 h 115"/>
                <a:gd name="T74" fmla="*/ 0 w 142"/>
                <a:gd name="T75" fmla="*/ 57 h 115"/>
                <a:gd name="T76" fmla="*/ 0 w 142"/>
                <a:gd name="T77" fmla="*/ 57 h 115"/>
                <a:gd name="T78" fmla="*/ 0 w 142"/>
                <a:gd name="T79" fmla="*/ 48 h 115"/>
                <a:gd name="T80" fmla="*/ 0 w 142"/>
                <a:gd name="T81" fmla="*/ 0 h 11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2"/>
                <a:gd name="T124" fmla="*/ 0 h 115"/>
                <a:gd name="T125" fmla="*/ 142 w 142"/>
                <a:gd name="T126" fmla="*/ 115 h 11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2" h="115">
                  <a:moveTo>
                    <a:pt x="0" y="0"/>
                  </a:moveTo>
                  <a:lnTo>
                    <a:pt x="9" y="10"/>
                  </a:lnTo>
                  <a:lnTo>
                    <a:pt x="38" y="19"/>
                  </a:lnTo>
                  <a:lnTo>
                    <a:pt x="47" y="19"/>
                  </a:lnTo>
                  <a:lnTo>
                    <a:pt x="57" y="29"/>
                  </a:lnTo>
                  <a:lnTo>
                    <a:pt x="66" y="29"/>
                  </a:lnTo>
                  <a:lnTo>
                    <a:pt x="66" y="48"/>
                  </a:lnTo>
                  <a:lnTo>
                    <a:pt x="95" y="48"/>
                  </a:lnTo>
                  <a:lnTo>
                    <a:pt x="95" y="57"/>
                  </a:lnTo>
                  <a:lnTo>
                    <a:pt x="85" y="57"/>
                  </a:lnTo>
                  <a:lnTo>
                    <a:pt x="85" y="67"/>
                  </a:lnTo>
                  <a:lnTo>
                    <a:pt x="95" y="76"/>
                  </a:lnTo>
                  <a:lnTo>
                    <a:pt x="104" y="76"/>
                  </a:lnTo>
                  <a:lnTo>
                    <a:pt x="104" y="86"/>
                  </a:lnTo>
                  <a:lnTo>
                    <a:pt x="114" y="95"/>
                  </a:lnTo>
                  <a:lnTo>
                    <a:pt x="123" y="95"/>
                  </a:lnTo>
                  <a:lnTo>
                    <a:pt x="142" y="105"/>
                  </a:lnTo>
                  <a:lnTo>
                    <a:pt x="142" y="115"/>
                  </a:lnTo>
                  <a:lnTo>
                    <a:pt x="133" y="115"/>
                  </a:lnTo>
                  <a:lnTo>
                    <a:pt x="123" y="105"/>
                  </a:lnTo>
                  <a:lnTo>
                    <a:pt x="114" y="105"/>
                  </a:lnTo>
                  <a:lnTo>
                    <a:pt x="95" y="105"/>
                  </a:lnTo>
                  <a:lnTo>
                    <a:pt x="85" y="95"/>
                  </a:lnTo>
                  <a:lnTo>
                    <a:pt x="85" y="86"/>
                  </a:lnTo>
                  <a:lnTo>
                    <a:pt x="76" y="76"/>
                  </a:lnTo>
                  <a:lnTo>
                    <a:pt x="66" y="76"/>
                  </a:lnTo>
                  <a:lnTo>
                    <a:pt x="47" y="76"/>
                  </a:lnTo>
                  <a:lnTo>
                    <a:pt x="38" y="76"/>
                  </a:lnTo>
                  <a:lnTo>
                    <a:pt x="47" y="76"/>
                  </a:lnTo>
                  <a:lnTo>
                    <a:pt x="28" y="76"/>
                  </a:lnTo>
                  <a:lnTo>
                    <a:pt x="28" y="86"/>
                  </a:lnTo>
                  <a:lnTo>
                    <a:pt x="38" y="86"/>
                  </a:lnTo>
                  <a:lnTo>
                    <a:pt x="28" y="95"/>
                  </a:lnTo>
                  <a:lnTo>
                    <a:pt x="0" y="95"/>
                  </a:lnTo>
                  <a:lnTo>
                    <a:pt x="0" y="67"/>
                  </a:lnTo>
                  <a:lnTo>
                    <a:pt x="0" y="57"/>
                  </a:lnTo>
                  <a:lnTo>
                    <a:pt x="0" y="48"/>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22" name="Freeform 99">
              <a:extLst>
                <a:ext uri="{FF2B5EF4-FFF2-40B4-BE49-F238E27FC236}">
                  <a16:creationId xmlns:a16="http://schemas.microsoft.com/office/drawing/2014/main" id="{E4ADECBD-0935-4D2C-B418-5322D571F5A9}"/>
                </a:ext>
              </a:extLst>
            </p:cNvPr>
            <p:cNvSpPr>
              <a:spLocks/>
            </p:cNvSpPr>
            <p:nvPr/>
          </p:nvSpPr>
          <p:spPr bwMode="gray">
            <a:xfrm>
              <a:off x="4686" y="2872"/>
              <a:ext cx="19" cy="9"/>
            </a:xfrm>
            <a:custGeom>
              <a:avLst/>
              <a:gdLst>
                <a:gd name="T0" fmla="*/ 0 w 19"/>
                <a:gd name="T1" fmla="*/ 0 h 9"/>
                <a:gd name="T2" fmla="*/ 9 w 19"/>
                <a:gd name="T3" fmla="*/ 9 h 9"/>
                <a:gd name="T4" fmla="*/ 19 w 19"/>
                <a:gd name="T5" fmla="*/ 0 h 9"/>
                <a:gd name="T6" fmla="*/ 9 w 19"/>
                <a:gd name="T7" fmla="*/ 0 h 9"/>
                <a:gd name="T8" fmla="*/ 0 w 19"/>
                <a:gd name="T9" fmla="*/ 0 h 9"/>
                <a:gd name="T10" fmla="*/ 0 60000 65536"/>
                <a:gd name="T11" fmla="*/ 0 60000 65536"/>
                <a:gd name="T12" fmla="*/ 0 60000 65536"/>
                <a:gd name="T13" fmla="*/ 0 60000 65536"/>
                <a:gd name="T14" fmla="*/ 0 60000 65536"/>
                <a:gd name="T15" fmla="*/ 0 w 19"/>
                <a:gd name="T16" fmla="*/ 0 h 9"/>
                <a:gd name="T17" fmla="*/ 19 w 19"/>
                <a:gd name="T18" fmla="*/ 9 h 9"/>
              </a:gdLst>
              <a:ahLst/>
              <a:cxnLst>
                <a:cxn ang="T10">
                  <a:pos x="T0" y="T1"/>
                </a:cxn>
                <a:cxn ang="T11">
                  <a:pos x="T2" y="T3"/>
                </a:cxn>
                <a:cxn ang="T12">
                  <a:pos x="T4" y="T5"/>
                </a:cxn>
                <a:cxn ang="T13">
                  <a:pos x="T6" y="T7"/>
                </a:cxn>
                <a:cxn ang="T14">
                  <a:pos x="T8" y="T9"/>
                </a:cxn>
              </a:cxnLst>
              <a:rect l="T15" t="T16" r="T17" b="T18"/>
              <a:pathLst>
                <a:path w="19" h="9">
                  <a:moveTo>
                    <a:pt x="0" y="0"/>
                  </a:moveTo>
                  <a:lnTo>
                    <a:pt x="9" y="9"/>
                  </a:lnTo>
                  <a:lnTo>
                    <a:pt x="19" y="0"/>
                  </a:lnTo>
                  <a:lnTo>
                    <a:pt x="9"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23" name="Freeform 100">
              <a:extLst>
                <a:ext uri="{FF2B5EF4-FFF2-40B4-BE49-F238E27FC236}">
                  <a16:creationId xmlns:a16="http://schemas.microsoft.com/office/drawing/2014/main" id="{E5D80010-287D-47E3-BC66-66BBDC583AE7}"/>
                </a:ext>
              </a:extLst>
            </p:cNvPr>
            <p:cNvSpPr>
              <a:spLocks/>
            </p:cNvSpPr>
            <p:nvPr/>
          </p:nvSpPr>
          <p:spPr bwMode="gray">
            <a:xfrm>
              <a:off x="4686" y="2872"/>
              <a:ext cx="19" cy="9"/>
            </a:xfrm>
            <a:custGeom>
              <a:avLst/>
              <a:gdLst>
                <a:gd name="T0" fmla="*/ 0 w 19"/>
                <a:gd name="T1" fmla="*/ 0 h 9"/>
                <a:gd name="T2" fmla="*/ 9 w 19"/>
                <a:gd name="T3" fmla="*/ 9 h 9"/>
                <a:gd name="T4" fmla="*/ 19 w 19"/>
                <a:gd name="T5" fmla="*/ 0 h 9"/>
                <a:gd name="T6" fmla="*/ 9 w 19"/>
                <a:gd name="T7" fmla="*/ 0 h 9"/>
                <a:gd name="T8" fmla="*/ 0 w 19"/>
                <a:gd name="T9" fmla="*/ 0 h 9"/>
                <a:gd name="T10" fmla="*/ 0 60000 65536"/>
                <a:gd name="T11" fmla="*/ 0 60000 65536"/>
                <a:gd name="T12" fmla="*/ 0 60000 65536"/>
                <a:gd name="T13" fmla="*/ 0 60000 65536"/>
                <a:gd name="T14" fmla="*/ 0 60000 65536"/>
                <a:gd name="T15" fmla="*/ 0 w 19"/>
                <a:gd name="T16" fmla="*/ 0 h 9"/>
                <a:gd name="T17" fmla="*/ 19 w 19"/>
                <a:gd name="T18" fmla="*/ 9 h 9"/>
              </a:gdLst>
              <a:ahLst/>
              <a:cxnLst>
                <a:cxn ang="T10">
                  <a:pos x="T0" y="T1"/>
                </a:cxn>
                <a:cxn ang="T11">
                  <a:pos x="T2" y="T3"/>
                </a:cxn>
                <a:cxn ang="T12">
                  <a:pos x="T4" y="T5"/>
                </a:cxn>
                <a:cxn ang="T13">
                  <a:pos x="T6" y="T7"/>
                </a:cxn>
                <a:cxn ang="T14">
                  <a:pos x="T8" y="T9"/>
                </a:cxn>
              </a:cxnLst>
              <a:rect l="T15" t="T16" r="T17" b="T18"/>
              <a:pathLst>
                <a:path w="19" h="9">
                  <a:moveTo>
                    <a:pt x="0" y="0"/>
                  </a:moveTo>
                  <a:lnTo>
                    <a:pt x="9" y="9"/>
                  </a:lnTo>
                  <a:lnTo>
                    <a:pt x="19" y="0"/>
                  </a:lnTo>
                  <a:lnTo>
                    <a:pt x="9"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24" name="Freeform 101">
              <a:extLst>
                <a:ext uri="{FF2B5EF4-FFF2-40B4-BE49-F238E27FC236}">
                  <a16:creationId xmlns:a16="http://schemas.microsoft.com/office/drawing/2014/main" id="{8D6287DC-7DDC-4C80-AFCE-075639B2AAC9}"/>
                </a:ext>
              </a:extLst>
            </p:cNvPr>
            <p:cNvSpPr>
              <a:spLocks/>
            </p:cNvSpPr>
            <p:nvPr/>
          </p:nvSpPr>
          <p:spPr bwMode="gray">
            <a:xfrm>
              <a:off x="4876" y="2910"/>
              <a:ext cx="58" cy="29"/>
            </a:xfrm>
            <a:custGeom>
              <a:avLst/>
              <a:gdLst>
                <a:gd name="T0" fmla="*/ 48 w 58"/>
                <a:gd name="T1" fmla="*/ 10 h 29"/>
                <a:gd name="T2" fmla="*/ 48 w 58"/>
                <a:gd name="T3" fmla="*/ 10 h 29"/>
                <a:gd name="T4" fmla="*/ 38 w 58"/>
                <a:gd name="T5" fmla="*/ 19 h 29"/>
                <a:gd name="T6" fmla="*/ 19 w 58"/>
                <a:gd name="T7" fmla="*/ 19 h 29"/>
                <a:gd name="T8" fmla="*/ 19 w 58"/>
                <a:gd name="T9" fmla="*/ 19 h 29"/>
                <a:gd name="T10" fmla="*/ 19 w 58"/>
                <a:gd name="T11" fmla="*/ 19 h 29"/>
                <a:gd name="T12" fmla="*/ 10 w 58"/>
                <a:gd name="T13" fmla="*/ 19 h 29"/>
                <a:gd name="T14" fmla="*/ 0 w 58"/>
                <a:gd name="T15" fmla="*/ 19 h 29"/>
                <a:gd name="T16" fmla="*/ 0 w 58"/>
                <a:gd name="T17" fmla="*/ 19 h 29"/>
                <a:gd name="T18" fmla="*/ 0 w 58"/>
                <a:gd name="T19" fmla="*/ 29 h 29"/>
                <a:gd name="T20" fmla="*/ 19 w 58"/>
                <a:gd name="T21" fmla="*/ 29 h 29"/>
                <a:gd name="T22" fmla="*/ 29 w 58"/>
                <a:gd name="T23" fmla="*/ 29 h 29"/>
                <a:gd name="T24" fmla="*/ 58 w 58"/>
                <a:gd name="T25" fmla="*/ 19 h 29"/>
                <a:gd name="T26" fmla="*/ 58 w 58"/>
                <a:gd name="T27" fmla="*/ 19 h 29"/>
                <a:gd name="T28" fmla="*/ 58 w 58"/>
                <a:gd name="T29" fmla="*/ 10 h 29"/>
                <a:gd name="T30" fmla="*/ 58 w 58"/>
                <a:gd name="T31" fmla="*/ 10 h 29"/>
                <a:gd name="T32" fmla="*/ 58 w 58"/>
                <a:gd name="T33" fmla="*/ 0 h 29"/>
                <a:gd name="T34" fmla="*/ 48 w 58"/>
                <a:gd name="T35" fmla="*/ 1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8"/>
                <a:gd name="T55" fmla="*/ 0 h 29"/>
                <a:gd name="T56" fmla="*/ 58 w 58"/>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8" h="29">
                  <a:moveTo>
                    <a:pt x="48" y="10"/>
                  </a:moveTo>
                  <a:lnTo>
                    <a:pt x="48" y="10"/>
                  </a:lnTo>
                  <a:lnTo>
                    <a:pt x="38" y="19"/>
                  </a:lnTo>
                  <a:lnTo>
                    <a:pt x="19" y="19"/>
                  </a:lnTo>
                  <a:lnTo>
                    <a:pt x="10" y="19"/>
                  </a:lnTo>
                  <a:lnTo>
                    <a:pt x="0" y="19"/>
                  </a:lnTo>
                  <a:lnTo>
                    <a:pt x="0" y="29"/>
                  </a:lnTo>
                  <a:lnTo>
                    <a:pt x="19" y="29"/>
                  </a:lnTo>
                  <a:lnTo>
                    <a:pt x="29" y="29"/>
                  </a:lnTo>
                  <a:lnTo>
                    <a:pt x="58" y="19"/>
                  </a:lnTo>
                  <a:lnTo>
                    <a:pt x="58" y="10"/>
                  </a:lnTo>
                  <a:lnTo>
                    <a:pt x="58" y="0"/>
                  </a:lnTo>
                  <a:lnTo>
                    <a:pt x="48"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25" name="Freeform 102">
              <a:extLst>
                <a:ext uri="{FF2B5EF4-FFF2-40B4-BE49-F238E27FC236}">
                  <a16:creationId xmlns:a16="http://schemas.microsoft.com/office/drawing/2014/main" id="{F71B1195-5EFA-470C-A726-763BB5EF76D1}"/>
                </a:ext>
              </a:extLst>
            </p:cNvPr>
            <p:cNvSpPr>
              <a:spLocks/>
            </p:cNvSpPr>
            <p:nvPr/>
          </p:nvSpPr>
          <p:spPr bwMode="gray">
            <a:xfrm>
              <a:off x="4876" y="2910"/>
              <a:ext cx="58" cy="29"/>
            </a:xfrm>
            <a:custGeom>
              <a:avLst/>
              <a:gdLst>
                <a:gd name="T0" fmla="*/ 48 w 58"/>
                <a:gd name="T1" fmla="*/ 10 h 29"/>
                <a:gd name="T2" fmla="*/ 48 w 58"/>
                <a:gd name="T3" fmla="*/ 10 h 29"/>
                <a:gd name="T4" fmla="*/ 38 w 58"/>
                <a:gd name="T5" fmla="*/ 19 h 29"/>
                <a:gd name="T6" fmla="*/ 19 w 58"/>
                <a:gd name="T7" fmla="*/ 19 h 29"/>
                <a:gd name="T8" fmla="*/ 19 w 58"/>
                <a:gd name="T9" fmla="*/ 19 h 29"/>
                <a:gd name="T10" fmla="*/ 19 w 58"/>
                <a:gd name="T11" fmla="*/ 19 h 29"/>
                <a:gd name="T12" fmla="*/ 10 w 58"/>
                <a:gd name="T13" fmla="*/ 19 h 29"/>
                <a:gd name="T14" fmla="*/ 0 w 58"/>
                <a:gd name="T15" fmla="*/ 19 h 29"/>
                <a:gd name="T16" fmla="*/ 0 w 58"/>
                <a:gd name="T17" fmla="*/ 19 h 29"/>
                <a:gd name="T18" fmla="*/ 0 w 58"/>
                <a:gd name="T19" fmla="*/ 29 h 29"/>
                <a:gd name="T20" fmla="*/ 19 w 58"/>
                <a:gd name="T21" fmla="*/ 29 h 29"/>
                <a:gd name="T22" fmla="*/ 29 w 58"/>
                <a:gd name="T23" fmla="*/ 29 h 29"/>
                <a:gd name="T24" fmla="*/ 58 w 58"/>
                <a:gd name="T25" fmla="*/ 19 h 29"/>
                <a:gd name="T26" fmla="*/ 58 w 58"/>
                <a:gd name="T27" fmla="*/ 19 h 29"/>
                <a:gd name="T28" fmla="*/ 58 w 58"/>
                <a:gd name="T29" fmla="*/ 10 h 29"/>
                <a:gd name="T30" fmla="*/ 58 w 58"/>
                <a:gd name="T31" fmla="*/ 10 h 29"/>
                <a:gd name="T32" fmla="*/ 58 w 58"/>
                <a:gd name="T33" fmla="*/ 0 h 29"/>
                <a:gd name="T34" fmla="*/ 48 w 58"/>
                <a:gd name="T35" fmla="*/ 1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8"/>
                <a:gd name="T55" fmla="*/ 0 h 29"/>
                <a:gd name="T56" fmla="*/ 58 w 58"/>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8" h="29">
                  <a:moveTo>
                    <a:pt x="48" y="10"/>
                  </a:moveTo>
                  <a:lnTo>
                    <a:pt x="48" y="10"/>
                  </a:lnTo>
                  <a:lnTo>
                    <a:pt x="38" y="19"/>
                  </a:lnTo>
                  <a:lnTo>
                    <a:pt x="19" y="19"/>
                  </a:lnTo>
                  <a:lnTo>
                    <a:pt x="10" y="19"/>
                  </a:lnTo>
                  <a:lnTo>
                    <a:pt x="0" y="19"/>
                  </a:lnTo>
                  <a:lnTo>
                    <a:pt x="0" y="29"/>
                  </a:lnTo>
                  <a:lnTo>
                    <a:pt x="19" y="29"/>
                  </a:lnTo>
                  <a:lnTo>
                    <a:pt x="29" y="29"/>
                  </a:lnTo>
                  <a:lnTo>
                    <a:pt x="58" y="19"/>
                  </a:lnTo>
                  <a:lnTo>
                    <a:pt x="58" y="10"/>
                  </a:lnTo>
                  <a:lnTo>
                    <a:pt x="58" y="0"/>
                  </a:lnTo>
                  <a:lnTo>
                    <a:pt x="48"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26" name="Freeform 103">
              <a:extLst>
                <a:ext uri="{FF2B5EF4-FFF2-40B4-BE49-F238E27FC236}">
                  <a16:creationId xmlns:a16="http://schemas.microsoft.com/office/drawing/2014/main" id="{C7B4A72B-F35D-47CF-9948-303A4FE726E1}"/>
                </a:ext>
              </a:extLst>
            </p:cNvPr>
            <p:cNvSpPr>
              <a:spLocks/>
            </p:cNvSpPr>
            <p:nvPr/>
          </p:nvSpPr>
          <p:spPr bwMode="gray">
            <a:xfrm>
              <a:off x="4972" y="2929"/>
              <a:ext cx="19" cy="19"/>
            </a:xfrm>
            <a:custGeom>
              <a:avLst/>
              <a:gdLst>
                <a:gd name="T0" fmla="*/ 0 w 19"/>
                <a:gd name="T1" fmla="*/ 10 h 19"/>
                <a:gd name="T2" fmla="*/ 0 w 19"/>
                <a:gd name="T3" fmla="*/ 0 h 19"/>
                <a:gd name="T4" fmla="*/ 9 w 19"/>
                <a:gd name="T5" fmla="*/ 10 h 19"/>
                <a:gd name="T6" fmla="*/ 19 w 19"/>
                <a:gd name="T7" fmla="*/ 19 h 19"/>
                <a:gd name="T8" fmla="*/ 19 w 19"/>
                <a:gd name="T9" fmla="*/ 19 h 19"/>
                <a:gd name="T10" fmla="*/ 9 w 19"/>
                <a:gd name="T11" fmla="*/ 19 h 19"/>
                <a:gd name="T12" fmla="*/ 9 w 19"/>
                <a:gd name="T13" fmla="*/ 19 h 19"/>
                <a:gd name="T14" fmla="*/ 9 w 19"/>
                <a:gd name="T15" fmla="*/ 19 h 19"/>
                <a:gd name="T16" fmla="*/ 0 w 19"/>
                <a:gd name="T17" fmla="*/ 10 h 19"/>
                <a:gd name="T18" fmla="*/ 0 w 19"/>
                <a:gd name="T19" fmla="*/ 10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19"/>
                <a:gd name="T32" fmla="*/ 19 w 19"/>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19">
                  <a:moveTo>
                    <a:pt x="0" y="10"/>
                  </a:moveTo>
                  <a:lnTo>
                    <a:pt x="0" y="0"/>
                  </a:lnTo>
                  <a:lnTo>
                    <a:pt x="9" y="10"/>
                  </a:lnTo>
                  <a:lnTo>
                    <a:pt x="19" y="19"/>
                  </a:lnTo>
                  <a:lnTo>
                    <a:pt x="9" y="19"/>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27" name="Freeform 104">
              <a:extLst>
                <a:ext uri="{FF2B5EF4-FFF2-40B4-BE49-F238E27FC236}">
                  <a16:creationId xmlns:a16="http://schemas.microsoft.com/office/drawing/2014/main" id="{6B87527F-91AF-4B61-8282-EFB39991A27E}"/>
                </a:ext>
              </a:extLst>
            </p:cNvPr>
            <p:cNvSpPr>
              <a:spLocks/>
            </p:cNvSpPr>
            <p:nvPr/>
          </p:nvSpPr>
          <p:spPr bwMode="gray">
            <a:xfrm>
              <a:off x="4972" y="2929"/>
              <a:ext cx="19" cy="19"/>
            </a:xfrm>
            <a:custGeom>
              <a:avLst/>
              <a:gdLst>
                <a:gd name="T0" fmla="*/ 0 w 19"/>
                <a:gd name="T1" fmla="*/ 10 h 19"/>
                <a:gd name="T2" fmla="*/ 0 w 19"/>
                <a:gd name="T3" fmla="*/ 0 h 19"/>
                <a:gd name="T4" fmla="*/ 9 w 19"/>
                <a:gd name="T5" fmla="*/ 10 h 19"/>
                <a:gd name="T6" fmla="*/ 19 w 19"/>
                <a:gd name="T7" fmla="*/ 19 h 19"/>
                <a:gd name="T8" fmla="*/ 19 w 19"/>
                <a:gd name="T9" fmla="*/ 19 h 19"/>
                <a:gd name="T10" fmla="*/ 9 w 19"/>
                <a:gd name="T11" fmla="*/ 19 h 19"/>
                <a:gd name="T12" fmla="*/ 9 w 19"/>
                <a:gd name="T13" fmla="*/ 19 h 19"/>
                <a:gd name="T14" fmla="*/ 9 w 19"/>
                <a:gd name="T15" fmla="*/ 19 h 19"/>
                <a:gd name="T16" fmla="*/ 0 w 19"/>
                <a:gd name="T17" fmla="*/ 10 h 19"/>
                <a:gd name="T18" fmla="*/ 0 w 19"/>
                <a:gd name="T19" fmla="*/ 10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19"/>
                <a:gd name="T32" fmla="*/ 19 w 19"/>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19">
                  <a:moveTo>
                    <a:pt x="0" y="10"/>
                  </a:moveTo>
                  <a:lnTo>
                    <a:pt x="0" y="0"/>
                  </a:lnTo>
                  <a:lnTo>
                    <a:pt x="9" y="10"/>
                  </a:lnTo>
                  <a:lnTo>
                    <a:pt x="19" y="19"/>
                  </a:lnTo>
                  <a:lnTo>
                    <a:pt x="9" y="19"/>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28" name="Freeform 105">
              <a:extLst>
                <a:ext uri="{FF2B5EF4-FFF2-40B4-BE49-F238E27FC236}">
                  <a16:creationId xmlns:a16="http://schemas.microsoft.com/office/drawing/2014/main" id="{20678574-C00A-4BC8-9568-DCFC66107860}"/>
                </a:ext>
              </a:extLst>
            </p:cNvPr>
            <p:cNvSpPr>
              <a:spLocks/>
            </p:cNvSpPr>
            <p:nvPr/>
          </p:nvSpPr>
          <p:spPr bwMode="gray">
            <a:xfrm>
              <a:off x="5000" y="2948"/>
              <a:ext cx="10" cy="10"/>
            </a:xfrm>
            <a:custGeom>
              <a:avLst/>
              <a:gdLst>
                <a:gd name="T0" fmla="*/ 0 w 10"/>
                <a:gd name="T1" fmla="*/ 0 h 10"/>
                <a:gd name="T2" fmla="*/ 0 w 10"/>
                <a:gd name="T3" fmla="*/ 0 h 10"/>
                <a:gd name="T4" fmla="*/ 10 w 10"/>
                <a:gd name="T5" fmla="*/ 0 h 10"/>
                <a:gd name="T6" fmla="*/ 10 w 10"/>
                <a:gd name="T7" fmla="*/ 10 h 10"/>
                <a:gd name="T8" fmla="*/ 10 w 10"/>
                <a:gd name="T9" fmla="*/ 10 h 10"/>
                <a:gd name="T10" fmla="*/ 0 w 10"/>
                <a:gd name="T11" fmla="*/ 0 h 10"/>
                <a:gd name="T12" fmla="*/ 0 60000 65536"/>
                <a:gd name="T13" fmla="*/ 0 60000 65536"/>
                <a:gd name="T14" fmla="*/ 0 60000 65536"/>
                <a:gd name="T15" fmla="*/ 0 60000 65536"/>
                <a:gd name="T16" fmla="*/ 0 60000 65536"/>
                <a:gd name="T17" fmla="*/ 0 60000 65536"/>
                <a:gd name="T18" fmla="*/ 0 w 10"/>
                <a:gd name="T19" fmla="*/ 0 h 10"/>
                <a:gd name="T20" fmla="*/ 10 w 10"/>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0" h="10">
                  <a:moveTo>
                    <a:pt x="0" y="0"/>
                  </a:moveTo>
                  <a:lnTo>
                    <a:pt x="0" y="0"/>
                  </a:lnTo>
                  <a:lnTo>
                    <a:pt x="10" y="0"/>
                  </a:lnTo>
                  <a:lnTo>
                    <a:pt x="10"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29" name="Freeform 106">
              <a:extLst>
                <a:ext uri="{FF2B5EF4-FFF2-40B4-BE49-F238E27FC236}">
                  <a16:creationId xmlns:a16="http://schemas.microsoft.com/office/drawing/2014/main" id="{B1AD6A7A-7662-4E43-BE65-088D0EEB7DD2}"/>
                </a:ext>
              </a:extLst>
            </p:cNvPr>
            <p:cNvSpPr>
              <a:spLocks/>
            </p:cNvSpPr>
            <p:nvPr/>
          </p:nvSpPr>
          <p:spPr bwMode="gray">
            <a:xfrm>
              <a:off x="5000" y="2948"/>
              <a:ext cx="10" cy="10"/>
            </a:xfrm>
            <a:custGeom>
              <a:avLst/>
              <a:gdLst>
                <a:gd name="T0" fmla="*/ 0 w 10"/>
                <a:gd name="T1" fmla="*/ 0 h 10"/>
                <a:gd name="T2" fmla="*/ 0 w 10"/>
                <a:gd name="T3" fmla="*/ 0 h 10"/>
                <a:gd name="T4" fmla="*/ 10 w 10"/>
                <a:gd name="T5" fmla="*/ 0 h 10"/>
                <a:gd name="T6" fmla="*/ 10 w 10"/>
                <a:gd name="T7" fmla="*/ 10 h 10"/>
                <a:gd name="T8" fmla="*/ 10 w 10"/>
                <a:gd name="T9" fmla="*/ 10 h 10"/>
                <a:gd name="T10" fmla="*/ 0 w 10"/>
                <a:gd name="T11" fmla="*/ 0 h 10"/>
                <a:gd name="T12" fmla="*/ 0 60000 65536"/>
                <a:gd name="T13" fmla="*/ 0 60000 65536"/>
                <a:gd name="T14" fmla="*/ 0 60000 65536"/>
                <a:gd name="T15" fmla="*/ 0 60000 65536"/>
                <a:gd name="T16" fmla="*/ 0 60000 65536"/>
                <a:gd name="T17" fmla="*/ 0 60000 65536"/>
                <a:gd name="T18" fmla="*/ 0 w 10"/>
                <a:gd name="T19" fmla="*/ 0 h 10"/>
                <a:gd name="T20" fmla="*/ 10 w 10"/>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0" h="10">
                  <a:moveTo>
                    <a:pt x="0" y="0"/>
                  </a:moveTo>
                  <a:lnTo>
                    <a:pt x="0" y="0"/>
                  </a:lnTo>
                  <a:lnTo>
                    <a:pt x="10" y="0"/>
                  </a:lnTo>
                  <a:lnTo>
                    <a:pt x="10"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30" name="Freeform 107">
              <a:extLst>
                <a:ext uri="{FF2B5EF4-FFF2-40B4-BE49-F238E27FC236}">
                  <a16:creationId xmlns:a16="http://schemas.microsoft.com/office/drawing/2014/main" id="{07851321-CE4A-4A79-8363-4033BE1AB886}"/>
                </a:ext>
              </a:extLst>
            </p:cNvPr>
            <p:cNvSpPr>
              <a:spLocks/>
            </p:cNvSpPr>
            <p:nvPr/>
          </p:nvSpPr>
          <p:spPr bwMode="gray">
            <a:xfrm>
              <a:off x="5029" y="2958"/>
              <a:ext cx="19" cy="19"/>
            </a:xfrm>
            <a:custGeom>
              <a:avLst/>
              <a:gdLst>
                <a:gd name="T0" fmla="*/ 0 w 19"/>
                <a:gd name="T1" fmla="*/ 9 h 19"/>
                <a:gd name="T2" fmla="*/ 0 w 19"/>
                <a:gd name="T3" fmla="*/ 0 h 19"/>
                <a:gd name="T4" fmla="*/ 0 w 19"/>
                <a:gd name="T5" fmla="*/ 0 h 19"/>
                <a:gd name="T6" fmla="*/ 9 w 19"/>
                <a:gd name="T7" fmla="*/ 9 h 19"/>
                <a:gd name="T8" fmla="*/ 19 w 19"/>
                <a:gd name="T9" fmla="*/ 19 h 19"/>
                <a:gd name="T10" fmla="*/ 19 w 19"/>
                <a:gd name="T11" fmla="*/ 19 h 19"/>
                <a:gd name="T12" fmla="*/ 0 w 19"/>
                <a:gd name="T13" fmla="*/ 9 h 19"/>
                <a:gd name="T14" fmla="*/ 0 60000 65536"/>
                <a:gd name="T15" fmla="*/ 0 60000 65536"/>
                <a:gd name="T16" fmla="*/ 0 60000 65536"/>
                <a:gd name="T17" fmla="*/ 0 60000 65536"/>
                <a:gd name="T18" fmla="*/ 0 60000 65536"/>
                <a:gd name="T19" fmla="*/ 0 60000 65536"/>
                <a:gd name="T20" fmla="*/ 0 60000 65536"/>
                <a:gd name="T21" fmla="*/ 0 w 19"/>
                <a:gd name="T22" fmla="*/ 0 h 19"/>
                <a:gd name="T23" fmla="*/ 19 w 1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9">
                  <a:moveTo>
                    <a:pt x="0" y="9"/>
                  </a:moveTo>
                  <a:lnTo>
                    <a:pt x="0" y="0"/>
                  </a:lnTo>
                  <a:lnTo>
                    <a:pt x="9" y="9"/>
                  </a:lnTo>
                  <a:lnTo>
                    <a:pt x="19" y="19"/>
                  </a:lnTo>
                  <a:lnTo>
                    <a:pt x="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31" name="Freeform 108">
              <a:extLst>
                <a:ext uri="{FF2B5EF4-FFF2-40B4-BE49-F238E27FC236}">
                  <a16:creationId xmlns:a16="http://schemas.microsoft.com/office/drawing/2014/main" id="{084EBD75-CE3A-453C-A5AF-91BB5DB5E101}"/>
                </a:ext>
              </a:extLst>
            </p:cNvPr>
            <p:cNvSpPr>
              <a:spLocks/>
            </p:cNvSpPr>
            <p:nvPr/>
          </p:nvSpPr>
          <p:spPr bwMode="gray">
            <a:xfrm>
              <a:off x="5029" y="2958"/>
              <a:ext cx="19" cy="19"/>
            </a:xfrm>
            <a:custGeom>
              <a:avLst/>
              <a:gdLst>
                <a:gd name="T0" fmla="*/ 0 w 19"/>
                <a:gd name="T1" fmla="*/ 9 h 19"/>
                <a:gd name="T2" fmla="*/ 0 w 19"/>
                <a:gd name="T3" fmla="*/ 0 h 19"/>
                <a:gd name="T4" fmla="*/ 0 w 19"/>
                <a:gd name="T5" fmla="*/ 0 h 19"/>
                <a:gd name="T6" fmla="*/ 9 w 19"/>
                <a:gd name="T7" fmla="*/ 9 h 19"/>
                <a:gd name="T8" fmla="*/ 19 w 19"/>
                <a:gd name="T9" fmla="*/ 19 h 19"/>
                <a:gd name="T10" fmla="*/ 19 w 19"/>
                <a:gd name="T11" fmla="*/ 19 h 19"/>
                <a:gd name="T12" fmla="*/ 0 w 19"/>
                <a:gd name="T13" fmla="*/ 9 h 19"/>
                <a:gd name="T14" fmla="*/ 0 60000 65536"/>
                <a:gd name="T15" fmla="*/ 0 60000 65536"/>
                <a:gd name="T16" fmla="*/ 0 60000 65536"/>
                <a:gd name="T17" fmla="*/ 0 60000 65536"/>
                <a:gd name="T18" fmla="*/ 0 60000 65536"/>
                <a:gd name="T19" fmla="*/ 0 60000 65536"/>
                <a:gd name="T20" fmla="*/ 0 60000 65536"/>
                <a:gd name="T21" fmla="*/ 0 w 19"/>
                <a:gd name="T22" fmla="*/ 0 h 19"/>
                <a:gd name="T23" fmla="*/ 19 w 1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9">
                  <a:moveTo>
                    <a:pt x="0" y="9"/>
                  </a:moveTo>
                  <a:lnTo>
                    <a:pt x="0" y="0"/>
                  </a:lnTo>
                  <a:lnTo>
                    <a:pt x="9" y="9"/>
                  </a:lnTo>
                  <a:lnTo>
                    <a:pt x="19" y="19"/>
                  </a:lnTo>
                  <a:lnTo>
                    <a:pt x="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32" name="Freeform 109">
              <a:extLst>
                <a:ext uri="{FF2B5EF4-FFF2-40B4-BE49-F238E27FC236}">
                  <a16:creationId xmlns:a16="http://schemas.microsoft.com/office/drawing/2014/main" id="{17073E53-21CF-4CEE-8EF6-8B056B11B3B9}"/>
                </a:ext>
              </a:extLst>
            </p:cNvPr>
            <p:cNvSpPr>
              <a:spLocks/>
            </p:cNvSpPr>
            <p:nvPr/>
          </p:nvSpPr>
          <p:spPr bwMode="gray">
            <a:xfrm>
              <a:off x="5057" y="2977"/>
              <a:ext cx="20" cy="9"/>
            </a:xfrm>
            <a:custGeom>
              <a:avLst/>
              <a:gdLst>
                <a:gd name="T0" fmla="*/ 0 w 20"/>
                <a:gd name="T1" fmla="*/ 0 h 9"/>
                <a:gd name="T2" fmla="*/ 0 w 20"/>
                <a:gd name="T3" fmla="*/ 0 h 9"/>
                <a:gd name="T4" fmla="*/ 0 w 20"/>
                <a:gd name="T5" fmla="*/ 0 h 9"/>
                <a:gd name="T6" fmla="*/ 10 w 20"/>
                <a:gd name="T7" fmla="*/ 0 h 9"/>
                <a:gd name="T8" fmla="*/ 20 w 20"/>
                <a:gd name="T9" fmla="*/ 9 h 9"/>
                <a:gd name="T10" fmla="*/ 20 w 20"/>
                <a:gd name="T11" fmla="*/ 9 h 9"/>
                <a:gd name="T12" fmla="*/ 10 w 20"/>
                <a:gd name="T13" fmla="*/ 9 h 9"/>
                <a:gd name="T14" fmla="*/ 0 w 20"/>
                <a:gd name="T15" fmla="*/ 0 h 9"/>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9"/>
                <a:gd name="T26" fmla="*/ 20 w 20"/>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9">
                  <a:moveTo>
                    <a:pt x="0" y="0"/>
                  </a:moveTo>
                  <a:lnTo>
                    <a:pt x="0" y="0"/>
                  </a:lnTo>
                  <a:lnTo>
                    <a:pt x="10" y="0"/>
                  </a:lnTo>
                  <a:lnTo>
                    <a:pt x="20" y="9"/>
                  </a:lnTo>
                  <a:lnTo>
                    <a:pt x="10"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33" name="Freeform 110">
              <a:extLst>
                <a:ext uri="{FF2B5EF4-FFF2-40B4-BE49-F238E27FC236}">
                  <a16:creationId xmlns:a16="http://schemas.microsoft.com/office/drawing/2014/main" id="{BF6A949D-4D57-4D6F-8853-77FFAE8E8B23}"/>
                </a:ext>
              </a:extLst>
            </p:cNvPr>
            <p:cNvSpPr>
              <a:spLocks/>
            </p:cNvSpPr>
            <p:nvPr/>
          </p:nvSpPr>
          <p:spPr bwMode="gray">
            <a:xfrm>
              <a:off x="5057" y="2977"/>
              <a:ext cx="20" cy="9"/>
            </a:xfrm>
            <a:custGeom>
              <a:avLst/>
              <a:gdLst>
                <a:gd name="T0" fmla="*/ 0 w 20"/>
                <a:gd name="T1" fmla="*/ 0 h 9"/>
                <a:gd name="T2" fmla="*/ 0 w 20"/>
                <a:gd name="T3" fmla="*/ 0 h 9"/>
                <a:gd name="T4" fmla="*/ 0 w 20"/>
                <a:gd name="T5" fmla="*/ 0 h 9"/>
                <a:gd name="T6" fmla="*/ 10 w 20"/>
                <a:gd name="T7" fmla="*/ 0 h 9"/>
                <a:gd name="T8" fmla="*/ 20 w 20"/>
                <a:gd name="T9" fmla="*/ 9 h 9"/>
                <a:gd name="T10" fmla="*/ 20 w 20"/>
                <a:gd name="T11" fmla="*/ 9 h 9"/>
                <a:gd name="T12" fmla="*/ 10 w 20"/>
                <a:gd name="T13" fmla="*/ 9 h 9"/>
                <a:gd name="T14" fmla="*/ 0 w 20"/>
                <a:gd name="T15" fmla="*/ 0 h 9"/>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9"/>
                <a:gd name="T26" fmla="*/ 20 w 20"/>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9">
                  <a:moveTo>
                    <a:pt x="0" y="0"/>
                  </a:moveTo>
                  <a:lnTo>
                    <a:pt x="0" y="0"/>
                  </a:lnTo>
                  <a:lnTo>
                    <a:pt x="10" y="0"/>
                  </a:lnTo>
                  <a:lnTo>
                    <a:pt x="20" y="9"/>
                  </a:lnTo>
                  <a:lnTo>
                    <a:pt x="10"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34" name="Freeform 112">
              <a:extLst>
                <a:ext uri="{FF2B5EF4-FFF2-40B4-BE49-F238E27FC236}">
                  <a16:creationId xmlns:a16="http://schemas.microsoft.com/office/drawing/2014/main" id="{F6888FE3-495E-4382-BBF9-4508EAB8DEFA}"/>
                </a:ext>
              </a:extLst>
            </p:cNvPr>
            <p:cNvSpPr>
              <a:spLocks/>
            </p:cNvSpPr>
            <p:nvPr/>
          </p:nvSpPr>
          <p:spPr bwMode="gray">
            <a:xfrm>
              <a:off x="2411" y="1650"/>
              <a:ext cx="152" cy="105"/>
            </a:xfrm>
            <a:custGeom>
              <a:avLst/>
              <a:gdLst>
                <a:gd name="T0" fmla="*/ 114 w 152"/>
                <a:gd name="T1" fmla="*/ 0 h 105"/>
                <a:gd name="T2" fmla="*/ 124 w 152"/>
                <a:gd name="T3" fmla="*/ 10 h 105"/>
                <a:gd name="T4" fmla="*/ 143 w 152"/>
                <a:gd name="T5" fmla="*/ 10 h 105"/>
                <a:gd name="T6" fmla="*/ 133 w 152"/>
                <a:gd name="T7" fmla="*/ 19 h 105"/>
                <a:gd name="T8" fmla="*/ 143 w 152"/>
                <a:gd name="T9" fmla="*/ 29 h 105"/>
                <a:gd name="T10" fmla="*/ 143 w 152"/>
                <a:gd name="T11" fmla="*/ 39 h 105"/>
                <a:gd name="T12" fmla="*/ 152 w 152"/>
                <a:gd name="T13" fmla="*/ 48 h 105"/>
                <a:gd name="T14" fmla="*/ 133 w 152"/>
                <a:gd name="T15" fmla="*/ 67 h 105"/>
                <a:gd name="T16" fmla="*/ 124 w 152"/>
                <a:gd name="T17" fmla="*/ 77 h 105"/>
                <a:gd name="T18" fmla="*/ 95 w 152"/>
                <a:gd name="T19" fmla="*/ 96 h 105"/>
                <a:gd name="T20" fmla="*/ 57 w 152"/>
                <a:gd name="T21" fmla="*/ 105 h 105"/>
                <a:gd name="T22" fmla="*/ 28 w 152"/>
                <a:gd name="T23" fmla="*/ 96 h 105"/>
                <a:gd name="T24" fmla="*/ 19 w 152"/>
                <a:gd name="T25" fmla="*/ 86 h 105"/>
                <a:gd name="T26" fmla="*/ 28 w 152"/>
                <a:gd name="T27" fmla="*/ 77 h 105"/>
                <a:gd name="T28" fmla="*/ 28 w 152"/>
                <a:gd name="T29" fmla="*/ 67 h 105"/>
                <a:gd name="T30" fmla="*/ 0 w 152"/>
                <a:gd name="T31" fmla="*/ 67 h 105"/>
                <a:gd name="T32" fmla="*/ 9 w 152"/>
                <a:gd name="T33" fmla="*/ 58 h 105"/>
                <a:gd name="T34" fmla="*/ 28 w 152"/>
                <a:gd name="T35" fmla="*/ 58 h 105"/>
                <a:gd name="T36" fmla="*/ 19 w 152"/>
                <a:gd name="T37" fmla="*/ 48 h 105"/>
                <a:gd name="T38" fmla="*/ 28 w 152"/>
                <a:gd name="T39" fmla="*/ 39 h 105"/>
                <a:gd name="T40" fmla="*/ 0 w 152"/>
                <a:gd name="T41" fmla="*/ 39 h 105"/>
                <a:gd name="T42" fmla="*/ 9 w 152"/>
                <a:gd name="T43" fmla="*/ 19 h 105"/>
                <a:gd name="T44" fmla="*/ 9 w 152"/>
                <a:gd name="T45" fmla="*/ 29 h 105"/>
                <a:gd name="T46" fmla="*/ 19 w 152"/>
                <a:gd name="T47" fmla="*/ 19 h 105"/>
                <a:gd name="T48" fmla="*/ 19 w 152"/>
                <a:gd name="T49" fmla="*/ 10 h 105"/>
                <a:gd name="T50" fmla="*/ 38 w 152"/>
                <a:gd name="T51" fmla="*/ 29 h 105"/>
                <a:gd name="T52" fmla="*/ 48 w 152"/>
                <a:gd name="T53" fmla="*/ 48 h 105"/>
                <a:gd name="T54" fmla="*/ 48 w 152"/>
                <a:gd name="T55" fmla="*/ 39 h 105"/>
                <a:gd name="T56" fmla="*/ 57 w 152"/>
                <a:gd name="T57" fmla="*/ 29 h 105"/>
                <a:gd name="T58" fmla="*/ 57 w 152"/>
                <a:gd name="T59" fmla="*/ 19 h 105"/>
                <a:gd name="T60" fmla="*/ 67 w 152"/>
                <a:gd name="T61" fmla="*/ 29 h 105"/>
                <a:gd name="T62" fmla="*/ 76 w 152"/>
                <a:gd name="T63" fmla="*/ 19 h 105"/>
                <a:gd name="T64" fmla="*/ 86 w 152"/>
                <a:gd name="T65" fmla="*/ 29 h 105"/>
                <a:gd name="T66" fmla="*/ 95 w 152"/>
                <a:gd name="T67" fmla="*/ 19 h 105"/>
                <a:gd name="T68" fmla="*/ 114 w 152"/>
                <a:gd name="T69" fmla="*/ 19 h 10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2"/>
                <a:gd name="T106" fmla="*/ 0 h 105"/>
                <a:gd name="T107" fmla="*/ 152 w 152"/>
                <a:gd name="T108" fmla="*/ 105 h 10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2" h="105">
                  <a:moveTo>
                    <a:pt x="114" y="19"/>
                  </a:moveTo>
                  <a:lnTo>
                    <a:pt x="114" y="0"/>
                  </a:lnTo>
                  <a:lnTo>
                    <a:pt x="124" y="0"/>
                  </a:lnTo>
                  <a:lnTo>
                    <a:pt x="124" y="10"/>
                  </a:lnTo>
                  <a:lnTo>
                    <a:pt x="133" y="10"/>
                  </a:lnTo>
                  <a:lnTo>
                    <a:pt x="143" y="10"/>
                  </a:lnTo>
                  <a:lnTo>
                    <a:pt x="133" y="19"/>
                  </a:lnTo>
                  <a:lnTo>
                    <a:pt x="143" y="19"/>
                  </a:lnTo>
                  <a:lnTo>
                    <a:pt x="143" y="29"/>
                  </a:lnTo>
                  <a:lnTo>
                    <a:pt x="143" y="39"/>
                  </a:lnTo>
                  <a:lnTo>
                    <a:pt x="152" y="39"/>
                  </a:lnTo>
                  <a:lnTo>
                    <a:pt x="152" y="48"/>
                  </a:lnTo>
                  <a:lnTo>
                    <a:pt x="152" y="67"/>
                  </a:lnTo>
                  <a:lnTo>
                    <a:pt x="133" y="67"/>
                  </a:lnTo>
                  <a:lnTo>
                    <a:pt x="133" y="77"/>
                  </a:lnTo>
                  <a:lnTo>
                    <a:pt x="124" y="77"/>
                  </a:lnTo>
                  <a:lnTo>
                    <a:pt x="114" y="86"/>
                  </a:lnTo>
                  <a:lnTo>
                    <a:pt x="95" y="96"/>
                  </a:lnTo>
                  <a:lnTo>
                    <a:pt x="86" y="105"/>
                  </a:lnTo>
                  <a:lnTo>
                    <a:pt x="57" y="105"/>
                  </a:lnTo>
                  <a:lnTo>
                    <a:pt x="48" y="96"/>
                  </a:lnTo>
                  <a:lnTo>
                    <a:pt x="28" y="96"/>
                  </a:lnTo>
                  <a:lnTo>
                    <a:pt x="19" y="86"/>
                  </a:lnTo>
                  <a:lnTo>
                    <a:pt x="28" y="86"/>
                  </a:lnTo>
                  <a:lnTo>
                    <a:pt x="28" y="77"/>
                  </a:lnTo>
                  <a:lnTo>
                    <a:pt x="28" y="67"/>
                  </a:lnTo>
                  <a:lnTo>
                    <a:pt x="19" y="58"/>
                  </a:lnTo>
                  <a:lnTo>
                    <a:pt x="0" y="67"/>
                  </a:lnTo>
                  <a:lnTo>
                    <a:pt x="0" y="58"/>
                  </a:lnTo>
                  <a:lnTo>
                    <a:pt x="9" y="58"/>
                  </a:lnTo>
                  <a:lnTo>
                    <a:pt x="28" y="58"/>
                  </a:lnTo>
                  <a:lnTo>
                    <a:pt x="38" y="58"/>
                  </a:lnTo>
                  <a:lnTo>
                    <a:pt x="19" y="48"/>
                  </a:lnTo>
                  <a:lnTo>
                    <a:pt x="28" y="48"/>
                  </a:lnTo>
                  <a:lnTo>
                    <a:pt x="28" y="39"/>
                  </a:lnTo>
                  <a:lnTo>
                    <a:pt x="9" y="39"/>
                  </a:lnTo>
                  <a:lnTo>
                    <a:pt x="0" y="39"/>
                  </a:lnTo>
                  <a:lnTo>
                    <a:pt x="9" y="19"/>
                  </a:lnTo>
                  <a:lnTo>
                    <a:pt x="9" y="29"/>
                  </a:lnTo>
                  <a:lnTo>
                    <a:pt x="19" y="19"/>
                  </a:lnTo>
                  <a:lnTo>
                    <a:pt x="9" y="10"/>
                  </a:lnTo>
                  <a:lnTo>
                    <a:pt x="19" y="10"/>
                  </a:lnTo>
                  <a:lnTo>
                    <a:pt x="38" y="19"/>
                  </a:lnTo>
                  <a:lnTo>
                    <a:pt x="38" y="29"/>
                  </a:lnTo>
                  <a:lnTo>
                    <a:pt x="38" y="39"/>
                  </a:lnTo>
                  <a:lnTo>
                    <a:pt x="48" y="48"/>
                  </a:lnTo>
                  <a:lnTo>
                    <a:pt x="48" y="39"/>
                  </a:lnTo>
                  <a:lnTo>
                    <a:pt x="57" y="39"/>
                  </a:lnTo>
                  <a:lnTo>
                    <a:pt x="57" y="29"/>
                  </a:lnTo>
                  <a:lnTo>
                    <a:pt x="48" y="29"/>
                  </a:lnTo>
                  <a:lnTo>
                    <a:pt x="57" y="19"/>
                  </a:lnTo>
                  <a:lnTo>
                    <a:pt x="57" y="29"/>
                  </a:lnTo>
                  <a:lnTo>
                    <a:pt x="67" y="29"/>
                  </a:lnTo>
                  <a:lnTo>
                    <a:pt x="67" y="19"/>
                  </a:lnTo>
                  <a:lnTo>
                    <a:pt x="76" y="19"/>
                  </a:lnTo>
                  <a:lnTo>
                    <a:pt x="86" y="29"/>
                  </a:lnTo>
                  <a:lnTo>
                    <a:pt x="86" y="19"/>
                  </a:lnTo>
                  <a:lnTo>
                    <a:pt x="95" y="19"/>
                  </a:lnTo>
                  <a:lnTo>
                    <a:pt x="105" y="19"/>
                  </a:lnTo>
                  <a:lnTo>
                    <a:pt x="114"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35" name="Freeform 113">
              <a:extLst>
                <a:ext uri="{FF2B5EF4-FFF2-40B4-BE49-F238E27FC236}">
                  <a16:creationId xmlns:a16="http://schemas.microsoft.com/office/drawing/2014/main" id="{267745A1-C945-4D4E-9F53-2F6927678E9C}"/>
                </a:ext>
              </a:extLst>
            </p:cNvPr>
            <p:cNvSpPr>
              <a:spLocks/>
            </p:cNvSpPr>
            <p:nvPr/>
          </p:nvSpPr>
          <p:spPr bwMode="gray">
            <a:xfrm>
              <a:off x="3323" y="2252"/>
              <a:ext cx="57" cy="38"/>
            </a:xfrm>
            <a:custGeom>
              <a:avLst/>
              <a:gdLst>
                <a:gd name="T0" fmla="*/ 57 w 57"/>
                <a:gd name="T1" fmla="*/ 38 h 38"/>
                <a:gd name="T2" fmla="*/ 38 w 57"/>
                <a:gd name="T3" fmla="*/ 19 h 38"/>
                <a:gd name="T4" fmla="*/ 38 w 57"/>
                <a:gd name="T5" fmla="*/ 19 h 38"/>
                <a:gd name="T6" fmla="*/ 28 w 57"/>
                <a:gd name="T7" fmla="*/ 9 h 38"/>
                <a:gd name="T8" fmla="*/ 19 w 57"/>
                <a:gd name="T9" fmla="*/ 0 h 38"/>
                <a:gd name="T10" fmla="*/ 0 w 57"/>
                <a:gd name="T11" fmla="*/ 0 h 38"/>
                <a:gd name="T12" fmla="*/ 9 w 57"/>
                <a:gd name="T13" fmla="*/ 9 h 38"/>
                <a:gd name="T14" fmla="*/ 9 w 57"/>
                <a:gd name="T15" fmla="*/ 19 h 38"/>
                <a:gd name="T16" fmla="*/ 19 w 57"/>
                <a:gd name="T17" fmla="*/ 28 h 38"/>
                <a:gd name="T18" fmla="*/ 19 w 57"/>
                <a:gd name="T19" fmla="*/ 28 h 38"/>
                <a:gd name="T20" fmla="*/ 28 w 57"/>
                <a:gd name="T21" fmla="*/ 28 h 38"/>
                <a:gd name="T22" fmla="*/ 47 w 57"/>
                <a:gd name="T23" fmla="*/ 38 h 38"/>
                <a:gd name="T24" fmla="*/ 57 w 57"/>
                <a:gd name="T25" fmla="*/ 38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
                <a:gd name="T40" fmla="*/ 0 h 38"/>
                <a:gd name="T41" fmla="*/ 57 w 57"/>
                <a:gd name="T42" fmla="*/ 38 h 3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 h="38">
                  <a:moveTo>
                    <a:pt x="57" y="38"/>
                  </a:moveTo>
                  <a:lnTo>
                    <a:pt x="38" y="19"/>
                  </a:lnTo>
                  <a:lnTo>
                    <a:pt x="28" y="9"/>
                  </a:lnTo>
                  <a:lnTo>
                    <a:pt x="19" y="0"/>
                  </a:lnTo>
                  <a:lnTo>
                    <a:pt x="0" y="0"/>
                  </a:lnTo>
                  <a:lnTo>
                    <a:pt x="9" y="9"/>
                  </a:lnTo>
                  <a:lnTo>
                    <a:pt x="9" y="19"/>
                  </a:lnTo>
                  <a:lnTo>
                    <a:pt x="19" y="28"/>
                  </a:lnTo>
                  <a:lnTo>
                    <a:pt x="28" y="28"/>
                  </a:lnTo>
                  <a:lnTo>
                    <a:pt x="47" y="38"/>
                  </a:lnTo>
                  <a:lnTo>
                    <a:pt x="57"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36" name="Freeform 114">
              <a:extLst>
                <a:ext uri="{FF2B5EF4-FFF2-40B4-BE49-F238E27FC236}">
                  <a16:creationId xmlns:a16="http://schemas.microsoft.com/office/drawing/2014/main" id="{2821499F-8188-4CA8-90DF-D0E34EF71C74}"/>
                </a:ext>
              </a:extLst>
            </p:cNvPr>
            <p:cNvSpPr>
              <a:spLocks/>
            </p:cNvSpPr>
            <p:nvPr/>
          </p:nvSpPr>
          <p:spPr bwMode="gray">
            <a:xfrm>
              <a:off x="3323" y="2252"/>
              <a:ext cx="57" cy="38"/>
            </a:xfrm>
            <a:custGeom>
              <a:avLst/>
              <a:gdLst>
                <a:gd name="T0" fmla="*/ 57 w 57"/>
                <a:gd name="T1" fmla="*/ 38 h 38"/>
                <a:gd name="T2" fmla="*/ 38 w 57"/>
                <a:gd name="T3" fmla="*/ 19 h 38"/>
                <a:gd name="T4" fmla="*/ 38 w 57"/>
                <a:gd name="T5" fmla="*/ 19 h 38"/>
                <a:gd name="T6" fmla="*/ 28 w 57"/>
                <a:gd name="T7" fmla="*/ 9 h 38"/>
                <a:gd name="T8" fmla="*/ 19 w 57"/>
                <a:gd name="T9" fmla="*/ 0 h 38"/>
                <a:gd name="T10" fmla="*/ 0 w 57"/>
                <a:gd name="T11" fmla="*/ 0 h 38"/>
                <a:gd name="T12" fmla="*/ 9 w 57"/>
                <a:gd name="T13" fmla="*/ 9 h 38"/>
                <a:gd name="T14" fmla="*/ 9 w 57"/>
                <a:gd name="T15" fmla="*/ 19 h 38"/>
                <a:gd name="T16" fmla="*/ 19 w 57"/>
                <a:gd name="T17" fmla="*/ 28 h 38"/>
                <a:gd name="T18" fmla="*/ 19 w 57"/>
                <a:gd name="T19" fmla="*/ 28 h 38"/>
                <a:gd name="T20" fmla="*/ 28 w 57"/>
                <a:gd name="T21" fmla="*/ 28 h 38"/>
                <a:gd name="T22" fmla="*/ 47 w 57"/>
                <a:gd name="T23" fmla="*/ 38 h 38"/>
                <a:gd name="T24" fmla="*/ 57 w 57"/>
                <a:gd name="T25" fmla="*/ 38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
                <a:gd name="T40" fmla="*/ 0 h 38"/>
                <a:gd name="T41" fmla="*/ 57 w 57"/>
                <a:gd name="T42" fmla="*/ 38 h 3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 h="38">
                  <a:moveTo>
                    <a:pt x="57" y="38"/>
                  </a:moveTo>
                  <a:lnTo>
                    <a:pt x="38" y="19"/>
                  </a:lnTo>
                  <a:lnTo>
                    <a:pt x="28" y="9"/>
                  </a:lnTo>
                  <a:lnTo>
                    <a:pt x="19" y="0"/>
                  </a:lnTo>
                  <a:lnTo>
                    <a:pt x="0" y="0"/>
                  </a:lnTo>
                  <a:lnTo>
                    <a:pt x="9" y="9"/>
                  </a:lnTo>
                  <a:lnTo>
                    <a:pt x="9" y="19"/>
                  </a:lnTo>
                  <a:lnTo>
                    <a:pt x="19" y="28"/>
                  </a:lnTo>
                  <a:lnTo>
                    <a:pt x="28" y="28"/>
                  </a:lnTo>
                  <a:lnTo>
                    <a:pt x="47" y="38"/>
                  </a:lnTo>
                  <a:lnTo>
                    <a:pt x="57"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37" name="Freeform 115">
              <a:extLst>
                <a:ext uri="{FF2B5EF4-FFF2-40B4-BE49-F238E27FC236}">
                  <a16:creationId xmlns:a16="http://schemas.microsoft.com/office/drawing/2014/main" id="{ABDB0891-1935-4033-8D19-FD86462613F5}"/>
                </a:ext>
              </a:extLst>
            </p:cNvPr>
            <p:cNvSpPr>
              <a:spLocks/>
            </p:cNvSpPr>
            <p:nvPr/>
          </p:nvSpPr>
          <p:spPr bwMode="gray">
            <a:xfrm>
              <a:off x="3504" y="2175"/>
              <a:ext cx="248" cy="143"/>
            </a:xfrm>
            <a:custGeom>
              <a:avLst/>
              <a:gdLst>
                <a:gd name="T0" fmla="*/ 181 w 248"/>
                <a:gd name="T1" fmla="*/ 143 h 143"/>
                <a:gd name="T2" fmla="*/ 181 w 248"/>
                <a:gd name="T3" fmla="*/ 134 h 143"/>
                <a:gd name="T4" fmla="*/ 190 w 248"/>
                <a:gd name="T5" fmla="*/ 124 h 143"/>
                <a:gd name="T6" fmla="*/ 181 w 248"/>
                <a:gd name="T7" fmla="*/ 124 h 143"/>
                <a:gd name="T8" fmla="*/ 181 w 248"/>
                <a:gd name="T9" fmla="*/ 105 h 143"/>
                <a:gd name="T10" fmla="*/ 190 w 248"/>
                <a:gd name="T11" fmla="*/ 105 h 143"/>
                <a:gd name="T12" fmla="*/ 200 w 248"/>
                <a:gd name="T13" fmla="*/ 96 h 143"/>
                <a:gd name="T14" fmla="*/ 200 w 248"/>
                <a:gd name="T15" fmla="*/ 86 h 143"/>
                <a:gd name="T16" fmla="*/ 219 w 248"/>
                <a:gd name="T17" fmla="*/ 86 h 143"/>
                <a:gd name="T18" fmla="*/ 229 w 248"/>
                <a:gd name="T19" fmla="*/ 86 h 143"/>
                <a:gd name="T20" fmla="*/ 219 w 248"/>
                <a:gd name="T21" fmla="*/ 96 h 143"/>
                <a:gd name="T22" fmla="*/ 219 w 248"/>
                <a:gd name="T23" fmla="*/ 96 h 143"/>
                <a:gd name="T24" fmla="*/ 238 w 248"/>
                <a:gd name="T25" fmla="*/ 96 h 143"/>
                <a:gd name="T26" fmla="*/ 248 w 248"/>
                <a:gd name="T27" fmla="*/ 86 h 143"/>
                <a:gd name="T28" fmla="*/ 248 w 248"/>
                <a:gd name="T29" fmla="*/ 77 h 143"/>
                <a:gd name="T30" fmla="*/ 238 w 248"/>
                <a:gd name="T31" fmla="*/ 77 h 143"/>
                <a:gd name="T32" fmla="*/ 238 w 248"/>
                <a:gd name="T33" fmla="*/ 67 h 143"/>
                <a:gd name="T34" fmla="*/ 219 w 248"/>
                <a:gd name="T35" fmla="*/ 67 h 143"/>
                <a:gd name="T36" fmla="*/ 209 w 248"/>
                <a:gd name="T37" fmla="*/ 67 h 143"/>
                <a:gd name="T38" fmla="*/ 219 w 248"/>
                <a:gd name="T39" fmla="*/ 67 h 143"/>
                <a:gd name="T40" fmla="*/ 229 w 248"/>
                <a:gd name="T41" fmla="*/ 67 h 143"/>
                <a:gd name="T42" fmla="*/ 229 w 248"/>
                <a:gd name="T43" fmla="*/ 58 h 143"/>
                <a:gd name="T44" fmla="*/ 209 w 248"/>
                <a:gd name="T45" fmla="*/ 58 h 143"/>
                <a:gd name="T46" fmla="*/ 200 w 248"/>
                <a:gd name="T47" fmla="*/ 67 h 143"/>
                <a:gd name="T48" fmla="*/ 200 w 248"/>
                <a:gd name="T49" fmla="*/ 77 h 143"/>
                <a:gd name="T50" fmla="*/ 190 w 248"/>
                <a:gd name="T51" fmla="*/ 77 h 143"/>
                <a:gd name="T52" fmla="*/ 181 w 248"/>
                <a:gd name="T53" fmla="*/ 86 h 143"/>
                <a:gd name="T54" fmla="*/ 181 w 248"/>
                <a:gd name="T55" fmla="*/ 86 h 143"/>
                <a:gd name="T56" fmla="*/ 171 w 248"/>
                <a:gd name="T57" fmla="*/ 77 h 143"/>
                <a:gd name="T58" fmla="*/ 162 w 248"/>
                <a:gd name="T59" fmla="*/ 77 h 143"/>
                <a:gd name="T60" fmla="*/ 152 w 248"/>
                <a:gd name="T61" fmla="*/ 48 h 143"/>
                <a:gd name="T62" fmla="*/ 143 w 248"/>
                <a:gd name="T63" fmla="*/ 58 h 143"/>
                <a:gd name="T64" fmla="*/ 143 w 248"/>
                <a:gd name="T65" fmla="*/ 38 h 143"/>
                <a:gd name="T66" fmla="*/ 124 w 248"/>
                <a:gd name="T67" fmla="*/ 29 h 143"/>
                <a:gd name="T68" fmla="*/ 124 w 248"/>
                <a:gd name="T69" fmla="*/ 29 h 143"/>
                <a:gd name="T70" fmla="*/ 105 w 248"/>
                <a:gd name="T71" fmla="*/ 29 h 143"/>
                <a:gd name="T72" fmla="*/ 95 w 248"/>
                <a:gd name="T73" fmla="*/ 29 h 143"/>
                <a:gd name="T74" fmla="*/ 86 w 248"/>
                <a:gd name="T75" fmla="*/ 19 h 143"/>
                <a:gd name="T76" fmla="*/ 47 w 248"/>
                <a:gd name="T77" fmla="*/ 0 h 143"/>
                <a:gd name="T78" fmla="*/ 0 w 248"/>
                <a:gd name="T79" fmla="*/ 19 h 143"/>
                <a:gd name="T80" fmla="*/ 0 w 248"/>
                <a:gd name="T81" fmla="*/ 67 h 143"/>
                <a:gd name="T82" fmla="*/ 28 w 248"/>
                <a:gd name="T83" fmla="*/ 67 h 143"/>
                <a:gd name="T84" fmla="*/ 28 w 248"/>
                <a:gd name="T85" fmla="*/ 58 h 143"/>
                <a:gd name="T86" fmla="*/ 38 w 248"/>
                <a:gd name="T87" fmla="*/ 58 h 143"/>
                <a:gd name="T88" fmla="*/ 47 w 248"/>
                <a:gd name="T89" fmla="*/ 58 h 143"/>
                <a:gd name="T90" fmla="*/ 47 w 248"/>
                <a:gd name="T91" fmla="*/ 48 h 143"/>
                <a:gd name="T92" fmla="*/ 47 w 248"/>
                <a:gd name="T93" fmla="*/ 48 h 143"/>
                <a:gd name="T94" fmla="*/ 57 w 248"/>
                <a:gd name="T95" fmla="*/ 58 h 143"/>
                <a:gd name="T96" fmla="*/ 66 w 248"/>
                <a:gd name="T97" fmla="*/ 58 h 143"/>
                <a:gd name="T98" fmla="*/ 66 w 248"/>
                <a:gd name="T99" fmla="*/ 67 h 143"/>
                <a:gd name="T100" fmla="*/ 66 w 248"/>
                <a:gd name="T101" fmla="*/ 67 h 143"/>
                <a:gd name="T102" fmla="*/ 86 w 248"/>
                <a:gd name="T103" fmla="*/ 77 h 143"/>
                <a:gd name="T104" fmla="*/ 95 w 248"/>
                <a:gd name="T105" fmla="*/ 86 h 143"/>
                <a:gd name="T106" fmla="*/ 105 w 248"/>
                <a:gd name="T107" fmla="*/ 96 h 143"/>
                <a:gd name="T108" fmla="*/ 105 w 248"/>
                <a:gd name="T109" fmla="*/ 105 h 143"/>
                <a:gd name="T110" fmla="*/ 124 w 248"/>
                <a:gd name="T111" fmla="*/ 124 h 143"/>
                <a:gd name="T112" fmla="*/ 133 w 248"/>
                <a:gd name="T113" fmla="*/ 124 h 143"/>
                <a:gd name="T114" fmla="*/ 143 w 248"/>
                <a:gd name="T115" fmla="*/ 134 h 143"/>
                <a:gd name="T116" fmla="*/ 152 w 248"/>
                <a:gd name="T117" fmla="*/ 134 h 143"/>
                <a:gd name="T118" fmla="*/ 162 w 248"/>
                <a:gd name="T119" fmla="*/ 143 h 143"/>
                <a:gd name="T120" fmla="*/ 181 w 248"/>
                <a:gd name="T121" fmla="*/ 143 h 14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8"/>
                <a:gd name="T184" fmla="*/ 0 h 143"/>
                <a:gd name="T185" fmla="*/ 248 w 248"/>
                <a:gd name="T186" fmla="*/ 143 h 14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8" h="143">
                  <a:moveTo>
                    <a:pt x="181" y="143"/>
                  </a:moveTo>
                  <a:lnTo>
                    <a:pt x="181" y="134"/>
                  </a:lnTo>
                  <a:lnTo>
                    <a:pt x="190" y="124"/>
                  </a:lnTo>
                  <a:lnTo>
                    <a:pt x="181" y="124"/>
                  </a:lnTo>
                  <a:lnTo>
                    <a:pt x="181" y="105"/>
                  </a:lnTo>
                  <a:lnTo>
                    <a:pt x="190" y="105"/>
                  </a:lnTo>
                  <a:lnTo>
                    <a:pt x="200" y="96"/>
                  </a:lnTo>
                  <a:lnTo>
                    <a:pt x="200" y="86"/>
                  </a:lnTo>
                  <a:lnTo>
                    <a:pt x="219" y="86"/>
                  </a:lnTo>
                  <a:lnTo>
                    <a:pt x="229" y="86"/>
                  </a:lnTo>
                  <a:lnTo>
                    <a:pt x="219" y="96"/>
                  </a:lnTo>
                  <a:lnTo>
                    <a:pt x="238" y="96"/>
                  </a:lnTo>
                  <a:lnTo>
                    <a:pt x="248" y="86"/>
                  </a:lnTo>
                  <a:lnTo>
                    <a:pt x="248" y="77"/>
                  </a:lnTo>
                  <a:lnTo>
                    <a:pt x="238" y="77"/>
                  </a:lnTo>
                  <a:lnTo>
                    <a:pt x="238" y="67"/>
                  </a:lnTo>
                  <a:lnTo>
                    <a:pt x="219" y="67"/>
                  </a:lnTo>
                  <a:lnTo>
                    <a:pt x="209" y="67"/>
                  </a:lnTo>
                  <a:lnTo>
                    <a:pt x="219" y="67"/>
                  </a:lnTo>
                  <a:lnTo>
                    <a:pt x="229" y="67"/>
                  </a:lnTo>
                  <a:lnTo>
                    <a:pt x="229" y="58"/>
                  </a:lnTo>
                  <a:lnTo>
                    <a:pt x="209" y="58"/>
                  </a:lnTo>
                  <a:lnTo>
                    <a:pt x="200" y="67"/>
                  </a:lnTo>
                  <a:lnTo>
                    <a:pt x="200" y="77"/>
                  </a:lnTo>
                  <a:lnTo>
                    <a:pt x="190" y="77"/>
                  </a:lnTo>
                  <a:lnTo>
                    <a:pt x="181" y="86"/>
                  </a:lnTo>
                  <a:lnTo>
                    <a:pt x="171" y="77"/>
                  </a:lnTo>
                  <a:lnTo>
                    <a:pt x="162" y="77"/>
                  </a:lnTo>
                  <a:lnTo>
                    <a:pt x="152" y="48"/>
                  </a:lnTo>
                  <a:lnTo>
                    <a:pt x="143" y="58"/>
                  </a:lnTo>
                  <a:lnTo>
                    <a:pt x="143" y="38"/>
                  </a:lnTo>
                  <a:lnTo>
                    <a:pt x="124" y="29"/>
                  </a:lnTo>
                  <a:lnTo>
                    <a:pt x="105" y="29"/>
                  </a:lnTo>
                  <a:lnTo>
                    <a:pt x="95" y="29"/>
                  </a:lnTo>
                  <a:lnTo>
                    <a:pt x="86" y="19"/>
                  </a:lnTo>
                  <a:lnTo>
                    <a:pt x="47" y="0"/>
                  </a:lnTo>
                  <a:lnTo>
                    <a:pt x="0" y="19"/>
                  </a:lnTo>
                  <a:lnTo>
                    <a:pt x="0" y="67"/>
                  </a:lnTo>
                  <a:lnTo>
                    <a:pt x="28" y="67"/>
                  </a:lnTo>
                  <a:lnTo>
                    <a:pt x="28" y="58"/>
                  </a:lnTo>
                  <a:lnTo>
                    <a:pt x="38" y="58"/>
                  </a:lnTo>
                  <a:lnTo>
                    <a:pt x="47" y="58"/>
                  </a:lnTo>
                  <a:lnTo>
                    <a:pt x="47" y="48"/>
                  </a:lnTo>
                  <a:lnTo>
                    <a:pt x="57" y="58"/>
                  </a:lnTo>
                  <a:lnTo>
                    <a:pt x="66" y="58"/>
                  </a:lnTo>
                  <a:lnTo>
                    <a:pt x="66" y="67"/>
                  </a:lnTo>
                  <a:lnTo>
                    <a:pt x="86" y="77"/>
                  </a:lnTo>
                  <a:lnTo>
                    <a:pt x="95" y="86"/>
                  </a:lnTo>
                  <a:lnTo>
                    <a:pt x="105" y="96"/>
                  </a:lnTo>
                  <a:lnTo>
                    <a:pt x="105" y="105"/>
                  </a:lnTo>
                  <a:lnTo>
                    <a:pt x="124" y="124"/>
                  </a:lnTo>
                  <a:lnTo>
                    <a:pt x="133" y="124"/>
                  </a:lnTo>
                  <a:lnTo>
                    <a:pt x="143" y="134"/>
                  </a:lnTo>
                  <a:lnTo>
                    <a:pt x="152" y="134"/>
                  </a:lnTo>
                  <a:lnTo>
                    <a:pt x="162" y="143"/>
                  </a:lnTo>
                  <a:lnTo>
                    <a:pt x="181" y="143"/>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38" name="Freeform 116">
              <a:extLst>
                <a:ext uri="{FF2B5EF4-FFF2-40B4-BE49-F238E27FC236}">
                  <a16:creationId xmlns:a16="http://schemas.microsoft.com/office/drawing/2014/main" id="{614C4244-E6B6-4032-9151-0D7DEA86EB12}"/>
                </a:ext>
              </a:extLst>
            </p:cNvPr>
            <p:cNvSpPr>
              <a:spLocks/>
            </p:cNvSpPr>
            <p:nvPr/>
          </p:nvSpPr>
          <p:spPr bwMode="gray">
            <a:xfrm>
              <a:off x="3504" y="2175"/>
              <a:ext cx="248" cy="143"/>
            </a:xfrm>
            <a:custGeom>
              <a:avLst/>
              <a:gdLst>
                <a:gd name="T0" fmla="*/ 181 w 248"/>
                <a:gd name="T1" fmla="*/ 143 h 143"/>
                <a:gd name="T2" fmla="*/ 181 w 248"/>
                <a:gd name="T3" fmla="*/ 134 h 143"/>
                <a:gd name="T4" fmla="*/ 190 w 248"/>
                <a:gd name="T5" fmla="*/ 124 h 143"/>
                <a:gd name="T6" fmla="*/ 181 w 248"/>
                <a:gd name="T7" fmla="*/ 124 h 143"/>
                <a:gd name="T8" fmla="*/ 181 w 248"/>
                <a:gd name="T9" fmla="*/ 105 h 143"/>
                <a:gd name="T10" fmla="*/ 190 w 248"/>
                <a:gd name="T11" fmla="*/ 105 h 143"/>
                <a:gd name="T12" fmla="*/ 200 w 248"/>
                <a:gd name="T13" fmla="*/ 96 h 143"/>
                <a:gd name="T14" fmla="*/ 200 w 248"/>
                <a:gd name="T15" fmla="*/ 86 h 143"/>
                <a:gd name="T16" fmla="*/ 219 w 248"/>
                <a:gd name="T17" fmla="*/ 86 h 143"/>
                <a:gd name="T18" fmla="*/ 229 w 248"/>
                <a:gd name="T19" fmla="*/ 86 h 143"/>
                <a:gd name="T20" fmla="*/ 219 w 248"/>
                <a:gd name="T21" fmla="*/ 96 h 143"/>
                <a:gd name="T22" fmla="*/ 219 w 248"/>
                <a:gd name="T23" fmla="*/ 96 h 143"/>
                <a:gd name="T24" fmla="*/ 238 w 248"/>
                <a:gd name="T25" fmla="*/ 96 h 143"/>
                <a:gd name="T26" fmla="*/ 248 w 248"/>
                <a:gd name="T27" fmla="*/ 86 h 143"/>
                <a:gd name="T28" fmla="*/ 248 w 248"/>
                <a:gd name="T29" fmla="*/ 77 h 143"/>
                <a:gd name="T30" fmla="*/ 238 w 248"/>
                <a:gd name="T31" fmla="*/ 77 h 143"/>
                <a:gd name="T32" fmla="*/ 238 w 248"/>
                <a:gd name="T33" fmla="*/ 67 h 143"/>
                <a:gd name="T34" fmla="*/ 219 w 248"/>
                <a:gd name="T35" fmla="*/ 67 h 143"/>
                <a:gd name="T36" fmla="*/ 209 w 248"/>
                <a:gd name="T37" fmla="*/ 67 h 143"/>
                <a:gd name="T38" fmla="*/ 219 w 248"/>
                <a:gd name="T39" fmla="*/ 67 h 143"/>
                <a:gd name="T40" fmla="*/ 229 w 248"/>
                <a:gd name="T41" fmla="*/ 67 h 143"/>
                <a:gd name="T42" fmla="*/ 229 w 248"/>
                <a:gd name="T43" fmla="*/ 58 h 143"/>
                <a:gd name="T44" fmla="*/ 209 w 248"/>
                <a:gd name="T45" fmla="*/ 58 h 143"/>
                <a:gd name="T46" fmla="*/ 200 w 248"/>
                <a:gd name="T47" fmla="*/ 67 h 143"/>
                <a:gd name="T48" fmla="*/ 200 w 248"/>
                <a:gd name="T49" fmla="*/ 77 h 143"/>
                <a:gd name="T50" fmla="*/ 190 w 248"/>
                <a:gd name="T51" fmla="*/ 77 h 143"/>
                <a:gd name="T52" fmla="*/ 181 w 248"/>
                <a:gd name="T53" fmla="*/ 86 h 143"/>
                <a:gd name="T54" fmla="*/ 181 w 248"/>
                <a:gd name="T55" fmla="*/ 86 h 143"/>
                <a:gd name="T56" fmla="*/ 171 w 248"/>
                <a:gd name="T57" fmla="*/ 77 h 143"/>
                <a:gd name="T58" fmla="*/ 162 w 248"/>
                <a:gd name="T59" fmla="*/ 77 h 143"/>
                <a:gd name="T60" fmla="*/ 152 w 248"/>
                <a:gd name="T61" fmla="*/ 48 h 143"/>
                <a:gd name="T62" fmla="*/ 143 w 248"/>
                <a:gd name="T63" fmla="*/ 58 h 143"/>
                <a:gd name="T64" fmla="*/ 143 w 248"/>
                <a:gd name="T65" fmla="*/ 38 h 143"/>
                <a:gd name="T66" fmla="*/ 124 w 248"/>
                <a:gd name="T67" fmla="*/ 29 h 143"/>
                <a:gd name="T68" fmla="*/ 124 w 248"/>
                <a:gd name="T69" fmla="*/ 29 h 143"/>
                <a:gd name="T70" fmla="*/ 105 w 248"/>
                <a:gd name="T71" fmla="*/ 29 h 143"/>
                <a:gd name="T72" fmla="*/ 95 w 248"/>
                <a:gd name="T73" fmla="*/ 29 h 143"/>
                <a:gd name="T74" fmla="*/ 86 w 248"/>
                <a:gd name="T75" fmla="*/ 19 h 143"/>
                <a:gd name="T76" fmla="*/ 47 w 248"/>
                <a:gd name="T77" fmla="*/ 0 h 143"/>
                <a:gd name="T78" fmla="*/ 0 w 248"/>
                <a:gd name="T79" fmla="*/ 19 h 143"/>
                <a:gd name="T80" fmla="*/ 0 w 248"/>
                <a:gd name="T81" fmla="*/ 67 h 143"/>
                <a:gd name="T82" fmla="*/ 28 w 248"/>
                <a:gd name="T83" fmla="*/ 67 h 143"/>
                <a:gd name="T84" fmla="*/ 28 w 248"/>
                <a:gd name="T85" fmla="*/ 58 h 143"/>
                <a:gd name="T86" fmla="*/ 38 w 248"/>
                <a:gd name="T87" fmla="*/ 58 h 143"/>
                <a:gd name="T88" fmla="*/ 47 w 248"/>
                <a:gd name="T89" fmla="*/ 58 h 143"/>
                <a:gd name="T90" fmla="*/ 47 w 248"/>
                <a:gd name="T91" fmla="*/ 48 h 143"/>
                <a:gd name="T92" fmla="*/ 47 w 248"/>
                <a:gd name="T93" fmla="*/ 48 h 143"/>
                <a:gd name="T94" fmla="*/ 57 w 248"/>
                <a:gd name="T95" fmla="*/ 58 h 143"/>
                <a:gd name="T96" fmla="*/ 66 w 248"/>
                <a:gd name="T97" fmla="*/ 58 h 143"/>
                <a:gd name="T98" fmla="*/ 66 w 248"/>
                <a:gd name="T99" fmla="*/ 67 h 143"/>
                <a:gd name="T100" fmla="*/ 66 w 248"/>
                <a:gd name="T101" fmla="*/ 67 h 143"/>
                <a:gd name="T102" fmla="*/ 86 w 248"/>
                <a:gd name="T103" fmla="*/ 77 h 143"/>
                <a:gd name="T104" fmla="*/ 95 w 248"/>
                <a:gd name="T105" fmla="*/ 86 h 143"/>
                <a:gd name="T106" fmla="*/ 105 w 248"/>
                <a:gd name="T107" fmla="*/ 96 h 143"/>
                <a:gd name="T108" fmla="*/ 105 w 248"/>
                <a:gd name="T109" fmla="*/ 105 h 143"/>
                <a:gd name="T110" fmla="*/ 124 w 248"/>
                <a:gd name="T111" fmla="*/ 124 h 143"/>
                <a:gd name="T112" fmla="*/ 133 w 248"/>
                <a:gd name="T113" fmla="*/ 124 h 143"/>
                <a:gd name="T114" fmla="*/ 143 w 248"/>
                <a:gd name="T115" fmla="*/ 134 h 143"/>
                <a:gd name="T116" fmla="*/ 152 w 248"/>
                <a:gd name="T117" fmla="*/ 134 h 143"/>
                <a:gd name="T118" fmla="*/ 162 w 248"/>
                <a:gd name="T119" fmla="*/ 143 h 143"/>
                <a:gd name="T120" fmla="*/ 181 w 248"/>
                <a:gd name="T121" fmla="*/ 143 h 14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8"/>
                <a:gd name="T184" fmla="*/ 0 h 143"/>
                <a:gd name="T185" fmla="*/ 248 w 248"/>
                <a:gd name="T186" fmla="*/ 143 h 14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8" h="143">
                  <a:moveTo>
                    <a:pt x="181" y="143"/>
                  </a:moveTo>
                  <a:lnTo>
                    <a:pt x="181" y="134"/>
                  </a:lnTo>
                  <a:lnTo>
                    <a:pt x="190" y="124"/>
                  </a:lnTo>
                  <a:lnTo>
                    <a:pt x="181" y="124"/>
                  </a:lnTo>
                  <a:lnTo>
                    <a:pt x="181" y="105"/>
                  </a:lnTo>
                  <a:lnTo>
                    <a:pt x="190" y="105"/>
                  </a:lnTo>
                  <a:lnTo>
                    <a:pt x="200" y="96"/>
                  </a:lnTo>
                  <a:lnTo>
                    <a:pt x="200" y="86"/>
                  </a:lnTo>
                  <a:lnTo>
                    <a:pt x="219" y="86"/>
                  </a:lnTo>
                  <a:lnTo>
                    <a:pt x="229" y="86"/>
                  </a:lnTo>
                  <a:lnTo>
                    <a:pt x="219" y="96"/>
                  </a:lnTo>
                  <a:lnTo>
                    <a:pt x="238" y="96"/>
                  </a:lnTo>
                  <a:lnTo>
                    <a:pt x="248" y="86"/>
                  </a:lnTo>
                  <a:lnTo>
                    <a:pt x="248" y="77"/>
                  </a:lnTo>
                  <a:lnTo>
                    <a:pt x="238" y="77"/>
                  </a:lnTo>
                  <a:lnTo>
                    <a:pt x="238" y="67"/>
                  </a:lnTo>
                  <a:lnTo>
                    <a:pt x="219" y="67"/>
                  </a:lnTo>
                  <a:lnTo>
                    <a:pt x="209" y="67"/>
                  </a:lnTo>
                  <a:lnTo>
                    <a:pt x="219" y="67"/>
                  </a:lnTo>
                  <a:lnTo>
                    <a:pt x="229" y="67"/>
                  </a:lnTo>
                  <a:lnTo>
                    <a:pt x="229" y="58"/>
                  </a:lnTo>
                  <a:lnTo>
                    <a:pt x="209" y="58"/>
                  </a:lnTo>
                  <a:lnTo>
                    <a:pt x="200" y="67"/>
                  </a:lnTo>
                  <a:lnTo>
                    <a:pt x="200" y="77"/>
                  </a:lnTo>
                  <a:lnTo>
                    <a:pt x="190" y="77"/>
                  </a:lnTo>
                  <a:lnTo>
                    <a:pt x="181" y="86"/>
                  </a:lnTo>
                  <a:lnTo>
                    <a:pt x="171" y="77"/>
                  </a:lnTo>
                  <a:lnTo>
                    <a:pt x="162" y="77"/>
                  </a:lnTo>
                  <a:lnTo>
                    <a:pt x="152" y="48"/>
                  </a:lnTo>
                  <a:lnTo>
                    <a:pt x="143" y="58"/>
                  </a:lnTo>
                  <a:lnTo>
                    <a:pt x="143" y="38"/>
                  </a:lnTo>
                  <a:lnTo>
                    <a:pt x="124" y="29"/>
                  </a:lnTo>
                  <a:lnTo>
                    <a:pt x="105" y="29"/>
                  </a:lnTo>
                  <a:lnTo>
                    <a:pt x="95" y="29"/>
                  </a:lnTo>
                  <a:lnTo>
                    <a:pt x="86" y="19"/>
                  </a:lnTo>
                  <a:lnTo>
                    <a:pt x="47" y="0"/>
                  </a:lnTo>
                  <a:lnTo>
                    <a:pt x="0" y="19"/>
                  </a:lnTo>
                  <a:lnTo>
                    <a:pt x="0" y="67"/>
                  </a:lnTo>
                  <a:lnTo>
                    <a:pt x="28" y="67"/>
                  </a:lnTo>
                  <a:lnTo>
                    <a:pt x="28" y="58"/>
                  </a:lnTo>
                  <a:lnTo>
                    <a:pt x="38" y="58"/>
                  </a:lnTo>
                  <a:lnTo>
                    <a:pt x="47" y="58"/>
                  </a:lnTo>
                  <a:lnTo>
                    <a:pt x="47" y="48"/>
                  </a:lnTo>
                  <a:lnTo>
                    <a:pt x="57" y="58"/>
                  </a:lnTo>
                  <a:lnTo>
                    <a:pt x="66" y="58"/>
                  </a:lnTo>
                  <a:lnTo>
                    <a:pt x="66" y="67"/>
                  </a:lnTo>
                  <a:lnTo>
                    <a:pt x="86" y="77"/>
                  </a:lnTo>
                  <a:lnTo>
                    <a:pt x="95" y="86"/>
                  </a:lnTo>
                  <a:lnTo>
                    <a:pt x="105" y="96"/>
                  </a:lnTo>
                  <a:lnTo>
                    <a:pt x="105" y="105"/>
                  </a:lnTo>
                  <a:lnTo>
                    <a:pt x="124" y="124"/>
                  </a:lnTo>
                  <a:lnTo>
                    <a:pt x="133" y="124"/>
                  </a:lnTo>
                  <a:lnTo>
                    <a:pt x="143" y="134"/>
                  </a:lnTo>
                  <a:lnTo>
                    <a:pt x="152" y="134"/>
                  </a:lnTo>
                  <a:lnTo>
                    <a:pt x="162" y="143"/>
                  </a:lnTo>
                  <a:lnTo>
                    <a:pt x="181" y="143"/>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39" name="Freeform 117">
              <a:extLst>
                <a:ext uri="{FF2B5EF4-FFF2-40B4-BE49-F238E27FC236}">
                  <a16:creationId xmlns:a16="http://schemas.microsoft.com/office/drawing/2014/main" id="{30D11819-65EC-4F67-BF68-005C4EEC1F95}"/>
                </a:ext>
              </a:extLst>
            </p:cNvPr>
            <p:cNvSpPr>
              <a:spLocks/>
            </p:cNvSpPr>
            <p:nvPr/>
          </p:nvSpPr>
          <p:spPr bwMode="gray">
            <a:xfrm>
              <a:off x="2999" y="1946"/>
              <a:ext cx="85" cy="57"/>
            </a:xfrm>
            <a:custGeom>
              <a:avLst/>
              <a:gdLst>
                <a:gd name="T0" fmla="*/ 9 w 85"/>
                <a:gd name="T1" fmla="*/ 29 h 57"/>
                <a:gd name="T2" fmla="*/ 19 w 85"/>
                <a:gd name="T3" fmla="*/ 29 h 57"/>
                <a:gd name="T4" fmla="*/ 28 w 85"/>
                <a:gd name="T5" fmla="*/ 29 h 57"/>
                <a:gd name="T6" fmla="*/ 28 w 85"/>
                <a:gd name="T7" fmla="*/ 48 h 57"/>
                <a:gd name="T8" fmla="*/ 38 w 85"/>
                <a:gd name="T9" fmla="*/ 48 h 57"/>
                <a:gd name="T10" fmla="*/ 38 w 85"/>
                <a:gd name="T11" fmla="*/ 48 h 57"/>
                <a:gd name="T12" fmla="*/ 47 w 85"/>
                <a:gd name="T13" fmla="*/ 57 h 57"/>
                <a:gd name="T14" fmla="*/ 57 w 85"/>
                <a:gd name="T15" fmla="*/ 48 h 57"/>
                <a:gd name="T16" fmla="*/ 57 w 85"/>
                <a:gd name="T17" fmla="*/ 48 h 57"/>
                <a:gd name="T18" fmla="*/ 66 w 85"/>
                <a:gd name="T19" fmla="*/ 38 h 57"/>
                <a:gd name="T20" fmla="*/ 76 w 85"/>
                <a:gd name="T21" fmla="*/ 29 h 57"/>
                <a:gd name="T22" fmla="*/ 85 w 85"/>
                <a:gd name="T23" fmla="*/ 19 h 57"/>
                <a:gd name="T24" fmla="*/ 66 w 85"/>
                <a:gd name="T25" fmla="*/ 0 h 57"/>
                <a:gd name="T26" fmla="*/ 38 w 85"/>
                <a:gd name="T27" fmla="*/ 0 h 57"/>
                <a:gd name="T28" fmla="*/ 9 w 85"/>
                <a:gd name="T29" fmla="*/ 0 h 57"/>
                <a:gd name="T30" fmla="*/ 0 w 85"/>
                <a:gd name="T31" fmla="*/ 0 h 57"/>
                <a:gd name="T32" fmla="*/ 9 w 85"/>
                <a:gd name="T33" fmla="*/ 29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5"/>
                <a:gd name="T52" fmla="*/ 0 h 57"/>
                <a:gd name="T53" fmla="*/ 85 w 85"/>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5" h="57">
                  <a:moveTo>
                    <a:pt x="9" y="29"/>
                  </a:moveTo>
                  <a:lnTo>
                    <a:pt x="19" y="29"/>
                  </a:lnTo>
                  <a:lnTo>
                    <a:pt x="28" y="29"/>
                  </a:lnTo>
                  <a:lnTo>
                    <a:pt x="28" y="48"/>
                  </a:lnTo>
                  <a:lnTo>
                    <a:pt x="38" y="48"/>
                  </a:lnTo>
                  <a:lnTo>
                    <a:pt x="47" y="57"/>
                  </a:lnTo>
                  <a:lnTo>
                    <a:pt x="57" y="48"/>
                  </a:lnTo>
                  <a:lnTo>
                    <a:pt x="66" y="38"/>
                  </a:lnTo>
                  <a:lnTo>
                    <a:pt x="76" y="29"/>
                  </a:lnTo>
                  <a:lnTo>
                    <a:pt x="85" y="19"/>
                  </a:lnTo>
                  <a:lnTo>
                    <a:pt x="66" y="0"/>
                  </a:lnTo>
                  <a:lnTo>
                    <a:pt x="38" y="0"/>
                  </a:lnTo>
                  <a:lnTo>
                    <a:pt x="9" y="0"/>
                  </a:lnTo>
                  <a:lnTo>
                    <a:pt x="0" y="0"/>
                  </a:lnTo>
                  <a:lnTo>
                    <a:pt x="9" y="2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40" name="Freeform 118">
              <a:extLst>
                <a:ext uri="{FF2B5EF4-FFF2-40B4-BE49-F238E27FC236}">
                  <a16:creationId xmlns:a16="http://schemas.microsoft.com/office/drawing/2014/main" id="{8A4EC69E-AE7A-4FC2-89CA-28CD0807B887}"/>
                </a:ext>
              </a:extLst>
            </p:cNvPr>
            <p:cNvSpPr>
              <a:spLocks/>
            </p:cNvSpPr>
            <p:nvPr/>
          </p:nvSpPr>
          <p:spPr bwMode="gray">
            <a:xfrm>
              <a:off x="2999" y="1946"/>
              <a:ext cx="85" cy="57"/>
            </a:xfrm>
            <a:custGeom>
              <a:avLst/>
              <a:gdLst>
                <a:gd name="T0" fmla="*/ 9 w 85"/>
                <a:gd name="T1" fmla="*/ 29 h 57"/>
                <a:gd name="T2" fmla="*/ 19 w 85"/>
                <a:gd name="T3" fmla="*/ 29 h 57"/>
                <a:gd name="T4" fmla="*/ 28 w 85"/>
                <a:gd name="T5" fmla="*/ 29 h 57"/>
                <a:gd name="T6" fmla="*/ 28 w 85"/>
                <a:gd name="T7" fmla="*/ 48 h 57"/>
                <a:gd name="T8" fmla="*/ 38 w 85"/>
                <a:gd name="T9" fmla="*/ 48 h 57"/>
                <a:gd name="T10" fmla="*/ 38 w 85"/>
                <a:gd name="T11" fmla="*/ 48 h 57"/>
                <a:gd name="T12" fmla="*/ 47 w 85"/>
                <a:gd name="T13" fmla="*/ 57 h 57"/>
                <a:gd name="T14" fmla="*/ 57 w 85"/>
                <a:gd name="T15" fmla="*/ 48 h 57"/>
                <a:gd name="T16" fmla="*/ 57 w 85"/>
                <a:gd name="T17" fmla="*/ 48 h 57"/>
                <a:gd name="T18" fmla="*/ 66 w 85"/>
                <a:gd name="T19" fmla="*/ 38 h 57"/>
                <a:gd name="T20" fmla="*/ 76 w 85"/>
                <a:gd name="T21" fmla="*/ 29 h 57"/>
                <a:gd name="T22" fmla="*/ 85 w 85"/>
                <a:gd name="T23" fmla="*/ 19 h 57"/>
                <a:gd name="T24" fmla="*/ 66 w 85"/>
                <a:gd name="T25" fmla="*/ 0 h 57"/>
                <a:gd name="T26" fmla="*/ 38 w 85"/>
                <a:gd name="T27" fmla="*/ 0 h 57"/>
                <a:gd name="T28" fmla="*/ 9 w 85"/>
                <a:gd name="T29" fmla="*/ 0 h 57"/>
                <a:gd name="T30" fmla="*/ 0 w 85"/>
                <a:gd name="T31" fmla="*/ 0 h 57"/>
                <a:gd name="T32" fmla="*/ 9 w 85"/>
                <a:gd name="T33" fmla="*/ 29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5"/>
                <a:gd name="T52" fmla="*/ 0 h 57"/>
                <a:gd name="T53" fmla="*/ 85 w 85"/>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5" h="57">
                  <a:moveTo>
                    <a:pt x="9" y="29"/>
                  </a:moveTo>
                  <a:lnTo>
                    <a:pt x="19" y="29"/>
                  </a:lnTo>
                  <a:lnTo>
                    <a:pt x="28" y="29"/>
                  </a:lnTo>
                  <a:lnTo>
                    <a:pt x="28" y="48"/>
                  </a:lnTo>
                  <a:lnTo>
                    <a:pt x="38" y="48"/>
                  </a:lnTo>
                  <a:lnTo>
                    <a:pt x="47" y="57"/>
                  </a:lnTo>
                  <a:lnTo>
                    <a:pt x="57" y="48"/>
                  </a:lnTo>
                  <a:lnTo>
                    <a:pt x="66" y="38"/>
                  </a:lnTo>
                  <a:lnTo>
                    <a:pt x="76" y="29"/>
                  </a:lnTo>
                  <a:lnTo>
                    <a:pt x="85" y="19"/>
                  </a:lnTo>
                  <a:lnTo>
                    <a:pt x="66" y="0"/>
                  </a:lnTo>
                  <a:lnTo>
                    <a:pt x="38" y="0"/>
                  </a:lnTo>
                  <a:lnTo>
                    <a:pt x="9" y="0"/>
                  </a:lnTo>
                  <a:lnTo>
                    <a:pt x="0" y="0"/>
                  </a:lnTo>
                  <a:lnTo>
                    <a:pt x="9" y="2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41" name="Freeform 119">
              <a:extLst>
                <a:ext uri="{FF2B5EF4-FFF2-40B4-BE49-F238E27FC236}">
                  <a16:creationId xmlns:a16="http://schemas.microsoft.com/office/drawing/2014/main" id="{EE23803B-EE2C-4339-A1D6-1F25369809A7}"/>
                </a:ext>
              </a:extLst>
            </p:cNvPr>
            <p:cNvSpPr>
              <a:spLocks/>
            </p:cNvSpPr>
            <p:nvPr/>
          </p:nvSpPr>
          <p:spPr bwMode="gray">
            <a:xfrm>
              <a:off x="3037" y="1946"/>
              <a:ext cx="133" cy="115"/>
            </a:xfrm>
            <a:custGeom>
              <a:avLst/>
              <a:gdLst>
                <a:gd name="T0" fmla="*/ 114 w 133"/>
                <a:gd name="T1" fmla="*/ 96 h 115"/>
                <a:gd name="T2" fmla="*/ 105 w 133"/>
                <a:gd name="T3" fmla="*/ 96 h 115"/>
                <a:gd name="T4" fmla="*/ 105 w 133"/>
                <a:gd name="T5" fmla="*/ 105 h 115"/>
                <a:gd name="T6" fmla="*/ 95 w 133"/>
                <a:gd name="T7" fmla="*/ 105 h 115"/>
                <a:gd name="T8" fmla="*/ 66 w 133"/>
                <a:gd name="T9" fmla="*/ 96 h 115"/>
                <a:gd name="T10" fmla="*/ 66 w 133"/>
                <a:gd name="T11" fmla="*/ 105 h 115"/>
                <a:gd name="T12" fmla="*/ 47 w 133"/>
                <a:gd name="T13" fmla="*/ 96 h 115"/>
                <a:gd name="T14" fmla="*/ 47 w 133"/>
                <a:gd name="T15" fmla="*/ 96 h 115"/>
                <a:gd name="T16" fmla="*/ 38 w 133"/>
                <a:gd name="T17" fmla="*/ 96 h 115"/>
                <a:gd name="T18" fmla="*/ 19 w 133"/>
                <a:gd name="T19" fmla="*/ 96 h 115"/>
                <a:gd name="T20" fmla="*/ 9 w 133"/>
                <a:gd name="T21" fmla="*/ 115 h 115"/>
                <a:gd name="T22" fmla="*/ 9 w 133"/>
                <a:gd name="T23" fmla="*/ 96 h 115"/>
                <a:gd name="T24" fmla="*/ 0 w 133"/>
                <a:gd name="T25" fmla="*/ 86 h 115"/>
                <a:gd name="T26" fmla="*/ 9 w 133"/>
                <a:gd name="T27" fmla="*/ 77 h 115"/>
                <a:gd name="T28" fmla="*/ 0 w 133"/>
                <a:gd name="T29" fmla="*/ 67 h 115"/>
                <a:gd name="T30" fmla="*/ 0 w 133"/>
                <a:gd name="T31" fmla="*/ 48 h 115"/>
                <a:gd name="T32" fmla="*/ 9 w 133"/>
                <a:gd name="T33" fmla="*/ 57 h 115"/>
                <a:gd name="T34" fmla="*/ 19 w 133"/>
                <a:gd name="T35" fmla="*/ 48 h 115"/>
                <a:gd name="T36" fmla="*/ 19 w 133"/>
                <a:gd name="T37" fmla="*/ 48 h 115"/>
                <a:gd name="T38" fmla="*/ 28 w 133"/>
                <a:gd name="T39" fmla="*/ 38 h 115"/>
                <a:gd name="T40" fmla="*/ 38 w 133"/>
                <a:gd name="T41" fmla="*/ 29 h 115"/>
                <a:gd name="T42" fmla="*/ 47 w 133"/>
                <a:gd name="T43" fmla="*/ 19 h 115"/>
                <a:gd name="T44" fmla="*/ 47 w 133"/>
                <a:gd name="T45" fmla="*/ 19 h 115"/>
                <a:gd name="T46" fmla="*/ 66 w 133"/>
                <a:gd name="T47" fmla="*/ 0 h 115"/>
                <a:gd name="T48" fmla="*/ 76 w 133"/>
                <a:gd name="T49" fmla="*/ 0 h 115"/>
                <a:gd name="T50" fmla="*/ 76 w 133"/>
                <a:gd name="T51" fmla="*/ 10 h 115"/>
                <a:gd name="T52" fmla="*/ 85 w 133"/>
                <a:gd name="T53" fmla="*/ 10 h 115"/>
                <a:gd name="T54" fmla="*/ 95 w 133"/>
                <a:gd name="T55" fmla="*/ 10 h 115"/>
                <a:gd name="T56" fmla="*/ 105 w 133"/>
                <a:gd name="T57" fmla="*/ 19 h 115"/>
                <a:gd name="T58" fmla="*/ 105 w 133"/>
                <a:gd name="T59" fmla="*/ 38 h 115"/>
                <a:gd name="T60" fmla="*/ 114 w 133"/>
                <a:gd name="T61" fmla="*/ 48 h 115"/>
                <a:gd name="T62" fmla="*/ 133 w 133"/>
                <a:gd name="T63" fmla="*/ 67 h 115"/>
                <a:gd name="T64" fmla="*/ 124 w 133"/>
                <a:gd name="T65" fmla="*/ 77 h 115"/>
                <a:gd name="T66" fmla="*/ 124 w 133"/>
                <a:gd name="T67" fmla="*/ 77 h 115"/>
                <a:gd name="T68" fmla="*/ 114 w 133"/>
                <a:gd name="T69" fmla="*/ 67 h 115"/>
                <a:gd name="T70" fmla="*/ 105 w 133"/>
                <a:gd name="T71" fmla="*/ 67 h 115"/>
                <a:gd name="T72" fmla="*/ 105 w 133"/>
                <a:gd name="T73" fmla="*/ 77 h 115"/>
                <a:gd name="T74" fmla="*/ 114 w 133"/>
                <a:gd name="T75" fmla="*/ 86 h 115"/>
                <a:gd name="T76" fmla="*/ 114 w 133"/>
                <a:gd name="T77" fmla="*/ 96 h 11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3"/>
                <a:gd name="T118" fmla="*/ 0 h 115"/>
                <a:gd name="T119" fmla="*/ 133 w 133"/>
                <a:gd name="T120" fmla="*/ 115 h 11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3" h="115">
                  <a:moveTo>
                    <a:pt x="114" y="96"/>
                  </a:moveTo>
                  <a:lnTo>
                    <a:pt x="105" y="96"/>
                  </a:lnTo>
                  <a:lnTo>
                    <a:pt x="105" y="105"/>
                  </a:lnTo>
                  <a:lnTo>
                    <a:pt x="95" y="105"/>
                  </a:lnTo>
                  <a:lnTo>
                    <a:pt x="66" y="96"/>
                  </a:lnTo>
                  <a:lnTo>
                    <a:pt x="66" y="105"/>
                  </a:lnTo>
                  <a:lnTo>
                    <a:pt x="47" y="96"/>
                  </a:lnTo>
                  <a:lnTo>
                    <a:pt x="38" y="96"/>
                  </a:lnTo>
                  <a:lnTo>
                    <a:pt x="19" y="96"/>
                  </a:lnTo>
                  <a:lnTo>
                    <a:pt x="9" y="115"/>
                  </a:lnTo>
                  <a:lnTo>
                    <a:pt x="9" y="96"/>
                  </a:lnTo>
                  <a:lnTo>
                    <a:pt x="0" y="86"/>
                  </a:lnTo>
                  <a:lnTo>
                    <a:pt x="9" y="77"/>
                  </a:lnTo>
                  <a:lnTo>
                    <a:pt x="0" y="67"/>
                  </a:lnTo>
                  <a:lnTo>
                    <a:pt x="0" y="48"/>
                  </a:lnTo>
                  <a:lnTo>
                    <a:pt x="9" y="57"/>
                  </a:lnTo>
                  <a:lnTo>
                    <a:pt x="19" y="48"/>
                  </a:lnTo>
                  <a:lnTo>
                    <a:pt x="28" y="38"/>
                  </a:lnTo>
                  <a:lnTo>
                    <a:pt x="38" y="29"/>
                  </a:lnTo>
                  <a:lnTo>
                    <a:pt x="47" y="19"/>
                  </a:lnTo>
                  <a:lnTo>
                    <a:pt x="66" y="0"/>
                  </a:lnTo>
                  <a:lnTo>
                    <a:pt x="76" y="0"/>
                  </a:lnTo>
                  <a:lnTo>
                    <a:pt x="76" y="10"/>
                  </a:lnTo>
                  <a:lnTo>
                    <a:pt x="85" y="10"/>
                  </a:lnTo>
                  <a:lnTo>
                    <a:pt x="95" y="10"/>
                  </a:lnTo>
                  <a:lnTo>
                    <a:pt x="105" y="19"/>
                  </a:lnTo>
                  <a:lnTo>
                    <a:pt x="105" y="38"/>
                  </a:lnTo>
                  <a:lnTo>
                    <a:pt x="114" y="48"/>
                  </a:lnTo>
                  <a:lnTo>
                    <a:pt x="133" y="67"/>
                  </a:lnTo>
                  <a:lnTo>
                    <a:pt x="124" y="77"/>
                  </a:lnTo>
                  <a:lnTo>
                    <a:pt x="114" y="67"/>
                  </a:lnTo>
                  <a:lnTo>
                    <a:pt x="105" y="67"/>
                  </a:lnTo>
                  <a:lnTo>
                    <a:pt x="105" y="77"/>
                  </a:lnTo>
                  <a:lnTo>
                    <a:pt x="114" y="86"/>
                  </a:lnTo>
                  <a:lnTo>
                    <a:pt x="114" y="96"/>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42" name="Freeform 120">
              <a:extLst>
                <a:ext uri="{FF2B5EF4-FFF2-40B4-BE49-F238E27FC236}">
                  <a16:creationId xmlns:a16="http://schemas.microsoft.com/office/drawing/2014/main" id="{7CC4348A-3EEF-4FC7-9373-18F66E14851F}"/>
                </a:ext>
              </a:extLst>
            </p:cNvPr>
            <p:cNvSpPr>
              <a:spLocks/>
            </p:cNvSpPr>
            <p:nvPr/>
          </p:nvSpPr>
          <p:spPr bwMode="gray">
            <a:xfrm>
              <a:off x="2837" y="2108"/>
              <a:ext cx="104" cy="58"/>
            </a:xfrm>
            <a:custGeom>
              <a:avLst/>
              <a:gdLst>
                <a:gd name="T0" fmla="*/ 95 w 104"/>
                <a:gd name="T1" fmla="*/ 39 h 58"/>
                <a:gd name="T2" fmla="*/ 85 w 104"/>
                <a:gd name="T3" fmla="*/ 48 h 58"/>
                <a:gd name="T4" fmla="*/ 66 w 104"/>
                <a:gd name="T5" fmla="*/ 58 h 58"/>
                <a:gd name="T6" fmla="*/ 57 w 104"/>
                <a:gd name="T7" fmla="*/ 48 h 58"/>
                <a:gd name="T8" fmla="*/ 38 w 104"/>
                <a:gd name="T9" fmla="*/ 48 h 58"/>
                <a:gd name="T10" fmla="*/ 38 w 104"/>
                <a:gd name="T11" fmla="*/ 48 h 58"/>
                <a:gd name="T12" fmla="*/ 28 w 104"/>
                <a:gd name="T13" fmla="*/ 39 h 58"/>
                <a:gd name="T14" fmla="*/ 28 w 104"/>
                <a:gd name="T15" fmla="*/ 39 h 58"/>
                <a:gd name="T16" fmla="*/ 19 w 104"/>
                <a:gd name="T17" fmla="*/ 48 h 58"/>
                <a:gd name="T18" fmla="*/ 9 w 104"/>
                <a:gd name="T19" fmla="*/ 48 h 58"/>
                <a:gd name="T20" fmla="*/ 0 w 104"/>
                <a:gd name="T21" fmla="*/ 48 h 58"/>
                <a:gd name="T22" fmla="*/ 0 w 104"/>
                <a:gd name="T23" fmla="*/ 39 h 58"/>
                <a:gd name="T24" fmla="*/ 0 w 104"/>
                <a:gd name="T25" fmla="*/ 39 h 58"/>
                <a:gd name="T26" fmla="*/ 9 w 104"/>
                <a:gd name="T27" fmla="*/ 39 h 58"/>
                <a:gd name="T28" fmla="*/ 28 w 104"/>
                <a:gd name="T29" fmla="*/ 29 h 58"/>
                <a:gd name="T30" fmla="*/ 38 w 104"/>
                <a:gd name="T31" fmla="*/ 29 h 58"/>
                <a:gd name="T32" fmla="*/ 47 w 104"/>
                <a:gd name="T33" fmla="*/ 29 h 58"/>
                <a:gd name="T34" fmla="*/ 47 w 104"/>
                <a:gd name="T35" fmla="*/ 20 h 58"/>
                <a:gd name="T36" fmla="*/ 47 w 104"/>
                <a:gd name="T37" fmla="*/ 20 h 58"/>
                <a:gd name="T38" fmla="*/ 57 w 104"/>
                <a:gd name="T39" fmla="*/ 10 h 58"/>
                <a:gd name="T40" fmla="*/ 57 w 104"/>
                <a:gd name="T41" fmla="*/ 0 h 58"/>
                <a:gd name="T42" fmla="*/ 76 w 104"/>
                <a:gd name="T43" fmla="*/ 0 h 58"/>
                <a:gd name="T44" fmla="*/ 95 w 104"/>
                <a:gd name="T45" fmla="*/ 10 h 58"/>
                <a:gd name="T46" fmla="*/ 95 w 104"/>
                <a:gd name="T47" fmla="*/ 10 h 58"/>
                <a:gd name="T48" fmla="*/ 104 w 104"/>
                <a:gd name="T49" fmla="*/ 20 h 58"/>
                <a:gd name="T50" fmla="*/ 104 w 104"/>
                <a:gd name="T51" fmla="*/ 20 h 58"/>
                <a:gd name="T52" fmla="*/ 95 w 104"/>
                <a:gd name="T53" fmla="*/ 29 h 58"/>
                <a:gd name="T54" fmla="*/ 95 w 104"/>
                <a:gd name="T55" fmla="*/ 39 h 58"/>
                <a:gd name="T56" fmla="*/ 95 w 104"/>
                <a:gd name="T57" fmla="*/ 39 h 5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4"/>
                <a:gd name="T88" fmla="*/ 0 h 58"/>
                <a:gd name="T89" fmla="*/ 104 w 104"/>
                <a:gd name="T90" fmla="*/ 58 h 5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04" h="58">
                  <a:moveTo>
                    <a:pt x="95" y="39"/>
                  </a:moveTo>
                  <a:lnTo>
                    <a:pt x="85" y="48"/>
                  </a:lnTo>
                  <a:lnTo>
                    <a:pt x="66" y="58"/>
                  </a:lnTo>
                  <a:lnTo>
                    <a:pt x="57" y="48"/>
                  </a:lnTo>
                  <a:lnTo>
                    <a:pt x="38" y="48"/>
                  </a:lnTo>
                  <a:lnTo>
                    <a:pt x="28" y="39"/>
                  </a:lnTo>
                  <a:lnTo>
                    <a:pt x="19" y="48"/>
                  </a:lnTo>
                  <a:lnTo>
                    <a:pt x="9" y="48"/>
                  </a:lnTo>
                  <a:lnTo>
                    <a:pt x="0" y="48"/>
                  </a:lnTo>
                  <a:lnTo>
                    <a:pt x="0" y="39"/>
                  </a:lnTo>
                  <a:lnTo>
                    <a:pt x="9" y="39"/>
                  </a:lnTo>
                  <a:lnTo>
                    <a:pt x="28" y="29"/>
                  </a:lnTo>
                  <a:lnTo>
                    <a:pt x="38" y="29"/>
                  </a:lnTo>
                  <a:lnTo>
                    <a:pt x="47" y="29"/>
                  </a:lnTo>
                  <a:lnTo>
                    <a:pt x="47" y="20"/>
                  </a:lnTo>
                  <a:lnTo>
                    <a:pt x="57" y="10"/>
                  </a:lnTo>
                  <a:lnTo>
                    <a:pt x="57" y="0"/>
                  </a:lnTo>
                  <a:lnTo>
                    <a:pt x="76" y="0"/>
                  </a:lnTo>
                  <a:lnTo>
                    <a:pt x="95" y="10"/>
                  </a:lnTo>
                  <a:lnTo>
                    <a:pt x="104" y="20"/>
                  </a:lnTo>
                  <a:lnTo>
                    <a:pt x="95" y="29"/>
                  </a:lnTo>
                  <a:lnTo>
                    <a:pt x="95" y="3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43" name="Freeform 121">
              <a:extLst>
                <a:ext uri="{FF2B5EF4-FFF2-40B4-BE49-F238E27FC236}">
                  <a16:creationId xmlns:a16="http://schemas.microsoft.com/office/drawing/2014/main" id="{5E7E9442-CAF5-434E-99ED-208BBB7FB487}"/>
                </a:ext>
              </a:extLst>
            </p:cNvPr>
            <p:cNvSpPr>
              <a:spLocks/>
            </p:cNvSpPr>
            <p:nvPr/>
          </p:nvSpPr>
          <p:spPr bwMode="gray">
            <a:xfrm>
              <a:off x="2837" y="2108"/>
              <a:ext cx="104" cy="58"/>
            </a:xfrm>
            <a:custGeom>
              <a:avLst/>
              <a:gdLst>
                <a:gd name="T0" fmla="*/ 95 w 104"/>
                <a:gd name="T1" fmla="*/ 39 h 58"/>
                <a:gd name="T2" fmla="*/ 85 w 104"/>
                <a:gd name="T3" fmla="*/ 48 h 58"/>
                <a:gd name="T4" fmla="*/ 66 w 104"/>
                <a:gd name="T5" fmla="*/ 58 h 58"/>
                <a:gd name="T6" fmla="*/ 57 w 104"/>
                <a:gd name="T7" fmla="*/ 48 h 58"/>
                <a:gd name="T8" fmla="*/ 38 w 104"/>
                <a:gd name="T9" fmla="*/ 48 h 58"/>
                <a:gd name="T10" fmla="*/ 38 w 104"/>
                <a:gd name="T11" fmla="*/ 48 h 58"/>
                <a:gd name="T12" fmla="*/ 28 w 104"/>
                <a:gd name="T13" fmla="*/ 39 h 58"/>
                <a:gd name="T14" fmla="*/ 28 w 104"/>
                <a:gd name="T15" fmla="*/ 39 h 58"/>
                <a:gd name="T16" fmla="*/ 19 w 104"/>
                <a:gd name="T17" fmla="*/ 48 h 58"/>
                <a:gd name="T18" fmla="*/ 9 w 104"/>
                <a:gd name="T19" fmla="*/ 48 h 58"/>
                <a:gd name="T20" fmla="*/ 0 w 104"/>
                <a:gd name="T21" fmla="*/ 48 h 58"/>
                <a:gd name="T22" fmla="*/ 0 w 104"/>
                <a:gd name="T23" fmla="*/ 39 h 58"/>
                <a:gd name="T24" fmla="*/ 0 w 104"/>
                <a:gd name="T25" fmla="*/ 39 h 58"/>
                <a:gd name="T26" fmla="*/ 9 w 104"/>
                <a:gd name="T27" fmla="*/ 39 h 58"/>
                <a:gd name="T28" fmla="*/ 28 w 104"/>
                <a:gd name="T29" fmla="*/ 29 h 58"/>
                <a:gd name="T30" fmla="*/ 38 w 104"/>
                <a:gd name="T31" fmla="*/ 29 h 58"/>
                <a:gd name="T32" fmla="*/ 47 w 104"/>
                <a:gd name="T33" fmla="*/ 29 h 58"/>
                <a:gd name="T34" fmla="*/ 47 w 104"/>
                <a:gd name="T35" fmla="*/ 20 h 58"/>
                <a:gd name="T36" fmla="*/ 47 w 104"/>
                <a:gd name="T37" fmla="*/ 20 h 58"/>
                <a:gd name="T38" fmla="*/ 57 w 104"/>
                <a:gd name="T39" fmla="*/ 10 h 58"/>
                <a:gd name="T40" fmla="*/ 57 w 104"/>
                <a:gd name="T41" fmla="*/ 0 h 58"/>
                <a:gd name="T42" fmla="*/ 76 w 104"/>
                <a:gd name="T43" fmla="*/ 0 h 58"/>
                <a:gd name="T44" fmla="*/ 95 w 104"/>
                <a:gd name="T45" fmla="*/ 10 h 58"/>
                <a:gd name="T46" fmla="*/ 95 w 104"/>
                <a:gd name="T47" fmla="*/ 10 h 58"/>
                <a:gd name="T48" fmla="*/ 104 w 104"/>
                <a:gd name="T49" fmla="*/ 20 h 58"/>
                <a:gd name="T50" fmla="*/ 104 w 104"/>
                <a:gd name="T51" fmla="*/ 20 h 58"/>
                <a:gd name="T52" fmla="*/ 95 w 104"/>
                <a:gd name="T53" fmla="*/ 29 h 58"/>
                <a:gd name="T54" fmla="*/ 95 w 104"/>
                <a:gd name="T55" fmla="*/ 39 h 58"/>
                <a:gd name="T56" fmla="*/ 95 w 104"/>
                <a:gd name="T57" fmla="*/ 39 h 5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4"/>
                <a:gd name="T88" fmla="*/ 0 h 58"/>
                <a:gd name="T89" fmla="*/ 104 w 104"/>
                <a:gd name="T90" fmla="*/ 58 h 5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04" h="58">
                  <a:moveTo>
                    <a:pt x="95" y="39"/>
                  </a:moveTo>
                  <a:lnTo>
                    <a:pt x="85" y="48"/>
                  </a:lnTo>
                  <a:lnTo>
                    <a:pt x="66" y="58"/>
                  </a:lnTo>
                  <a:lnTo>
                    <a:pt x="57" y="48"/>
                  </a:lnTo>
                  <a:lnTo>
                    <a:pt x="38" y="48"/>
                  </a:lnTo>
                  <a:lnTo>
                    <a:pt x="28" y="39"/>
                  </a:lnTo>
                  <a:lnTo>
                    <a:pt x="19" y="48"/>
                  </a:lnTo>
                  <a:lnTo>
                    <a:pt x="9" y="48"/>
                  </a:lnTo>
                  <a:lnTo>
                    <a:pt x="0" y="48"/>
                  </a:lnTo>
                  <a:lnTo>
                    <a:pt x="0" y="39"/>
                  </a:lnTo>
                  <a:lnTo>
                    <a:pt x="9" y="39"/>
                  </a:lnTo>
                  <a:lnTo>
                    <a:pt x="28" y="29"/>
                  </a:lnTo>
                  <a:lnTo>
                    <a:pt x="38" y="29"/>
                  </a:lnTo>
                  <a:lnTo>
                    <a:pt x="47" y="29"/>
                  </a:lnTo>
                  <a:lnTo>
                    <a:pt x="47" y="20"/>
                  </a:lnTo>
                  <a:lnTo>
                    <a:pt x="57" y="10"/>
                  </a:lnTo>
                  <a:lnTo>
                    <a:pt x="57" y="0"/>
                  </a:lnTo>
                  <a:lnTo>
                    <a:pt x="76" y="0"/>
                  </a:lnTo>
                  <a:lnTo>
                    <a:pt x="95" y="10"/>
                  </a:lnTo>
                  <a:lnTo>
                    <a:pt x="104" y="20"/>
                  </a:lnTo>
                  <a:lnTo>
                    <a:pt x="95" y="29"/>
                  </a:lnTo>
                  <a:lnTo>
                    <a:pt x="95" y="3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44" name="Freeform 122">
              <a:extLst>
                <a:ext uri="{FF2B5EF4-FFF2-40B4-BE49-F238E27FC236}">
                  <a16:creationId xmlns:a16="http://schemas.microsoft.com/office/drawing/2014/main" id="{FD4688B8-5802-489A-B252-275B4FA5FE9C}"/>
                </a:ext>
              </a:extLst>
            </p:cNvPr>
            <p:cNvSpPr>
              <a:spLocks/>
            </p:cNvSpPr>
            <p:nvPr/>
          </p:nvSpPr>
          <p:spPr bwMode="gray">
            <a:xfrm>
              <a:off x="2779" y="2137"/>
              <a:ext cx="67" cy="38"/>
            </a:xfrm>
            <a:custGeom>
              <a:avLst/>
              <a:gdLst>
                <a:gd name="T0" fmla="*/ 10 w 67"/>
                <a:gd name="T1" fmla="*/ 38 h 38"/>
                <a:gd name="T2" fmla="*/ 10 w 67"/>
                <a:gd name="T3" fmla="*/ 29 h 38"/>
                <a:gd name="T4" fmla="*/ 10 w 67"/>
                <a:gd name="T5" fmla="*/ 29 h 38"/>
                <a:gd name="T6" fmla="*/ 0 w 67"/>
                <a:gd name="T7" fmla="*/ 29 h 38"/>
                <a:gd name="T8" fmla="*/ 0 w 67"/>
                <a:gd name="T9" fmla="*/ 29 h 38"/>
                <a:gd name="T10" fmla="*/ 0 w 67"/>
                <a:gd name="T11" fmla="*/ 19 h 38"/>
                <a:gd name="T12" fmla="*/ 10 w 67"/>
                <a:gd name="T13" fmla="*/ 19 h 38"/>
                <a:gd name="T14" fmla="*/ 10 w 67"/>
                <a:gd name="T15" fmla="*/ 10 h 38"/>
                <a:gd name="T16" fmla="*/ 10 w 67"/>
                <a:gd name="T17" fmla="*/ 10 h 38"/>
                <a:gd name="T18" fmla="*/ 19 w 67"/>
                <a:gd name="T19" fmla="*/ 0 h 38"/>
                <a:gd name="T20" fmla="*/ 19 w 67"/>
                <a:gd name="T21" fmla="*/ 0 h 38"/>
                <a:gd name="T22" fmla="*/ 29 w 67"/>
                <a:gd name="T23" fmla="*/ 0 h 38"/>
                <a:gd name="T24" fmla="*/ 38 w 67"/>
                <a:gd name="T25" fmla="*/ 0 h 38"/>
                <a:gd name="T26" fmla="*/ 48 w 67"/>
                <a:gd name="T27" fmla="*/ 0 h 38"/>
                <a:gd name="T28" fmla="*/ 58 w 67"/>
                <a:gd name="T29" fmla="*/ 10 h 38"/>
                <a:gd name="T30" fmla="*/ 58 w 67"/>
                <a:gd name="T31" fmla="*/ 10 h 38"/>
                <a:gd name="T32" fmla="*/ 58 w 67"/>
                <a:gd name="T33" fmla="*/ 10 h 38"/>
                <a:gd name="T34" fmla="*/ 58 w 67"/>
                <a:gd name="T35" fmla="*/ 19 h 38"/>
                <a:gd name="T36" fmla="*/ 67 w 67"/>
                <a:gd name="T37" fmla="*/ 19 h 38"/>
                <a:gd name="T38" fmla="*/ 58 w 67"/>
                <a:gd name="T39" fmla="*/ 29 h 38"/>
                <a:gd name="T40" fmla="*/ 38 w 67"/>
                <a:gd name="T41" fmla="*/ 19 h 38"/>
                <a:gd name="T42" fmla="*/ 38 w 67"/>
                <a:gd name="T43" fmla="*/ 19 h 38"/>
                <a:gd name="T44" fmla="*/ 29 w 67"/>
                <a:gd name="T45" fmla="*/ 19 h 38"/>
                <a:gd name="T46" fmla="*/ 29 w 67"/>
                <a:gd name="T47" fmla="*/ 29 h 38"/>
                <a:gd name="T48" fmla="*/ 29 w 67"/>
                <a:gd name="T49" fmla="*/ 38 h 38"/>
                <a:gd name="T50" fmla="*/ 19 w 67"/>
                <a:gd name="T51" fmla="*/ 38 h 38"/>
                <a:gd name="T52" fmla="*/ 10 w 67"/>
                <a:gd name="T53" fmla="*/ 38 h 3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7"/>
                <a:gd name="T82" fmla="*/ 0 h 38"/>
                <a:gd name="T83" fmla="*/ 67 w 67"/>
                <a:gd name="T84" fmla="*/ 38 h 3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7" h="38">
                  <a:moveTo>
                    <a:pt x="10" y="38"/>
                  </a:moveTo>
                  <a:lnTo>
                    <a:pt x="10" y="29"/>
                  </a:lnTo>
                  <a:lnTo>
                    <a:pt x="0" y="29"/>
                  </a:lnTo>
                  <a:lnTo>
                    <a:pt x="0" y="19"/>
                  </a:lnTo>
                  <a:lnTo>
                    <a:pt x="10" y="19"/>
                  </a:lnTo>
                  <a:lnTo>
                    <a:pt x="10" y="10"/>
                  </a:lnTo>
                  <a:lnTo>
                    <a:pt x="19" y="0"/>
                  </a:lnTo>
                  <a:lnTo>
                    <a:pt x="29" y="0"/>
                  </a:lnTo>
                  <a:lnTo>
                    <a:pt x="38" y="0"/>
                  </a:lnTo>
                  <a:lnTo>
                    <a:pt x="48" y="0"/>
                  </a:lnTo>
                  <a:lnTo>
                    <a:pt x="58" y="10"/>
                  </a:lnTo>
                  <a:lnTo>
                    <a:pt x="58" y="19"/>
                  </a:lnTo>
                  <a:lnTo>
                    <a:pt x="67" y="19"/>
                  </a:lnTo>
                  <a:lnTo>
                    <a:pt x="58" y="29"/>
                  </a:lnTo>
                  <a:lnTo>
                    <a:pt x="38" y="19"/>
                  </a:lnTo>
                  <a:lnTo>
                    <a:pt x="29" y="19"/>
                  </a:lnTo>
                  <a:lnTo>
                    <a:pt x="29" y="29"/>
                  </a:lnTo>
                  <a:lnTo>
                    <a:pt x="29" y="38"/>
                  </a:lnTo>
                  <a:lnTo>
                    <a:pt x="19" y="38"/>
                  </a:lnTo>
                  <a:lnTo>
                    <a:pt x="10"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45" name="Freeform 123">
              <a:extLst>
                <a:ext uri="{FF2B5EF4-FFF2-40B4-BE49-F238E27FC236}">
                  <a16:creationId xmlns:a16="http://schemas.microsoft.com/office/drawing/2014/main" id="{4BC102A8-0D24-49F6-8FDF-29B32F922DAA}"/>
                </a:ext>
              </a:extLst>
            </p:cNvPr>
            <p:cNvSpPr>
              <a:spLocks/>
            </p:cNvSpPr>
            <p:nvPr/>
          </p:nvSpPr>
          <p:spPr bwMode="gray">
            <a:xfrm>
              <a:off x="2779" y="2137"/>
              <a:ext cx="67" cy="38"/>
            </a:xfrm>
            <a:custGeom>
              <a:avLst/>
              <a:gdLst>
                <a:gd name="T0" fmla="*/ 10 w 67"/>
                <a:gd name="T1" fmla="*/ 38 h 38"/>
                <a:gd name="T2" fmla="*/ 10 w 67"/>
                <a:gd name="T3" fmla="*/ 29 h 38"/>
                <a:gd name="T4" fmla="*/ 10 w 67"/>
                <a:gd name="T5" fmla="*/ 29 h 38"/>
                <a:gd name="T6" fmla="*/ 0 w 67"/>
                <a:gd name="T7" fmla="*/ 29 h 38"/>
                <a:gd name="T8" fmla="*/ 0 w 67"/>
                <a:gd name="T9" fmla="*/ 29 h 38"/>
                <a:gd name="T10" fmla="*/ 0 w 67"/>
                <a:gd name="T11" fmla="*/ 19 h 38"/>
                <a:gd name="T12" fmla="*/ 10 w 67"/>
                <a:gd name="T13" fmla="*/ 19 h 38"/>
                <a:gd name="T14" fmla="*/ 10 w 67"/>
                <a:gd name="T15" fmla="*/ 10 h 38"/>
                <a:gd name="T16" fmla="*/ 10 w 67"/>
                <a:gd name="T17" fmla="*/ 10 h 38"/>
                <a:gd name="T18" fmla="*/ 19 w 67"/>
                <a:gd name="T19" fmla="*/ 0 h 38"/>
                <a:gd name="T20" fmla="*/ 19 w 67"/>
                <a:gd name="T21" fmla="*/ 0 h 38"/>
                <a:gd name="T22" fmla="*/ 29 w 67"/>
                <a:gd name="T23" fmla="*/ 0 h 38"/>
                <a:gd name="T24" fmla="*/ 38 w 67"/>
                <a:gd name="T25" fmla="*/ 0 h 38"/>
                <a:gd name="T26" fmla="*/ 48 w 67"/>
                <a:gd name="T27" fmla="*/ 0 h 38"/>
                <a:gd name="T28" fmla="*/ 58 w 67"/>
                <a:gd name="T29" fmla="*/ 10 h 38"/>
                <a:gd name="T30" fmla="*/ 58 w 67"/>
                <a:gd name="T31" fmla="*/ 10 h 38"/>
                <a:gd name="T32" fmla="*/ 58 w 67"/>
                <a:gd name="T33" fmla="*/ 10 h 38"/>
                <a:gd name="T34" fmla="*/ 58 w 67"/>
                <a:gd name="T35" fmla="*/ 19 h 38"/>
                <a:gd name="T36" fmla="*/ 67 w 67"/>
                <a:gd name="T37" fmla="*/ 19 h 38"/>
                <a:gd name="T38" fmla="*/ 58 w 67"/>
                <a:gd name="T39" fmla="*/ 29 h 38"/>
                <a:gd name="T40" fmla="*/ 38 w 67"/>
                <a:gd name="T41" fmla="*/ 19 h 38"/>
                <a:gd name="T42" fmla="*/ 38 w 67"/>
                <a:gd name="T43" fmla="*/ 19 h 38"/>
                <a:gd name="T44" fmla="*/ 29 w 67"/>
                <a:gd name="T45" fmla="*/ 19 h 38"/>
                <a:gd name="T46" fmla="*/ 29 w 67"/>
                <a:gd name="T47" fmla="*/ 29 h 38"/>
                <a:gd name="T48" fmla="*/ 29 w 67"/>
                <a:gd name="T49" fmla="*/ 38 h 38"/>
                <a:gd name="T50" fmla="*/ 19 w 67"/>
                <a:gd name="T51" fmla="*/ 38 h 38"/>
                <a:gd name="T52" fmla="*/ 10 w 67"/>
                <a:gd name="T53" fmla="*/ 38 h 3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7"/>
                <a:gd name="T82" fmla="*/ 0 h 38"/>
                <a:gd name="T83" fmla="*/ 67 w 67"/>
                <a:gd name="T84" fmla="*/ 38 h 3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7" h="38">
                  <a:moveTo>
                    <a:pt x="10" y="38"/>
                  </a:moveTo>
                  <a:lnTo>
                    <a:pt x="10" y="29"/>
                  </a:lnTo>
                  <a:lnTo>
                    <a:pt x="0" y="29"/>
                  </a:lnTo>
                  <a:lnTo>
                    <a:pt x="0" y="19"/>
                  </a:lnTo>
                  <a:lnTo>
                    <a:pt x="10" y="19"/>
                  </a:lnTo>
                  <a:lnTo>
                    <a:pt x="10" y="10"/>
                  </a:lnTo>
                  <a:lnTo>
                    <a:pt x="19" y="0"/>
                  </a:lnTo>
                  <a:lnTo>
                    <a:pt x="29" y="0"/>
                  </a:lnTo>
                  <a:lnTo>
                    <a:pt x="38" y="0"/>
                  </a:lnTo>
                  <a:lnTo>
                    <a:pt x="48" y="0"/>
                  </a:lnTo>
                  <a:lnTo>
                    <a:pt x="58" y="10"/>
                  </a:lnTo>
                  <a:lnTo>
                    <a:pt x="58" y="19"/>
                  </a:lnTo>
                  <a:lnTo>
                    <a:pt x="67" y="19"/>
                  </a:lnTo>
                  <a:lnTo>
                    <a:pt x="58" y="29"/>
                  </a:lnTo>
                  <a:lnTo>
                    <a:pt x="38" y="19"/>
                  </a:lnTo>
                  <a:lnTo>
                    <a:pt x="29" y="19"/>
                  </a:lnTo>
                  <a:lnTo>
                    <a:pt x="29" y="29"/>
                  </a:lnTo>
                  <a:lnTo>
                    <a:pt x="29" y="38"/>
                  </a:lnTo>
                  <a:lnTo>
                    <a:pt x="19" y="38"/>
                  </a:lnTo>
                  <a:lnTo>
                    <a:pt x="10"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46" name="Freeform 124">
              <a:extLst>
                <a:ext uri="{FF2B5EF4-FFF2-40B4-BE49-F238E27FC236}">
                  <a16:creationId xmlns:a16="http://schemas.microsoft.com/office/drawing/2014/main" id="{4BA9B4AB-8610-45BE-B214-74095AC58C10}"/>
                </a:ext>
              </a:extLst>
            </p:cNvPr>
            <p:cNvSpPr>
              <a:spLocks/>
            </p:cNvSpPr>
            <p:nvPr/>
          </p:nvSpPr>
          <p:spPr bwMode="gray">
            <a:xfrm>
              <a:off x="2827" y="2147"/>
              <a:ext cx="10" cy="1"/>
            </a:xfrm>
            <a:custGeom>
              <a:avLst/>
              <a:gdLst>
                <a:gd name="T0" fmla="*/ 10 w 10"/>
                <a:gd name="T1" fmla="*/ 0 h 1"/>
                <a:gd name="T2" fmla="*/ 10 w 10"/>
                <a:gd name="T3" fmla="*/ 0 h 1"/>
                <a:gd name="T4" fmla="*/ 0 w 10"/>
                <a:gd name="T5" fmla="*/ 0 h 1"/>
                <a:gd name="T6" fmla="*/ 10 w 10"/>
                <a:gd name="T7" fmla="*/ 0 h 1"/>
                <a:gd name="T8" fmla="*/ 0 60000 65536"/>
                <a:gd name="T9" fmla="*/ 0 60000 65536"/>
                <a:gd name="T10" fmla="*/ 0 60000 65536"/>
                <a:gd name="T11" fmla="*/ 0 60000 65536"/>
                <a:gd name="T12" fmla="*/ 0 w 10"/>
                <a:gd name="T13" fmla="*/ 0 h 1"/>
                <a:gd name="T14" fmla="*/ 10 w 10"/>
                <a:gd name="T15" fmla="*/ 1 h 1"/>
              </a:gdLst>
              <a:ahLst/>
              <a:cxnLst>
                <a:cxn ang="T8">
                  <a:pos x="T0" y="T1"/>
                </a:cxn>
                <a:cxn ang="T9">
                  <a:pos x="T2" y="T3"/>
                </a:cxn>
                <a:cxn ang="T10">
                  <a:pos x="T4" y="T5"/>
                </a:cxn>
                <a:cxn ang="T11">
                  <a:pos x="T6" y="T7"/>
                </a:cxn>
              </a:cxnLst>
              <a:rect l="T12" t="T13" r="T14" b="T15"/>
              <a:pathLst>
                <a:path w="10" h="1">
                  <a:moveTo>
                    <a:pt x="10" y="0"/>
                  </a:moveTo>
                  <a:lnTo>
                    <a:pt x="10" y="0"/>
                  </a:lnTo>
                  <a:lnTo>
                    <a:pt x="0" y="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47" name="Freeform 125">
              <a:extLst>
                <a:ext uri="{FF2B5EF4-FFF2-40B4-BE49-F238E27FC236}">
                  <a16:creationId xmlns:a16="http://schemas.microsoft.com/office/drawing/2014/main" id="{417203C4-34BA-44ED-8B5D-B0A023095E98}"/>
                </a:ext>
              </a:extLst>
            </p:cNvPr>
            <p:cNvSpPr>
              <a:spLocks/>
            </p:cNvSpPr>
            <p:nvPr/>
          </p:nvSpPr>
          <p:spPr bwMode="gray">
            <a:xfrm>
              <a:off x="2827" y="2147"/>
              <a:ext cx="10" cy="1"/>
            </a:xfrm>
            <a:custGeom>
              <a:avLst/>
              <a:gdLst>
                <a:gd name="T0" fmla="*/ 10 w 10"/>
                <a:gd name="T1" fmla="*/ 0 h 1"/>
                <a:gd name="T2" fmla="*/ 10 w 10"/>
                <a:gd name="T3" fmla="*/ 0 h 1"/>
                <a:gd name="T4" fmla="*/ 0 w 10"/>
                <a:gd name="T5" fmla="*/ 0 h 1"/>
                <a:gd name="T6" fmla="*/ 10 w 10"/>
                <a:gd name="T7" fmla="*/ 0 h 1"/>
                <a:gd name="T8" fmla="*/ 0 60000 65536"/>
                <a:gd name="T9" fmla="*/ 0 60000 65536"/>
                <a:gd name="T10" fmla="*/ 0 60000 65536"/>
                <a:gd name="T11" fmla="*/ 0 60000 65536"/>
                <a:gd name="T12" fmla="*/ 0 w 10"/>
                <a:gd name="T13" fmla="*/ 0 h 1"/>
                <a:gd name="T14" fmla="*/ 10 w 10"/>
                <a:gd name="T15" fmla="*/ 1 h 1"/>
              </a:gdLst>
              <a:ahLst/>
              <a:cxnLst>
                <a:cxn ang="T8">
                  <a:pos x="T0" y="T1"/>
                </a:cxn>
                <a:cxn ang="T9">
                  <a:pos x="T2" y="T3"/>
                </a:cxn>
                <a:cxn ang="T10">
                  <a:pos x="T4" y="T5"/>
                </a:cxn>
                <a:cxn ang="T11">
                  <a:pos x="T6" y="T7"/>
                </a:cxn>
              </a:cxnLst>
              <a:rect l="T12" t="T13" r="T14" b="T15"/>
              <a:pathLst>
                <a:path w="10" h="1">
                  <a:moveTo>
                    <a:pt x="10" y="0"/>
                  </a:moveTo>
                  <a:lnTo>
                    <a:pt x="10" y="0"/>
                  </a:lnTo>
                  <a:lnTo>
                    <a:pt x="0" y="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48" name="Freeform 126">
              <a:extLst>
                <a:ext uri="{FF2B5EF4-FFF2-40B4-BE49-F238E27FC236}">
                  <a16:creationId xmlns:a16="http://schemas.microsoft.com/office/drawing/2014/main" id="{46BB3BF9-84F4-4E77-9380-FAA9F2BBB3B4}"/>
                </a:ext>
              </a:extLst>
            </p:cNvPr>
            <p:cNvSpPr>
              <a:spLocks/>
            </p:cNvSpPr>
            <p:nvPr/>
          </p:nvSpPr>
          <p:spPr bwMode="gray">
            <a:xfrm>
              <a:off x="2579" y="1975"/>
              <a:ext cx="38" cy="28"/>
            </a:xfrm>
            <a:custGeom>
              <a:avLst/>
              <a:gdLst>
                <a:gd name="T0" fmla="*/ 10 w 38"/>
                <a:gd name="T1" fmla="*/ 0 h 28"/>
                <a:gd name="T2" fmla="*/ 10 w 38"/>
                <a:gd name="T3" fmla="*/ 9 h 28"/>
                <a:gd name="T4" fmla="*/ 0 w 38"/>
                <a:gd name="T5" fmla="*/ 19 h 28"/>
                <a:gd name="T6" fmla="*/ 0 w 38"/>
                <a:gd name="T7" fmla="*/ 19 h 28"/>
                <a:gd name="T8" fmla="*/ 0 w 38"/>
                <a:gd name="T9" fmla="*/ 28 h 28"/>
                <a:gd name="T10" fmla="*/ 10 w 38"/>
                <a:gd name="T11" fmla="*/ 19 h 28"/>
                <a:gd name="T12" fmla="*/ 19 w 38"/>
                <a:gd name="T13" fmla="*/ 28 h 28"/>
                <a:gd name="T14" fmla="*/ 29 w 38"/>
                <a:gd name="T15" fmla="*/ 28 h 28"/>
                <a:gd name="T16" fmla="*/ 29 w 38"/>
                <a:gd name="T17" fmla="*/ 19 h 28"/>
                <a:gd name="T18" fmla="*/ 38 w 38"/>
                <a:gd name="T19" fmla="*/ 9 h 28"/>
                <a:gd name="T20" fmla="*/ 29 w 38"/>
                <a:gd name="T21" fmla="*/ 9 h 28"/>
                <a:gd name="T22" fmla="*/ 29 w 38"/>
                <a:gd name="T23" fmla="*/ 0 h 28"/>
                <a:gd name="T24" fmla="*/ 19 w 38"/>
                <a:gd name="T25" fmla="*/ 0 h 28"/>
                <a:gd name="T26" fmla="*/ 10 w 38"/>
                <a:gd name="T27" fmla="*/ 0 h 28"/>
                <a:gd name="T28" fmla="*/ 10 w 38"/>
                <a:gd name="T29" fmla="*/ 0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28"/>
                <a:gd name="T47" fmla="*/ 38 w 38"/>
                <a:gd name="T48" fmla="*/ 28 h 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28">
                  <a:moveTo>
                    <a:pt x="10" y="0"/>
                  </a:moveTo>
                  <a:lnTo>
                    <a:pt x="10" y="9"/>
                  </a:lnTo>
                  <a:lnTo>
                    <a:pt x="0" y="19"/>
                  </a:lnTo>
                  <a:lnTo>
                    <a:pt x="0" y="28"/>
                  </a:lnTo>
                  <a:lnTo>
                    <a:pt x="10" y="19"/>
                  </a:lnTo>
                  <a:lnTo>
                    <a:pt x="19" y="28"/>
                  </a:lnTo>
                  <a:lnTo>
                    <a:pt x="29" y="28"/>
                  </a:lnTo>
                  <a:lnTo>
                    <a:pt x="29" y="19"/>
                  </a:lnTo>
                  <a:lnTo>
                    <a:pt x="38" y="9"/>
                  </a:lnTo>
                  <a:lnTo>
                    <a:pt x="29" y="9"/>
                  </a:lnTo>
                  <a:lnTo>
                    <a:pt x="29" y="0"/>
                  </a:lnTo>
                  <a:lnTo>
                    <a:pt x="19" y="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49" name="Freeform 127">
              <a:extLst>
                <a:ext uri="{FF2B5EF4-FFF2-40B4-BE49-F238E27FC236}">
                  <a16:creationId xmlns:a16="http://schemas.microsoft.com/office/drawing/2014/main" id="{3D88F551-A5A2-4C5C-A646-88B586DD465F}"/>
                </a:ext>
              </a:extLst>
            </p:cNvPr>
            <p:cNvSpPr>
              <a:spLocks/>
            </p:cNvSpPr>
            <p:nvPr/>
          </p:nvSpPr>
          <p:spPr bwMode="gray">
            <a:xfrm>
              <a:off x="2579" y="1975"/>
              <a:ext cx="38" cy="28"/>
            </a:xfrm>
            <a:custGeom>
              <a:avLst/>
              <a:gdLst>
                <a:gd name="T0" fmla="*/ 10 w 38"/>
                <a:gd name="T1" fmla="*/ 0 h 28"/>
                <a:gd name="T2" fmla="*/ 10 w 38"/>
                <a:gd name="T3" fmla="*/ 9 h 28"/>
                <a:gd name="T4" fmla="*/ 0 w 38"/>
                <a:gd name="T5" fmla="*/ 19 h 28"/>
                <a:gd name="T6" fmla="*/ 0 w 38"/>
                <a:gd name="T7" fmla="*/ 19 h 28"/>
                <a:gd name="T8" fmla="*/ 0 w 38"/>
                <a:gd name="T9" fmla="*/ 28 h 28"/>
                <a:gd name="T10" fmla="*/ 10 w 38"/>
                <a:gd name="T11" fmla="*/ 19 h 28"/>
                <a:gd name="T12" fmla="*/ 19 w 38"/>
                <a:gd name="T13" fmla="*/ 28 h 28"/>
                <a:gd name="T14" fmla="*/ 29 w 38"/>
                <a:gd name="T15" fmla="*/ 28 h 28"/>
                <a:gd name="T16" fmla="*/ 29 w 38"/>
                <a:gd name="T17" fmla="*/ 19 h 28"/>
                <a:gd name="T18" fmla="*/ 38 w 38"/>
                <a:gd name="T19" fmla="*/ 9 h 28"/>
                <a:gd name="T20" fmla="*/ 29 w 38"/>
                <a:gd name="T21" fmla="*/ 9 h 28"/>
                <a:gd name="T22" fmla="*/ 29 w 38"/>
                <a:gd name="T23" fmla="*/ 0 h 28"/>
                <a:gd name="T24" fmla="*/ 19 w 38"/>
                <a:gd name="T25" fmla="*/ 0 h 28"/>
                <a:gd name="T26" fmla="*/ 10 w 38"/>
                <a:gd name="T27" fmla="*/ 0 h 28"/>
                <a:gd name="T28" fmla="*/ 10 w 38"/>
                <a:gd name="T29" fmla="*/ 0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28"/>
                <a:gd name="T47" fmla="*/ 38 w 38"/>
                <a:gd name="T48" fmla="*/ 28 h 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28">
                  <a:moveTo>
                    <a:pt x="10" y="0"/>
                  </a:moveTo>
                  <a:lnTo>
                    <a:pt x="10" y="9"/>
                  </a:lnTo>
                  <a:lnTo>
                    <a:pt x="0" y="19"/>
                  </a:lnTo>
                  <a:lnTo>
                    <a:pt x="0" y="28"/>
                  </a:lnTo>
                  <a:lnTo>
                    <a:pt x="10" y="19"/>
                  </a:lnTo>
                  <a:lnTo>
                    <a:pt x="19" y="28"/>
                  </a:lnTo>
                  <a:lnTo>
                    <a:pt x="29" y="28"/>
                  </a:lnTo>
                  <a:lnTo>
                    <a:pt x="29" y="19"/>
                  </a:lnTo>
                  <a:lnTo>
                    <a:pt x="38" y="9"/>
                  </a:lnTo>
                  <a:lnTo>
                    <a:pt x="29" y="9"/>
                  </a:lnTo>
                  <a:lnTo>
                    <a:pt x="29" y="0"/>
                  </a:lnTo>
                  <a:lnTo>
                    <a:pt x="19" y="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50" name="Freeform 128">
              <a:extLst>
                <a:ext uri="{FF2B5EF4-FFF2-40B4-BE49-F238E27FC236}">
                  <a16:creationId xmlns:a16="http://schemas.microsoft.com/office/drawing/2014/main" id="{B1F47AB3-DCA0-4CBE-9C3F-FF3C33A25374}"/>
                </a:ext>
              </a:extLst>
            </p:cNvPr>
            <p:cNvSpPr>
              <a:spLocks/>
            </p:cNvSpPr>
            <p:nvPr/>
          </p:nvSpPr>
          <p:spPr bwMode="gray">
            <a:xfrm>
              <a:off x="2541" y="1975"/>
              <a:ext cx="67" cy="86"/>
            </a:xfrm>
            <a:custGeom>
              <a:avLst/>
              <a:gdLst>
                <a:gd name="T0" fmla="*/ 57 w 67"/>
                <a:gd name="T1" fmla="*/ 28 h 86"/>
                <a:gd name="T2" fmla="*/ 57 w 67"/>
                <a:gd name="T3" fmla="*/ 28 h 86"/>
                <a:gd name="T4" fmla="*/ 48 w 67"/>
                <a:gd name="T5" fmla="*/ 19 h 86"/>
                <a:gd name="T6" fmla="*/ 38 w 67"/>
                <a:gd name="T7" fmla="*/ 28 h 86"/>
                <a:gd name="T8" fmla="*/ 38 w 67"/>
                <a:gd name="T9" fmla="*/ 19 h 86"/>
                <a:gd name="T10" fmla="*/ 38 w 67"/>
                <a:gd name="T11" fmla="*/ 19 h 86"/>
                <a:gd name="T12" fmla="*/ 38 w 67"/>
                <a:gd name="T13" fmla="*/ 9 h 86"/>
                <a:gd name="T14" fmla="*/ 38 w 67"/>
                <a:gd name="T15" fmla="*/ 0 h 86"/>
                <a:gd name="T16" fmla="*/ 29 w 67"/>
                <a:gd name="T17" fmla="*/ 0 h 86"/>
                <a:gd name="T18" fmla="*/ 29 w 67"/>
                <a:gd name="T19" fmla="*/ 9 h 86"/>
                <a:gd name="T20" fmla="*/ 29 w 67"/>
                <a:gd name="T21" fmla="*/ 19 h 86"/>
                <a:gd name="T22" fmla="*/ 29 w 67"/>
                <a:gd name="T23" fmla="*/ 19 h 86"/>
                <a:gd name="T24" fmla="*/ 19 w 67"/>
                <a:gd name="T25" fmla="*/ 19 h 86"/>
                <a:gd name="T26" fmla="*/ 10 w 67"/>
                <a:gd name="T27" fmla="*/ 19 h 86"/>
                <a:gd name="T28" fmla="*/ 10 w 67"/>
                <a:gd name="T29" fmla="*/ 19 h 86"/>
                <a:gd name="T30" fmla="*/ 0 w 67"/>
                <a:gd name="T31" fmla="*/ 28 h 86"/>
                <a:gd name="T32" fmla="*/ 10 w 67"/>
                <a:gd name="T33" fmla="*/ 38 h 86"/>
                <a:gd name="T34" fmla="*/ 10 w 67"/>
                <a:gd name="T35" fmla="*/ 38 h 86"/>
                <a:gd name="T36" fmla="*/ 0 w 67"/>
                <a:gd name="T37" fmla="*/ 38 h 86"/>
                <a:gd name="T38" fmla="*/ 10 w 67"/>
                <a:gd name="T39" fmla="*/ 48 h 86"/>
                <a:gd name="T40" fmla="*/ 10 w 67"/>
                <a:gd name="T41" fmla="*/ 38 h 86"/>
                <a:gd name="T42" fmla="*/ 19 w 67"/>
                <a:gd name="T43" fmla="*/ 48 h 86"/>
                <a:gd name="T44" fmla="*/ 10 w 67"/>
                <a:gd name="T45" fmla="*/ 48 h 86"/>
                <a:gd name="T46" fmla="*/ 10 w 67"/>
                <a:gd name="T47" fmla="*/ 57 h 86"/>
                <a:gd name="T48" fmla="*/ 19 w 67"/>
                <a:gd name="T49" fmla="*/ 57 h 86"/>
                <a:gd name="T50" fmla="*/ 19 w 67"/>
                <a:gd name="T51" fmla="*/ 57 h 86"/>
                <a:gd name="T52" fmla="*/ 0 w 67"/>
                <a:gd name="T53" fmla="*/ 67 h 86"/>
                <a:gd name="T54" fmla="*/ 0 w 67"/>
                <a:gd name="T55" fmla="*/ 67 h 86"/>
                <a:gd name="T56" fmla="*/ 0 w 67"/>
                <a:gd name="T57" fmla="*/ 76 h 86"/>
                <a:gd name="T58" fmla="*/ 10 w 67"/>
                <a:gd name="T59" fmla="*/ 76 h 86"/>
                <a:gd name="T60" fmla="*/ 10 w 67"/>
                <a:gd name="T61" fmla="*/ 86 h 86"/>
                <a:gd name="T62" fmla="*/ 10 w 67"/>
                <a:gd name="T63" fmla="*/ 86 h 86"/>
                <a:gd name="T64" fmla="*/ 19 w 67"/>
                <a:gd name="T65" fmla="*/ 86 h 86"/>
                <a:gd name="T66" fmla="*/ 38 w 67"/>
                <a:gd name="T67" fmla="*/ 76 h 86"/>
                <a:gd name="T68" fmla="*/ 48 w 67"/>
                <a:gd name="T69" fmla="*/ 67 h 86"/>
                <a:gd name="T70" fmla="*/ 57 w 67"/>
                <a:gd name="T71" fmla="*/ 67 h 86"/>
                <a:gd name="T72" fmla="*/ 57 w 67"/>
                <a:gd name="T73" fmla="*/ 57 h 86"/>
                <a:gd name="T74" fmla="*/ 67 w 67"/>
                <a:gd name="T75" fmla="*/ 48 h 86"/>
                <a:gd name="T76" fmla="*/ 57 w 67"/>
                <a:gd name="T77" fmla="*/ 38 h 86"/>
                <a:gd name="T78" fmla="*/ 57 w 67"/>
                <a:gd name="T79" fmla="*/ 28 h 8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7"/>
                <a:gd name="T121" fmla="*/ 0 h 86"/>
                <a:gd name="T122" fmla="*/ 67 w 67"/>
                <a:gd name="T123" fmla="*/ 86 h 8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7" h="86">
                  <a:moveTo>
                    <a:pt x="57" y="28"/>
                  </a:moveTo>
                  <a:lnTo>
                    <a:pt x="57" y="28"/>
                  </a:lnTo>
                  <a:lnTo>
                    <a:pt x="48" y="19"/>
                  </a:lnTo>
                  <a:lnTo>
                    <a:pt x="38" y="28"/>
                  </a:lnTo>
                  <a:lnTo>
                    <a:pt x="38" y="19"/>
                  </a:lnTo>
                  <a:lnTo>
                    <a:pt x="38" y="9"/>
                  </a:lnTo>
                  <a:lnTo>
                    <a:pt x="38" y="0"/>
                  </a:lnTo>
                  <a:lnTo>
                    <a:pt x="29" y="0"/>
                  </a:lnTo>
                  <a:lnTo>
                    <a:pt x="29" y="9"/>
                  </a:lnTo>
                  <a:lnTo>
                    <a:pt x="29" y="19"/>
                  </a:lnTo>
                  <a:lnTo>
                    <a:pt x="19" y="19"/>
                  </a:lnTo>
                  <a:lnTo>
                    <a:pt x="10" y="19"/>
                  </a:lnTo>
                  <a:lnTo>
                    <a:pt x="0" y="28"/>
                  </a:lnTo>
                  <a:lnTo>
                    <a:pt x="10" y="38"/>
                  </a:lnTo>
                  <a:lnTo>
                    <a:pt x="0" y="38"/>
                  </a:lnTo>
                  <a:lnTo>
                    <a:pt x="10" y="48"/>
                  </a:lnTo>
                  <a:lnTo>
                    <a:pt x="10" y="38"/>
                  </a:lnTo>
                  <a:lnTo>
                    <a:pt x="19" y="48"/>
                  </a:lnTo>
                  <a:lnTo>
                    <a:pt x="10" y="48"/>
                  </a:lnTo>
                  <a:lnTo>
                    <a:pt x="10" y="57"/>
                  </a:lnTo>
                  <a:lnTo>
                    <a:pt x="19" y="57"/>
                  </a:lnTo>
                  <a:lnTo>
                    <a:pt x="0" y="67"/>
                  </a:lnTo>
                  <a:lnTo>
                    <a:pt x="0" y="76"/>
                  </a:lnTo>
                  <a:lnTo>
                    <a:pt x="10" y="76"/>
                  </a:lnTo>
                  <a:lnTo>
                    <a:pt x="10" y="86"/>
                  </a:lnTo>
                  <a:lnTo>
                    <a:pt x="19" y="86"/>
                  </a:lnTo>
                  <a:lnTo>
                    <a:pt x="38" y="76"/>
                  </a:lnTo>
                  <a:lnTo>
                    <a:pt x="48" y="67"/>
                  </a:lnTo>
                  <a:lnTo>
                    <a:pt x="57" y="67"/>
                  </a:lnTo>
                  <a:lnTo>
                    <a:pt x="57" y="57"/>
                  </a:lnTo>
                  <a:lnTo>
                    <a:pt x="67" y="48"/>
                  </a:lnTo>
                  <a:lnTo>
                    <a:pt x="57" y="38"/>
                  </a:lnTo>
                  <a:lnTo>
                    <a:pt x="57" y="2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51" name="Freeform 129">
              <a:extLst>
                <a:ext uri="{FF2B5EF4-FFF2-40B4-BE49-F238E27FC236}">
                  <a16:creationId xmlns:a16="http://schemas.microsoft.com/office/drawing/2014/main" id="{107E0673-E106-48AC-B743-E0B8E1E45AEC}"/>
                </a:ext>
              </a:extLst>
            </p:cNvPr>
            <p:cNvSpPr>
              <a:spLocks/>
            </p:cNvSpPr>
            <p:nvPr/>
          </p:nvSpPr>
          <p:spPr bwMode="gray">
            <a:xfrm>
              <a:off x="2541" y="1975"/>
              <a:ext cx="67" cy="86"/>
            </a:xfrm>
            <a:custGeom>
              <a:avLst/>
              <a:gdLst>
                <a:gd name="T0" fmla="*/ 57 w 67"/>
                <a:gd name="T1" fmla="*/ 28 h 86"/>
                <a:gd name="T2" fmla="*/ 57 w 67"/>
                <a:gd name="T3" fmla="*/ 28 h 86"/>
                <a:gd name="T4" fmla="*/ 48 w 67"/>
                <a:gd name="T5" fmla="*/ 19 h 86"/>
                <a:gd name="T6" fmla="*/ 38 w 67"/>
                <a:gd name="T7" fmla="*/ 28 h 86"/>
                <a:gd name="T8" fmla="*/ 38 w 67"/>
                <a:gd name="T9" fmla="*/ 19 h 86"/>
                <a:gd name="T10" fmla="*/ 38 w 67"/>
                <a:gd name="T11" fmla="*/ 19 h 86"/>
                <a:gd name="T12" fmla="*/ 38 w 67"/>
                <a:gd name="T13" fmla="*/ 9 h 86"/>
                <a:gd name="T14" fmla="*/ 38 w 67"/>
                <a:gd name="T15" fmla="*/ 0 h 86"/>
                <a:gd name="T16" fmla="*/ 29 w 67"/>
                <a:gd name="T17" fmla="*/ 0 h 86"/>
                <a:gd name="T18" fmla="*/ 29 w 67"/>
                <a:gd name="T19" fmla="*/ 9 h 86"/>
                <a:gd name="T20" fmla="*/ 29 w 67"/>
                <a:gd name="T21" fmla="*/ 19 h 86"/>
                <a:gd name="T22" fmla="*/ 29 w 67"/>
                <a:gd name="T23" fmla="*/ 19 h 86"/>
                <a:gd name="T24" fmla="*/ 19 w 67"/>
                <a:gd name="T25" fmla="*/ 19 h 86"/>
                <a:gd name="T26" fmla="*/ 10 w 67"/>
                <a:gd name="T27" fmla="*/ 19 h 86"/>
                <a:gd name="T28" fmla="*/ 10 w 67"/>
                <a:gd name="T29" fmla="*/ 19 h 86"/>
                <a:gd name="T30" fmla="*/ 0 w 67"/>
                <a:gd name="T31" fmla="*/ 28 h 86"/>
                <a:gd name="T32" fmla="*/ 10 w 67"/>
                <a:gd name="T33" fmla="*/ 38 h 86"/>
                <a:gd name="T34" fmla="*/ 10 w 67"/>
                <a:gd name="T35" fmla="*/ 38 h 86"/>
                <a:gd name="T36" fmla="*/ 0 w 67"/>
                <a:gd name="T37" fmla="*/ 38 h 86"/>
                <a:gd name="T38" fmla="*/ 10 w 67"/>
                <a:gd name="T39" fmla="*/ 48 h 86"/>
                <a:gd name="T40" fmla="*/ 10 w 67"/>
                <a:gd name="T41" fmla="*/ 38 h 86"/>
                <a:gd name="T42" fmla="*/ 19 w 67"/>
                <a:gd name="T43" fmla="*/ 48 h 86"/>
                <a:gd name="T44" fmla="*/ 10 w 67"/>
                <a:gd name="T45" fmla="*/ 48 h 86"/>
                <a:gd name="T46" fmla="*/ 10 w 67"/>
                <a:gd name="T47" fmla="*/ 57 h 86"/>
                <a:gd name="T48" fmla="*/ 19 w 67"/>
                <a:gd name="T49" fmla="*/ 57 h 86"/>
                <a:gd name="T50" fmla="*/ 19 w 67"/>
                <a:gd name="T51" fmla="*/ 57 h 86"/>
                <a:gd name="T52" fmla="*/ 0 w 67"/>
                <a:gd name="T53" fmla="*/ 67 h 86"/>
                <a:gd name="T54" fmla="*/ 0 w 67"/>
                <a:gd name="T55" fmla="*/ 67 h 86"/>
                <a:gd name="T56" fmla="*/ 0 w 67"/>
                <a:gd name="T57" fmla="*/ 76 h 86"/>
                <a:gd name="T58" fmla="*/ 10 w 67"/>
                <a:gd name="T59" fmla="*/ 76 h 86"/>
                <a:gd name="T60" fmla="*/ 10 w 67"/>
                <a:gd name="T61" fmla="*/ 86 h 86"/>
                <a:gd name="T62" fmla="*/ 10 w 67"/>
                <a:gd name="T63" fmla="*/ 86 h 86"/>
                <a:gd name="T64" fmla="*/ 19 w 67"/>
                <a:gd name="T65" fmla="*/ 86 h 86"/>
                <a:gd name="T66" fmla="*/ 38 w 67"/>
                <a:gd name="T67" fmla="*/ 76 h 86"/>
                <a:gd name="T68" fmla="*/ 48 w 67"/>
                <a:gd name="T69" fmla="*/ 67 h 86"/>
                <a:gd name="T70" fmla="*/ 57 w 67"/>
                <a:gd name="T71" fmla="*/ 67 h 86"/>
                <a:gd name="T72" fmla="*/ 57 w 67"/>
                <a:gd name="T73" fmla="*/ 57 h 86"/>
                <a:gd name="T74" fmla="*/ 67 w 67"/>
                <a:gd name="T75" fmla="*/ 48 h 86"/>
                <a:gd name="T76" fmla="*/ 57 w 67"/>
                <a:gd name="T77" fmla="*/ 38 h 86"/>
                <a:gd name="T78" fmla="*/ 57 w 67"/>
                <a:gd name="T79" fmla="*/ 28 h 8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7"/>
                <a:gd name="T121" fmla="*/ 0 h 86"/>
                <a:gd name="T122" fmla="*/ 67 w 67"/>
                <a:gd name="T123" fmla="*/ 86 h 8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7" h="86">
                  <a:moveTo>
                    <a:pt x="57" y="28"/>
                  </a:moveTo>
                  <a:lnTo>
                    <a:pt x="57" y="28"/>
                  </a:lnTo>
                  <a:lnTo>
                    <a:pt x="48" y="19"/>
                  </a:lnTo>
                  <a:lnTo>
                    <a:pt x="38" y="28"/>
                  </a:lnTo>
                  <a:lnTo>
                    <a:pt x="38" y="19"/>
                  </a:lnTo>
                  <a:lnTo>
                    <a:pt x="38" y="9"/>
                  </a:lnTo>
                  <a:lnTo>
                    <a:pt x="38" y="0"/>
                  </a:lnTo>
                  <a:lnTo>
                    <a:pt x="29" y="0"/>
                  </a:lnTo>
                  <a:lnTo>
                    <a:pt x="29" y="9"/>
                  </a:lnTo>
                  <a:lnTo>
                    <a:pt x="29" y="19"/>
                  </a:lnTo>
                  <a:lnTo>
                    <a:pt x="19" y="19"/>
                  </a:lnTo>
                  <a:lnTo>
                    <a:pt x="10" y="19"/>
                  </a:lnTo>
                  <a:lnTo>
                    <a:pt x="0" y="28"/>
                  </a:lnTo>
                  <a:lnTo>
                    <a:pt x="10" y="38"/>
                  </a:lnTo>
                  <a:lnTo>
                    <a:pt x="0" y="38"/>
                  </a:lnTo>
                  <a:lnTo>
                    <a:pt x="10" y="48"/>
                  </a:lnTo>
                  <a:lnTo>
                    <a:pt x="10" y="38"/>
                  </a:lnTo>
                  <a:lnTo>
                    <a:pt x="19" y="48"/>
                  </a:lnTo>
                  <a:lnTo>
                    <a:pt x="10" y="48"/>
                  </a:lnTo>
                  <a:lnTo>
                    <a:pt x="10" y="57"/>
                  </a:lnTo>
                  <a:lnTo>
                    <a:pt x="19" y="57"/>
                  </a:lnTo>
                  <a:lnTo>
                    <a:pt x="0" y="67"/>
                  </a:lnTo>
                  <a:lnTo>
                    <a:pt x="0" y="76"/>
                  </a:lnTo>
                  <a:lnTo>
                    <a:pt x="10" y="76"/>
                  </a:lnTo>
                  <a:lnTo>
                    <a:pt x="10" y="86"/>
                  </a:lnTo>
                  <a:lnTo>
                    <a:pt x="19" y="86"/>
                  </a:lnTo>
                  <a:lnTo>
                    <a:pt x="38" y="76"/>
                  </a:lnTo>
                  <a:lnTo>
                    <a:pt x="48" y="67"/>
                  </a:lnTo>
                  <a:lnTo>
                    <a:pt x="57" y="67"/>
                  </a:lnTo>
                  <a:lnTo>
                    <a:pt x="57" y="57"/>
                  </a:lnTo>
                  <a:lnTo>
                    <a:pt x="67" y="48"/>
                  </a:lnTo>
                  <a:lnTo>
                    <a:pt x="57" y="38"/>
                  </a:lnTo>
                  <a:lnTo>
                    <a:pt x="57" y="2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52" name="Freeform 130">
              <a:extLst>
                <a:ext uri="{FF2B5EF4-FFF2-40B4-BE49-F238E27FC236}">
                  <a16:creationId xmlns:a16="http://schemas.microsoft.com/office/drawing/2014/main" id="{204A1AFD-9FDA-4D20-B2FE-70F8D9EEE5CF}"/>
                </a:ext>
              </a:extLst>
            </p:cNvPr>
            <p:cNvSpPr>
              <a:spLocks/>
            </p:cNvSpPr>
            <p:nvPr/>
          </p:nvSpPr>
          <p:spPr bwMode="gray">
            <a:xfrm>
              <a:off x="3685" y="2261"/>
              <a:ext cx="105" cy="67"/>
            </a:xfrm>
            <a:custGeom>
              <a:avLst/>
              <a:gdLst>
                <a:gd name="T0" fmla="*/ 105 w 105"/>
                <a:gd name="T1" fmla="*/ 57 h 67"/>
                <a:gd name="T2" fmla="*/ 105 w 105"/>
                <a:gd name="T3" fmla="*/ 48 h 67"/>
                <a:gd name="T4" fmla="*/ 105 w 105"/>
                <a:gd name="T5" fmla="*/ 38 h 67"/>
                <a:gd name="T6" fmla="*/ 95 w 105"/>
                <a:gd name="T7" fmla="*/ 38 h 67"/>
                <a:gd name="T8" fmla="*/ 86 w 105"/>
                <a:gd name="T9" fmla="*/ 19 h 67"/>
                <a:gd name="T10" fmla="*/ 76 w 105"/>
                <a:gd name="T11" fmla="*/ 29 h 67"/>
                <a:gd name="T12" fmla="*/ 67 w 105"/>
                <a:gd name="T13" fmla="*/ 29 h 67"/>
                <a:gd name="T14" fmla="*/ 67 w 105"/>
                <a:gd name="T15" fmla="*/ 19 h 67"/>
                <a:gd name="T16" fmla="*/ 48 w 105"/>
                <a:gd name="T17" fmla="*/ 19 h 67"/>
                <a:gd name="T18" fmla="*/ 48 w 105"/>
                <a:gd name="T19" fmla="*/ 19 h 67"/>
                <a:gd name="T20" fmla="*/ 38 w 105"/>
                <a:gd name="T21" fmla="*/ 19 h 67"/>
                <a:gd name="T22" fmla="*/ 28 w 105"/>
                <a:gd name="T23" fmla="*/ 29 h 67"/>
                <a:gd name="T24" fmla="*/ 28 w 105"/>
                <a:gd name="T25" fmla="*/ 19 h 67"/>
                <a:gd name="T26" fmla="*/ 38 w 105"/>
                <a:gd name="T27" fmla="*/ 10 h 67"/>
                <a:gd name="T28" fmla="*/ 38 w 105"/>
                <a:gd name="T29" fmla="*/ 0 h 67"/>
                <a:gd name="T30" fmla="*/ 48 w 105"/>
                <a:gd name="T31" fmla="*/ 0 h 67"/>
                <a:gd name="T32" fmla="*/ 38 w 105"/>
                <a:gd name="T33" fmla="*/ 0 h 67"/>
                <a:gd name="T34" fmla="*/ 19 w 105"/>
                <a:gd name="T35" fmla="*/ 0 h 67"/>
                <a:gd name="T36" fmla="*/ 19 w 105"/>
                <a:gd name="T37" fmla="*/ 10 h 67"/>
                <a:gd name="T38" fmla="*/ 9 w 105"/>
                <a:gd name="T39" fmla="*/ 19 h 67"/>
                <a:gd name="T40" fmla="*/ 0 w 105"/>
                <a:gd name="T41" fmla="*/ 19 h 67"/>
                <a:gd name="T42" fmla="*/ 0 w 105"/>
                <a:gd name="T43" fmla="*/ 38 h 67"/>
                <a:gd name="T44" fmla="*/ 9 w 105"/>
                <a:gd name="T45" fmla="*/ 38 h 67"/>
                <a:gd name="T46" fmla="*/ 0 w 105"/>
                <a:gd name="T47" fmla="*/ 48 h 67"/>
                <a:gd name="T48" fmla="*/ 0 w 105"/>
                <a:gd name="T49" fmla="*/ 57 h 67"/>
                <a:gd name="T50" fmla="*/ 9 w 105"/>
                <a:gd name="T51" fmla="*/ 67 h 67"/>
                <a:gd name="T52" fmla="*/ 38 w 105"/>
                <a:gd name="T53" fmla="*/ 57 h 67"/>
                <a:gd name="T54" fmla="*/ 38 w 105"/>
                <a:gd name="T55" fmla="*/ 48 h 67"/>
                <a:gd name="T56" fmla="*/ 48 w 105"/>
                <a:gd name="T57" fmla="*/ 38 h 67"/>
                <a:gd name="T58" fmla="*/ 57 w 105"/>
                <a:gd name="T59" fmla="*/ 38 h 67"/>
                <a:gd name="T60" fmla="*/ 57 w 105"/>
                <a:gd name="T61" fmla="*/ 57 h 67"/>
                <a:gd name="T62" fmla="*/ 57 w 105"/>
                <a:gd name="T63" fmla="*/ 67 h 67"/>
                <a:gd name="T64" fmla="*/ 76 w 105"/>
                <a:gd name="T65" fmla="*/ 67 h 67"/>
                <a:gd name="T66" fmla="*/ 86 w 105"/>
                <a:gd name="T67" fmla="*/ 57 h 67"/>
                <a:gd name="T68" fmla="*/ 95 w 105"/>
                <a:gd name="T69" fmla="*/ 57 h 67"/>
                <a:gd name="T70" fmla="*/ 105 w 105"/>
                <a:gd name="T71" fmla="*/ 57 h 6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5"/>
                <a:gd name="T109" fmla="*/ 0 h 67"/>
                <a:gd name="T110" fmla="*/ 105 w 105"/>
                <a:gd name="T111" fmla="*/ 67 h 6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5" h="67">
                  <a:moveTo>
                    <a:pt x="105" y="57"/>
                  </a:moveTo>
                  <a:lnTo>
                    <a:pt x="105" y="48"/>
                  </a:lnTo>
                  <a:lnTo>
                    <a:pt x="105" y="38"/>
                  </a:lnTo>
                  <a:lnTo>
                    <a:pt x="95" y="38"/>
                  </a:lnTo>
                  <a:lnTo>
                    <a:pt x="86" y="19"/>
                  </a:lnTo>
                  <a:lnTo>
                    <a:pt x="76" y="29"/>
                  </a:lnTo>
                  <a:lnTo>
                    <a:pt x="67" y="29"/>
                  </a:lnTo>
                  <a:lnTo>
                    <a:pt x="67" y="19"/>
                  </a:lnTo>
                  <a:lnTo>
                    <a:pt x="48" y="19"/>
                  </a:lnTo>
                  <a:lnTo>
                    <a:pt x="38" y="19"/>
                  </a:lnTo>
                  <a:lnTo>
                    <a:pt x="28" y="29"/>
                  </a:lnTo>
                  <a:lnTo>
                    <a:pt x="28" y="19"/>
                  </a:lnTo>
                  <a:lnTo>
                    <a:pt x="38" y="10"/>
                  </a:lnTo>
                  <a:lnTo>
                    <a:pt x="38" y="0"/>
                  </a:lnTo>
                  <a:lnTo>
                    <a:pt x="48" y="0"/>
                  </a:lnTo>
                  <a:lnTo>
                    <a:pt x="38" y="0"/>
                  </a:lnTo>
                  <a:lnTo>
                    <a:pt x="19" y="0"/>
                  </a:lnTo>
                  <a:lnTo>
                    <a:pt x="19" y="10"/>
                  </a:lnTo>
                  <a:lnTo>
                    <a:pt x="9" y="19"/>
                  </a:lnTo>
                  <a:lnTo>
                    <a:pt x="0" y="19"/>
                  </a:lnTo>
                  <a:lnTo>
                    <a:pt x="0" y="38"/>
                  </a:lnTo>
                  <a:lnTo>
                    <a:pt x="9" y="38"/>
                  </a:lnTo>
                  <a:lnTo>
                    <a:pt x="0" y="48"/>
                  </a:lnTo>
                  <a:lnTo>
                    <a:pt x="0" y="57"/>
                  </a:lnTo>
                  <a:lnTo>
                    <a:pt x="9" y="67"/>
                  </a:lnTo>
                  <a:lnTo>
                    <a:pt x="38" y="57"/>
                  </a:lnTo>
                  <a:lnTo>
                    <a:pt x="38" y="48"/>
                  </a:lnTo>
                  <a:lnTo>
                    <a:pt x="48" y="38"/>
                  </a:lnTo>
                  <a:lnTo>
                    <a:pt x="57" y="38"/>
                  </a:lnTo>
                  <a:lnTo>
                    <a:pt x="57" y="57"/>
                  </a:lnTo>
                  <a:lnTo>
                    <a:pt x="57" y="67"/>
                  </a:lnTo>
                  <a:lnTo>
                    <a:pt x="76" y="67"/>
                  </a:lnTo>
                  <a:lnTo>
                    <a:pt x="86" y="57"/>
                  </a:lnTo>
                  <a:lnTo>
                    <a:pt x="95" y="57"/>
                  </a:lnTo>
                  <a:lnTo>
                    <a:pt x="105" y="5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53" name="Freeform 131">
              <a:extLst>
                <a:ext uri="{FF2B5EF4-FFF2-40B4-BE49-F238E27FC236}">
                  <a16:creationId xmlns:a16="http://schemas.microsoft.com/office/drawing/2014/main" id="{431D344F-1C35-485D-B3C8-AEEC4BCF4F12}"/>
                </a:ext>
              </a:extLst>
            </p:cNvPr>
            <p:cNvSpPr>
              <a:spLocks/>
            </p:cNvSpPr>
            <p:nvPr/>
          </p:nvSpPr>
          <p:spPr bwMode="gray">
            <a:xfrm>
              <a:off x="3713" y="2213"/>
              <a:ext cx="153" cy="77"/>
            </a:xfrm>
            <a:custGeom>
              <a:avLst/>
              <a:gdLst>
                <a:gd name="T0" fmla="*/ 58 w 153"/>
                <a:gd name="T1" fmla="*/ 67 h 77"/>
                <a:gd name="T2" fmla="*/ 67 w 153"/>
                <a:gd name="T3" fmla="*/ 58 h 77"/>
                <a:gd name="T4" fmla="*/ 86 w 153"/>
                <a:gd name="T5" fmla="*/ 48 h 77"/>
                <a:gd name="T6" fmla="*/ 96 w 153"/>
                <a:gd name="T7" fmla="*/ 58 h 77"/>
                <a:gd name="T8" fmla="*/ 105 w 153"/>
                <a:gd name="T9" fmla="*/ 58 h 77"/>
                <a:gd name="T10" fmla="*/ 105 w 153"/>
                <a:gd name="T11" fmla="*/ 39 h 77"/>
                <a:gd name="T12" fmla="*/ 115 w 153"/>
                <a:gd name="T13" fmla="*/ 39 h 77"/>
                <a:gd name="T14" fmla="*/ 124 w 153"/>
                <a:gd name="T15" fmla="*/ 29 h 77"/>
                <a:gd name="T16" fmla="*/ 143 w 153"/>
                <a:gd name="T17" fmla="*/ 29 h 77"/>
                <a:gd name="T18" fmla="*/ 153 w 153"/>
                <a:gd name="T19" fmla="*/ 20 h 77"/>
                <a:gd name="T20" fmla="*/ 153 w 153"/>
                <a:gd name="T21" fmla="*/ 10 h 77"/>
                <a:gd name="T22" fmla="*/ 134 w 153"/>
                <a:gd name="T23" fmla="*/ 10 h 77"/>
                <a:gd name="T24" fmla="*/ 105 w 153"/>
                <a:gd name="T25" fmla="*/ 0 h 77"/>
                <a:gd name="T26" fmla="*/ 86 w 153"/>
                <a:gd name="T27" fmla="*/ 10 h 77"/>
                <a:gd name="T28" fmla="*/ 77 w 153"/>
                <a:gd name="T29" fmla="*/ 0 h 77"/>
                <a:gd name="T30" fmla="*/ 67 w 153"/>
                <a:gd name="T31" fmla="*/ 0 h 77"/>
                <a:gd name="T32" fmla="*/ 58 w 153"/>
                <a:gd name="T33" fmla="*/ 10 h 77"/>
                <a:gd name="T34" fmla="*/ 58 w 153"/>
                <a:gd name="T35" fmla="*/ 20 h 77"/>
                <a:gd name="T36" fmla="*/ 39 w 153"/>
                <a:gd name="T37" fmla="*/ 20 h 77"/>
                <a:gd name="T38" fmla="*/ 39 w 153"/>
                <a:gd name="T39" fmla="*/ 10 h 77"/>
                <a:gd name="T40" fmla="*/ 29 w 153"/>
                <a:gd name="T41" fmla="*/ 10 h 77"/>
                <a:gd name="T42" fmla="*/ 20 w 153"/>
                <a:gd name="T43" fmla="*/ 20 h 77"/>
                <a:gd name="T44" fmla="*/ 20 w 153"/>
                <a:gd name="T45" fmla="*/ 29 h 77"/>
                <a:gd name="T46" fmla="*/ 10 w 153"/>
                <a:gd name="T47" fmla="*/ 29 h 77"/>
                <a:gd name="T48" fmla="*/ 0 w 153"/>
                <a:gd name="T49" fmla="*/ 29 h 77"/>
                <a:gd name="T50" fmla="*/ 10 w 153"/>
                <a:gd name="T51" fmla="*/ 29 h 77"/>
                <a:gd name="T52" fmla="*/ 29 w 153"/>
                <a:gd name="T53" fmla="*/ 29 h 77"/>
                <a:gd name="T54" fmla="*/ 29 w 153"/>
                <a:gd name="T55" fmla="*/ 39 h 77"/>
                <a:gd name="T56" fmla="*/ 39 w 153"/>
                <a:gd name="T57" fmla="*/ 39 h 77"/>
                <a:gd name="T58" fmla="*/ 39 w 153"/>
                <a:gd name="T59" fmla="*/ 48 h 77"/>
                <a:gd name="T60" fmla="*/ 29 w 153"/>
                <a:gd name="T61" fmla="*/ 58 h 77"/>
                <a:gd name="T62" fmla="*/ 10 w 153"/>
                <a:gd name="T63" fmla="*/ 58 h 77"/>
                <a:gd name="T64" fmla="*/ 0 w 153"/>
                <a:gd name="T65" fmla="*/ 67 h 77"/>
                <a:gd name="T66" fmla="*/ 0 w 153"/>
                <a:gd name="T67" fmla="*/ 77 h 77"/>
                <a:gd name="T68" fmla="*/ 10 w 153"/>
                <a:gd name="T69" fmla="*/ 67 h 77"/>
                <a:gd name="T70" fmla="*/ 20 w 153"/>
                <a:gd name="T71" fmla="*/ 67 h 77"/>
                <a:gd name="T72" fmla="*/ 20 w 153"/>
                <a:gd name="T73" fmla="*/ 67 h 77"/>
                <a:gd name="T74" fmla="*/ 39 w 153"/>
                <a:gd name="T75" fmla="*/ 67 h 77"/>
                <a:gd name="T76" fmla="*/ 39 w 153"/>
                <a:gd name="T77" fmla="*/ 77 h 77"/>
                <a:gd name="T78" fmla="*/ 48 w 153"/>
                <a:gd name="T79" fmla="*/ 77 h 77"/>
                <a:gd name="T80" fmla="*/ 58 w 153"/>
                <a:gd name="T81" fmla="*/ 67 h 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53"/>
                <a:gd name="T124" fmla="*/ 0 h 77"/>
                <a:gd name="T125" fmla="*/ 153 w 153"/>
                <a:gd name="T126" fmla="*/ 77 h 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53" h="77">
                  <a:moveTo>
                    <a:pt x="58" y="67"/>
                  </a:moveTo>
                  <a:lnTo>
                    <a:pt x="67" y="58"/>
                  </a:lnTo>
                  <a:lnTo>
                    <a:pt x="86" y="48"/>
                  </a:lnTo>
                  <a:lnTo>
                    <a:pt x="96" y="58"/>
                  </a:lnTo>
                  <a:lnTo>
                    <a:pt x="105" y="58"/>
                  </a:lnTo>
                  <a:lnTo>
                    <a:pt x="105" y="39"/>
                  </a:lnTo>
                  <a:lnTo>
                    <a:pt x="115" y="39"/>
                  </a:lnTo>
                  <a:lnTo>
                    <a:pt x="124" y="29"/>
                  </a:lnTo>
                  <a:lnTo>
                    <a:pt x="143" y="29"/>
                  </a:lnTo>
                  <a:lnTo>
                    <a:pt x="153" y="20"/>
                  </a:lnTo>
                  <a:lnTo>
                    <a:pt x="153" y="10"/>
                  </a:lnTo>
                  <a:lnTo>
                    <a:pt x="134" y="10"/>
                  </a:lnTo>
                  <a:lnTo>
                    <a:pt x="105" y="0"/>
                  </a:lnTo>
                  <a:lnTo>
                    <a:pt x="86" y="10"/>
                  </a:lnTo>
                  <a:lnTo>
                    <a:pt x="77" y="0"/>
                  </a:lnTo>
                  <a:lnTo>
                    <a:pt x="67" y="0"/>
                  </a:lnTo>
                  <a:lnTo>
                    <a:pt x="58" y="10"/>
                  </a:lnTo>
                  <a:lnTo>
                    <a:pt x="58" y="20"/>
                  </a:lnTo>
                  <a:lnTo>
                    <a:pt x="39" y="20"/>
                  </a:lnTo>
                  <a:lnTo>
                    <a:pt x="39" y="10"/>
                  </a:lnTo>
                  <a:lnTo>
                    <a:pt x="29" y="10"/>
                  </a:lnTo>
                  <a:lnTo>
                    <a:pt x="20" y="20"/>
                  </a:lnTo>
                  <a:lnTo>
                    <a:pt x="20" y="29"/>
                  </a:lnTo>
                  <a:lnTo>
                    <a:pt x="10" y="29"/>
                  </a:lnTo>
                  <a:lnTo>
                    <a:pt x="0" y="29"/>
                  </a:lnTo>
                  <a:lnTo>
                    <a:pt x="10" y="29"/>
                  </a:lnTo>
                  <a:lnTo>
                    <a:pt x="29" y="29"/>
                  </a:lnTo>
                  <a:lnTo>
                    <a:pt x="29" y="39"/>
                  </a:lnTo>
                  <a:lnTo>
                    <a:pt x="39" y="39"/>
                  </a:lnTo>
                  <a:lnTo>
                    <a:pt x="39" y="48"/>
                  </a:lnTo>
                  <a:lnTo>
                    <a:pt x="29" y="58"/>
                  </a:lnTo>
                  <a:lnTo>
                    <a:pt x="10" y="58"/>
                  </a:lnTo>
                  <a:lnTo>
                    <a:pt x="0" y="67"/>
                  </a:lnTo>
                  <a:lnTo>
                    <a:pt x="0" y="77"/>
                  </a:lnTo>
                  <a:lnTo>
                    <a:pt x="10" y="67"/>
                  </a:lnTo>
                  <a:lnTo>
                    <a:pt x="20" y="67"/>
                  </a:lnTo>
                  <a:lnTo>
                    <a:pt x="39" y="67"/>
                  </a:lnTo>
                  <a:lnTo>
                    <a:pt x="39" y="77"/>
                  </a:lnTo>
                  <a:lnTo>
                    <a:pt x="48" y="77"/>
                  </a:lnTo>
                  <a:lnTo>
                    <a:pt x="58" y="6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54" name="Freeform 132">
              <a:extLst>
                <a:ext uri="{FF2B5EF4-FFF2-40B4-BE49-F238E27FC236}">
                  <a16:creationId xmlns:a16="http://schemas.microsoft.com/office/drawing/2014/main" id="{4360C8FE-01CD-4BE7-9B89-95561823D1C3}"/>
                </a:ext>
              </a:extLst>
            </p:cNvPr>
            <p:cNvSpPr>
              <a:spLocks/>
            </p:cNvSpPr>
            <p:nvPr/>
          </p:nvSpPr>
          <p:spPr bwMode="gray">
            <a:xfrm>
              <a:off x="3713" y="2213"/>
              <a:ext cx="153" cy="77"/>
            </a:xfrm>
            <a:custGeom>
              <a:avLst/>
              <a:gdLst>
                <a:gd name="T0" fmla="*/ 58 w 153"/>
                <a:gd name="T1" fmla="*/ 67 h 77"/>
                <a:gd name="T2" fmla="*/ 67 w 153"/>
                <a:gd name="T3" fmla="*/ 58 h 77"/>
                <a:gd name="T4" fmla="*/ 86 w 153"/>
                <a:gd name="T5" fmla="*/ 48 h 77"/>
                <a:gd name="T6" fmla="*/ 96 w 153"/>
                <a:gd name="T7" fmla="*/ 58 h 77"/>
                <a:gd name="T8" fmla="*/ 105 w 153"/>
                <a:gd name="T9" fmla="*/ 58 h 77"/>
                <a:gd name="T10" fmla="*/ 105 w 153"/>
                <a:gd name="T11" fmla="*/ 39 h 77"/>
                <a:gd name="T12" fmla="*/ 115 w 153"/>
                <a:gd name="T13" fmla="*/ 39 h 77"/>
                <a:gd name="T14" fmla="*/ 124 w 153"/>
                <a:gd name="T15" fmla="*/ 29 h 77"/>
                <a:gd name="T16" fmla="*/ 143 w 153"/>
                <a:gd name="T17" fmla="*/ 29 h 77"/>
                <a:gd name="T18" fmla="*/ 153 w 153"/>
                <a:gd name="T19" fmla="*/ 20 h 77"/>
                <a:gd name="T20" fmla="*/ 153 w 153"/>
                <a:gd name="T21" fmla="*/ 10 h 77"/>
                <a:gd name="T22" fmla="*/ 134 w 153"/>
                <a:gd name="T23" fmla="*/ 10 h 77"/>
                <a:gd name="T24" fmla="*/ 105 w 153"/>
                <a:gd name="T25" fmla="*/ 0 h 77"/>
                <a:gd name="T26" fmla="*/ 86 w 153"/>
                <a:gd name="T27" fmla="*/ 10 h 77"/>
                <a:gd name="T28" fmla="*/ 77 w 153"/>
                <a:gd name="T29" fmla="*/ 0 h 77"/>
                <a:gd name="T30" fmla="*/ 67 w 153"/>
                <a:gd name="T31" fmla="*/ 0 h 77"/>
                <a:gd name="T32" fmla="*/ 58 w 153"/>
                <a:gd name="T33" fmla="*/ 10 h 77"/>
                <a:gd name="T34" fmla="*/ 58 w 153"/>
                <a:gd name="T35" fmla="*/ 20 h 77"/>
                <a:gd name="T36" fmla="*/ 39 w 153"/>
                <a:gd name="T37" fmla="*/ 20 h 77"/>
                <a:gd name="T38" fmla="*/ 39 w 153"/>
                <a:gd name="T39" fmla="*/ 10 h 77"/>
                <a:gd name="T40" fmla="*/ 29 w 153"/>
                <a:gd name="T41" fmla="*/ 10 h 77"/>
                <a:gd name="T42" fmla="*/ 20 w 153"/>
                <a:gd name="T43" fmla="*/ 20 h 77"/>
                <a:gd name="T44" fmla="*/ 20 w 153"/>
                <a:gd name="T45" fmla="*/ 29 h 77"/>
                <a:gd name="T46" fmla="*/ 10 w 153"/>
                <a:gd name="T47" fmla="*/ 29 h 77"/>
                <a:gd name="T48" fmla="*/ 0 w 153"/>
                <a:gd name="T49" fmla="*/ 29 h 77"/>
                <a:gd name="T50" fmla="*/ 10 w 153"/>
                <a:gd name="T51" fmla="*/ 29 h 77"/>
                <a:gd name="T52" fmla="*/ 29 w 153"/>
                <a:gd name="T53" fmla="*/ 29 h 77"/>
                <a:gd name="T54" fmla="*/ 29 w 153"/>
                <a:gd name="T55" fmla="*/ 39 h 77"/>
                <a:gd name="T56" fmla="*/ 39 w 153"/>
                <a:gd name="T57" fmla="*/ 39 h 77"/>
                <a:gd name="T58" fmla="*/ 39 w 153"/>
                <a:gd name="T59" fmla="*/ 48 h 77"/>
                <a:gd name="T60" fmla="*/ 29 w 153"/>
                <a:gd name="T61" fmla="*/ 58 h 77"/>
                <a:gd name="T62" fmla="*/ 10 w 153"/>
                <a:gd name="T63" fmla="*/ 58 h 77"/>
                <a:gd name="T64" fmla="*/ 0 w 153"/>
                <a:gd name="T65" fmla="*/ 67 h 77"/>
                <a:gd name="T66" fmla="*/ 0 w 153"/>
                <a:gd name="T67" fmla="*/ 77 h 77"/>
                <a:gd name="T68" fmla="*/ 10 w 153"/>
                <a:gd name="T69" fmla="*/ 67 h 77"/>
                <a:gd name="T70" fmla="*/ 20 w 153"/>
                <a:gd name="T71" fmla="*/ 67 h 77"/>
                <a:gd name="T72" fmla="*/ 20 w 153"/>
                <a:gd name="T73" fmla="*/ 67 h 77"/>
                <a:gd name="T74" fmla="*/ 39 w 153"/>
                <a:gd name="T75" fmla="*/ 67 h 77"/>
                <a:gd name="T76" fmla="*/ 39 w 153"/>
                <a:gd name="T77" fmla="*/ 77 h 77"/>
                <a:gd name="T78" fmla="*/ 48 w 153"/>
                <a:gd name="T79" fmla="*/ 77 h 77"/>
                <a:gd name="T80" fmla="*/ 58 w 153"/>
                <a:gd name="T81" fmla="*/ 67 h 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53"/>
                <a:gd name="T124" fmla="*/ 0 h 77"/>
                <a:gd name="T125" fmla="*/ 153 w 153"/>
                <a:gd name="T126" fmla="*/ 77 h 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53" h="77">
                  <a:moveTo>
                    <a:pt x="58" y="67"/>
                  </a:moveTo>
                  <a:lnTo>
                    <a:pt x="67" y="58"/>
                  </a:lnTo>
                  <a:lnTo>
                    <a:pt x="86" y="48"/>
                  </a:lnTo>
                  <a:lnTo>
                    <a:pt x="96" y="58"/>
                  </a:lnTo>
                  <a:lnTo>
                    <a:pt x="105" y="58"/>
                  </a:lnTo>
                  <a:lnTo>
                    <a:pt x="105" y="39"/>
                  </a:lnTo>
                  <a:lnTo>
                    <a:pt x="115" y="39"/>
                  </a:lnTo>
                  <a:lnTo>
                    <a:pt x="124" y="29"/>
                  </a:lnTo>
                  <a:lnTo>
                    <a:pt x="143" y="29"/>
                  </a:lnTo>
                  <a:lnTo>
                    <a:pt x="153" y="20"/>
                  </a:lnTo>
                  <a:lnTo>
                    <a:pt x="153" y="10"/>
                  </a:lnTo>
                  <a:lnTo>
                    <a:pt x="134" y="10"/>
                  </a:lnTo>
                  <a:lnTo>
                    <a:pt x="105" y="0"/>
                  </a:lnTo>
                  <a:lnTo>
                    <a:pt x="86" y="10"/>
                  </a:lnTo>
                  <a:lnTo>
                    <a:pt x="77" y="0"/>
                  </a:lnTo>
                  <a:lnTo>
                    <a:pt x="67" y="0"/>
                  </a:lnTo>
                  <a:lnTo>
                    <a:pt x="58" y="10"/>
                  </a:lnTo>
                  <a:lnTo>
                    <a:pt x="58" y="20"/>
                  </a:lnTo>
                  <a:lnTo>
                    <a:pt x="39" y="20"/>
                  </a:lnTo>
                  <a:lnTo>
                    <a:pt x="39" y="10"/>
                  </a:lnTo>
                  <a:lnTo>
                    <a:pt x="29" y="10"/>
                  </a:lnTo>
                  <a:lnTo>
                    <a:pt x="20" y="20"/>
                  </a:lnTo>
                  <a:lnTo>
                    <a:pt x="20" y="29"/>
                  </a:lnTo>
                  <a:lnTo>
                    <a:pt x="10" y="29"/>
                  </a:lnTo>
                  <a:lnTo>
                    <a:pt x="0" y="29"/>
                  </a:lnTo>
                  <a:lnTo>
                    <a:pt x="10" y="29"/>
                  </a:lnTo>
                  <a:lnTo>
                    <a:pt x="29" y="29"/>
                  </a:lnTo>
                  <a:lnTo>
                    <a:pt x="29" y="39"/>
                  </a:lnTo>
                  <a:lnTo>
                    <a:pt x="39" y="39"/>
                  </a:lnTo>
                  <a:lnTo>
                    <a:pt x="39" y="48"/>
                  </a:lnTo>
                  <a:lnTo>
                    <a:pt x="29" y="58"/>
                  </a:lnTo>
                  <a:lnTo>
                    <a:pt x="10" y="58"/>
                  </a:lnTo>
                  <a:lnTo>
                    <a:pt x="0" y="67"/>
                  </a:lnTo>
                  <a:lnTo>
                    <a:pt x="0" y="77"/>
                  </a:lnTo>
                  <a:lnTo>
                    <a:pt x="10" y="67"/>
                  </a:lnTo>
                  <a:lnTo>
                    <a:pt x="20" y="67"/>
                  </a:lnTo>
                  <a:lnTo>
                    <a:pt x="39" y="67"/>
                  </a:lnTo>
                  <a:lnTo>
                    <a:pt x="39" y="77"/>
                  </a:lnTo>
                  <a:lnTo>
                    <a:pt x="48" y="77"/>
                  </a:lnTo>
                  <a:lnTo>
                    <a:pt x="58" y="6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55" name="Freeform 133">
              <a:extLst>
                <a:ext uri="{FF2B5EF4-FFF2-40B4-BE49-F238E27FC236}">
                  <a16:creationId xmlns:a16="http://schemas.microsoft.com/office/drawing/2014/main" id="{90D3BE64-1D8D-4BF5-83DD-3FCF5FEF20E3}"/>
                </a:ext>
              </a:extLst>
            </p:cNvPr>
            <p:cNvSpPr>
              <a:spLocks/>
            </p:cNvSpPr>
            <p:nvPr/>
          </p:nvSpPr>
          <p:spPr bwMode="gray">
            <a:xfrm>
              <a:off x="3580" y="2299"/>
              <a:ext cx="210" cy="153"/>
            </a:xfrm>
            <a:custGeom>
              <a:avLst/>
              <a:gdLst>
                <a:gd name="T0" fmla="*/ 0 w 210"/>
                <a:gd name="T1" fmla="*/ 143 h 153"/>
                <a:gd name="T2" fmla="*/ 19 w 210"/>
                <a:gd name="T3" fmla="*/ 143 h 153"/>
                <a:gd name="T4" fmla="*/ 29 w 210"/>
                <a:gd name="T5" fmla="*/ 143 h 153"/>
                <a:gd name="T6" fmla="*/ 57 w 210"/>
                <a:gd name="T7" fmla="*/ 153 h 153"/>
                <a:gd name="T8" fmla="*/ 86 w 210"/>
                <a:gd name="T9" fmla="*/ 143 h 153"/>
                <a:gd name="T10" fmla="*/ 86 w 210"/>
                <a:gd name="T11" fmla="*/ 134 h 153"/>
                <a:gd name="T12" fmla="*/ 86 w 210"/>
                <a:gd name="T13" fmla="*/ 124 h 153"/>
                <a:gd name="T14" fmla="*/ 95 w 210"/>
                <a:gd name="T15" fmla="*/ 115 h 153"/>
                <a:gd name="T16" fmla="*/ 105 w 210"/>
                <a:gd name="T17" fmla="*/ 115 h 153"/>
                <a:gd name="T18" fmla="*/ 124 w 210"/>
                <a:gd name="T19" fmla="*/ 115 h 153"/>
                <a:gd name="T20" fmla="*/ 124 w 210"/>
                <a:gd name="T21" fmla="*/ 96 h 153"/>
                <a:gd name="T22" fmla="*/ 143 w 210"/>
                <a:gd name="T23" fmla="*/ 77 h 153"/>
                <a:gd name="T24" fmla="*/ 153 w 210"/>
                <a:gd name="T25" fmla="*/ 77 h 153"/>
                <a:gd name="T26" fmla="*/ 162 w 210"/>
                <a:gd name="T27" fmla="*/ 58 h 153"/>
                <a:gd name="T28" fmla="*/ 162 w 210"/>
                <a:gd name="T29" fmla="*/ 38 h 153"/>
                <a:gd name="T30" fmla="*/ 191 w 210"/>
                <a:gd name="T31" fmla="*/ 29 h 153"/>
                <a:gd name="T32" fmla="*/ 200 w 210"/>
                <a:gd name="T33" fmla="*/ 29 h 153"/>
                <a:gd name="T34" fmla="*/ 210 w 210"/>
                <a:gd name="T35" fmla="*/ 29 h 153"/>
                <a:gd name="T36" fmla="*/ 210 w 210"/>
                <a:gd name="T37" fmla="*/ 19 h 153"/>
                <a:gd name="T38" fmla="*/ 200 w 210"/>
                <a:gd name="T39" fmla="*/ 19 h 153"/>
                <a:gd name="T40" fmla="*/ 191 w 210"/>
                <a:gd name="T41" fmla="*/ 19 h 153"/>
                <a:gd name="T42" fmla="*/ 181 w 210"/>
                <a:gd name="T43" fmla="*/ 29 h 153"/>
                <a:gd name="T44" fmla="*/ 162 w 210"/>
                <a:gd name="T45" fmla="*/ 29 h 153"/>
                <a:gd name="T46" fmla="*/ 162 w 210"/>
                <a:gd name="T47" fmla="*/ 19 h 153"/>
                <a:gd name="T48" fmla="*/ 162 w 210"/>
                <a:gd name="T49" fmla="*/ 0 h 153"/>
                <a:gd name="T50" fmla="*/ 153 w 210"/>
                <a:gd name="T51" fmla="*/ 0 h 153"/>
                <a:gd name="T52" fmla="*/ 143 w 210"/>
                <a:gd name="T53" fmla="*/ 10 h 153"/>
                <a:gd name="T54" fmla="*/ 143 w 210"/>
                <a:gd name="T55" fmla="*/ 19 h 153"/>
                <a:gd name="T56" fmla="*/ 114 w 210"/>
                <a:gd name="T57" fmla="*/ 29 h 153"/>
                <a:gd name="T58" fmla="*/ 105 w 210"/>
                <a:gd name="T59" fmla="*/ 19 h 153"/>
                <a:gd name="T60" fmla="*/ 86 w 210"/>
                <a:gd name="T61" fmla="*/ 19 h 153"/>
                <a:gd name="T62" fmla="*/ 67 w 210"/>
                <a:gd name="T63" fmla="*/ 19 h 153"/>
                <a:gd name="T64" fmla="*/ 57 w 210"/>
                <a:gd name="T65" fmla="*/ 38 h 153"/>
                <a:gd name="T66" fmla="*/ 29 w 210"/>
                <a:gd name="T67" fmla="*/ 48 h 153"/>
                <a:gd name="T68" fmla="*/ 29 w 210"/>
                <a:gd name="T69" fmla="*/ 58 h 153"/>
                <a:gd name="T70" fmla="*/ 19 w 210"/>
                <a:gd name="T71" fmla="*/ 48 h 153"/>
                <a:gd name="T72" fmla="*/ 10 w 210"/>
                <a:gd name="T73" fmla="*/ 48 h 153"/>
                <a:gd name="T74" fmla="*/ 10 w 210"/>
                <a:gd name="T75" fmla="*/ 58 h 153"/>
                <a:gd name="T76" fmla="*/ 0 w 210"/>
                <a:gd name="T77" fmla="*/ 77 h 153"/>
                <a:gd name="T78" fmla="*/ 0 w 210"/>
                <a:gd name="T79" fmla="*/ 96 h 153"/>
                <a:gd name="T80" fmla="*/ 0 w 210"/>
                <a:gd name="T81" fmla="*/ 115 h 153"/>
                <a:gd name="T82" fmla="*/ 10 w 210"/>
                <a:gd name="T83" fmla="*/ 115 h 153"/>
                <a:gd name="T84" fmla="*/ 10 w 210"/>
                <a:gd name="T85" fmla="*/ 115 h 153"/>
                <a:gd name="T86" fmla="*/ 19 w 210"/>
                <a:gd name="T87" fmla="*/ 124 h 153"/>
                <a:gd name="T88" fmla="*/ 10 w 210"/>
                <a:gd name="T89" fmla="*/ 134 h 153"/>
                <a:gd name="T90" fmla="*/ 0 w 210"/>
                <a:gd name="T91" fmla="*/ 143 h 15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0"/>
                <a:gd name="T139" fmla="*/ 0 h 153"/>
                <a:gd name="T140" fmla="*/ 210 w 210"/>
                <a:gd name="T141" fmla="*/ 153 h 15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10" h="153">
                  <a:moveTo>
                    <a:pt x="0" y="143"/>
                  </a:moveTo>
                  <a:lnTo>
                    <a:pt x="19" y="143"/>
                  </a:lnTo>
                  <a:lnTo>
                    <a:pt x="29" y="143"/>
                  </a:lnTo>
                  <a:lnTo>
                    <a:pt x="57" y="153"/>
                  </a:lnTo>
                  <a:lnTo>
                    <a:pt x="86" y="143"/>
                  </a:lnTo>
                  <a:lnTo>
                    <a:pt x="86" y="134"/>
                  </a:lnTo>
                  <a:lnTo>
                    <a:pt x="86" y="124"/>
                  </a:lnTo>
                  <a:lnTo>
                    <a:pt x="95" y="115"/>
                  </a:lnTo>
                  <a:lnTo>
                    <a:pt x="105" y="115"/>
                  </a:lnTo>
                  <a:lnTo>
                    <a:pt x="124" y="115"/>
                  </a:lnTo>
                  <a:lnTo>
                    <a:pt x="124" y="96"/>
                  </a:lnTo>
                  <a:lnTo>
                    <a:pt x="143" y="77"/>
                  </a:lnTo>
                  <a:lnTo>
                    <a:pt x="153" y="77"/>
                  </a:lnTo>
                  <a:lnTo>
                    <a:pt x="162" y="58"/>
                  </a:lnTo>
                  <a:lnTo>
                    <a:pt x="162" y="38"/>
                  </a:lnTo>
                  <a:lnTo>
                    <a:pt x="191" y="29"/>
                  </a:lnTo>
                  <a:lnTo>
                    <a:pt x="200" y="29"/>
                  </a:lnTo>
                  <a:lnTo>
                    <a:pt x="210" y="29"/>
                  </a:lnTo>
                  <a:lnTo>
                    <a:pt x="210" y="19"/>
                  </a:lnTo>
                  <a:lnTo>
                    <a:pt x="200" y="19"/>
                  </a:lnTo>
                  <a:lnTo>
                    <a:pt x="191" y="19"/>
                  </a:lnTo>
                  <a:lnTo>
                    <a:pt x="181" y="29"/>
                  </a:lnTo>
                  <a:lnTo>
                    <a:pt x="162" y="29"/>
                  </a:lnTo>
                  <a:lnTo>
                    <a:pt x="162" y="19"/>
                  </a:lnTo>
                  <a:lnTo>
                    <a:pt x="162" y="0"/>
                  </a:lnTo>
                  <a:lnTo>
                    <a:pt x="153" y="0"/>
                  </a:lnTo>
                  <a:lnTo>
                    <a:pt x="143" y="10"/>
                  </a:lnTo>
                  <a:lnTo>
                    <a:pt x="143" y="19"/>
                  </a:lnTo>
                  <a:lnTo>
                    <a:pt x="114" y="29"/>
                  </a:lnTo>
                  <a:lnTo>
                    <a:pt x="105" y="19"/>
                  </a:lnTo>
                  <a:lnTo>
                    <a:pt x="86" y="19"/>
                  </a:lnTo>
                  <a:lnTo>
                    <a:pt x="67" y="19"/>
                  </a:lnTo>
                  <a:lnTo>
                    <a:pt x="57" y="38"/>
                  </a:lnTo>
                  <a:lnTo>
                    <a:pt x="29" y="48"/>
                  </a:lnTo>
                  <a:lnTo>
                    <a:pt x="29" y="58"/>
                  </a:lnTo>
                  <a:lnTo>
                    <a:pt x="19" y="48"/>
                  </a:lnTo>
                  <a:lnTo>
                    <a:pt x="10" y="48"/>
                  </a:lnTo>
                  <a:lnTo>
                    <a:pt x="10" y="58"/>
                  </a:lnTo>
                  <a:lnTo>
                    <a:pt x="0" y="77"/>
                  </a:lnTo>
                  <a:lnTo>
                    <a:pt x="0" y="96"/>
                  </a:lnTo>
                  <a:lnTo>
                    <a:pt x="0" y="115"/>
                  </a:lnTo>
                  <a:lnTo>
                    <a:pt x="10" y="115"/>
                  </a:lnTo>
                  <a:lnTo>
                    <a:pt x="19" y="124"/>
                  </a:lnTo>
                  <a:lnTo>
                    <a:pt x="10" y="134"/>
                  </a:lnTo>
                  <a:lnTo>
                    <a:pt x="0" y="143"/>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56" name="Freeform 134">
              <a:extLst>
                <a:ext uri="{FF2B5EF4-FFF2-40B4-BE49-F238E27FC236}">
                  <a16:creationId xmlns:a16="http://schemas.microsoft.com/office/drawing/2014/main" id="{0333F0A9-2399-4FB6-8CA8-95048CE5628B}"/>
                </a:ext>
              </a:extLst>
            </p:cNvPr>
            <p:cNvSpPr>
              <a:spLocks/>
            </p:cNvSpPr>
            <p:nvPr/>
          </p:nvSpPr>
          <p:spPr bwMode="gray">
            <a:xfrm>
              <a:off x="3828" y="2357"/>
              <a:ext cx="28" cy="38"/>
            </a:xfrm>
            <a:custGeom>
              <a:avLst/>
              <a:gdLst>
                <a:gd name="T0" fmla="*/ 28 w 28"/>
                <a:gd name="T1" fmla="*/ 38 h 38"/>
                <a:gd name="T2" fmla="*/ 28 w 28"/>
                <a:gd name="T3" fmla="*/ 38 h 38"/>
                <a:gd name="T4" fmla="*/ 28 w 28"/>
                <a:gd name="T5" fmla="*/ 28 h 38"/>
                <a:gd name="T6" fmla="*/ 28 w 28"/>
                <a:gd name="T7" fmla="*/ 28 h 38"/>
                <a:gd name="T8" fmla="*/ 28 w 28"/>
                <a:gd name="T9" fmla="*/ 19 h 38"/>
                <a:gd name="T10" fmla="*/ 28 w 28"/>
                <a:gd name="T11" fmla="*/ 9 h 38"/>
                <a:gd name="T12" fmla="*/ 28 w 28"/>
                <a:gd name="T13" fmla="*/ 0 h 38"/>
                <a:gd name="T14" fmla="*/ 19 w 28"/>
                <a:gd name="T15" fmla="*/ 0 h 38"/>
                <a:gd name="T16" fmla="*/ 9 w 28"/>
                <a:gd name="T17" fmla="*/ 0 h 38"/>
                <a:gd name="T18" fmla="*/ 0 w 28"/>
                <a:gd name="T19" fmla="*/ 9 h 38"/>
                <a:gd name="T20" fmla="*/ 0 w 28"/>
                <a:gd name="T21" fmla="*/ 9 h 38"/>
                <a:gd name="T22" fmla="*/ 0 w 28"/>
                <a:gd name="T23" fmla="*/ 9 h 38"/>
                <a:gd name="T24" fmla="*/ 9 w 28"/>
                <a:gd name="T25" fmla="*/ 9 h 38"/>
                <a:gd name="T26" fmla="*/ 19 w 28"/>
                <a:gd name="T27" fmla="*/ 19 h 38"/>
                <a:gd name="T28" fmla="*/ 19 w 28"/>
                <a:gd name="T29" fmla="*/ 28 h 38"/>
                <a:gd name="T30" fmla="*/ 28 w 28"/>
                <a:gd name="T31" fmla="*/ 38 h 38"/>
                <a:gd name="T32" fmla="*/ 28 w 28"/>
                <a:gd name="T33" fmla="*/ 38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
                <a:gd name="T52" fmla="*/ 0 h 38"/>
                <a:gd name="T53" fmla="*/ 28 w 28"/>
                <a:gd name="T54" fmla="*/ 38 h 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 h="38">
                  <a:moveTo>
                    <a:pt x="28" y="38"/>
                  </a:moveTo>
                  <a:lnTo>
                    <a:pt x="28" y="38"/>
                  </a:lnTo>
                  <a:lnTo>
                    <a:pt x="28" y="28"/>
                  </a:lnTo>
                  <a:lnTo>
                    <a:pt x="28" y="19"/>
                  </a:lnTo>
                  <a:lnTo>
                    <a:pt x="28" y="9"/>
                  </a:lnTo>
                  <a:lnTo>
                    <a:pt x="28" y="0"/>
                  </a:lnTo>
                  <a:lnTo>
                    <a:pt x="19" y="0"/>
                  </a:lnTo>
                  <a:lnTo>
                    <a:pt x="9" y="0"/>
                  </a:lnTo>
                  <a:lnTo>
                    <a:pt x="0" y="9"/>
                  </a:lnTo>
                  <a:lnTo>
                    <a:pt x="9" y="9"/>
                  </a:lnTo>
                  <a:lnTo>
                    <a:pt x="19" y="19"/>
                  </a:lnTo>
                  <a:lnTo>
                    <a:pt x="19" y="28"/>
                  </a:lnTo>
                  <a:lnTo>
                    <a:pt x="28"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57" name="Freeform 135">
              <a:extLst>
                <a:ext uri="{FF2B5EF4-FFF2-40B4-BE49-F238E27FC236}">
                  <a16:creationId xmlns:a16="http://schemas.microsoft.com/office/drawing/2014/main" id="{24F5C3C6-A4D1-44F5-9759-F49FF93C52C5}"/>
                </a:ext>
              </a:extLst>
            </p:cNvPr>
            <p:cNvSpPr>
              <a:spLocks/>
            </p:cNvSpPr>
            <p:nvPr/>
          </p:nvSpPr>
          <p:spPr bwMode="gray">
            <a:xfrm>
              <a:off x="3828" y="2357"/>
              <a:ext cx="28" cy="38"/>
            </a:xfrm>
            <a:custGeom>
              <a:avLst/>
              <a:gdLst>
                <a:gd name="T0" fmla="*/ 28 w 28"/>
                <a:gd name="T1" fmla="*/ 38 h 38"/>
                <a:gd name="T2" fmla="*/ 28 w 28"/>
                <a:gd name="T3" fmla="*/ 38 h 38"/>
                <a:gd name="T4" fmla="*/ 28 w 28"/>
                <a:gd name="T5" fmla="*/ 28 h 38"/>
                <a:gd name="T6" fmla="*/ 28 w 28"/>
                <a:gd name="T7" fmla="*/ 28 h 38"/>
                <a:gd name="T8" fmla="*/ 28 w 28"/>
                <a:gd name="T9" fmla="*/ 19 h 38"/>
                <a:gd name="T10" fmla="*/ 28 w 28"/>
                <a:gd name="T11" fmla="*/ 9 h 38"/>
                <a:gd name="T12" fmla="*/ 28 w 28"/>
                <a:gd name="T13" fmla="*/ 0 h 38"/>
                <a:gd name="T14" fmla="*/ 19 w 28"/>
                <a:gd name="T15" fmla="*/ 0 h 38"/>
                <a:gd name="T16" fmla="*/ 9 w 28"/>
                <a:gd name="T17" fmla="*/ 0 h 38"/>
                <a:gd name="T18" fmla="*/ 0 w 28"/>
                <a:gd name="T19" fmla="*/ 9 h 38"/>
                <a:gd name="T20" fmla="*/ 0 w 28"/>
                <a:gd name="T21" fmla="*/ 9 h 38"/>
                <a:gd name="T22" fmla="*/ 0 w 28"/>
                <a:gd name="T23" fmla="*/ 9 h 38"/>
                <a:gd name="T24" fmla="*/ 9 w 28"/>
                <a:gd name="T25" fmla="*/ 9 h 38"/>
                <a:gd name="T26" fmla="*/ 19 w 28"/>
                <a:gd name="T27" fmla="*/ 19 h 38"/>
                <a:gd name="T28" fmla="*/ 19 w 28"/>
                <a:gd name="T29" fmla="*/ 28 h 38"/>
                <a:gd name="T30" fmla="*/ 28 w 28"/>
                <a:gd name="T31" fmla="*/ 38 h 38"/>
                <a:gd name="T32" fmla="*/ 28 w 28"/>
                <a:gd name="T33" fmla="*/ 38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
                <a:gd name="T52" fmla="*/ 0 h 38"/>
                <a:gd name="T53" fmla="*/ 28 w 28"/>
                <a:gd name="T54" fmla="*/ 38 h 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 h="38">
                  <a:moveTo>
                    <a:pt x="28" y="38"/>
                  </a:moveTo>
                  <a:lnTo>
                    <a:pt x="28" y="38"/>
                  </a:lnTo>
                  <a:lnTo>
                    <a:pt x="28" y="28"/>
                  </a:lnTo>
                  <a:lnTo>
                    <a:pt x="28" y="19"/>
                  </a:lnTo>
                  <a:lnTo>
                    <a:pt x="28" y="9"/>
                  </a:lnTo>
                  <a:lnTo>
                    <a:pt x="28" y="0"/>
                  </a:lnTo>
                  <a:lnTo>
                    <a:pt x="19" y="0"/>
                  </a:lnTo>
                  <a:lnTo>
                    <a:pt x="9" y="0"/>
                  </a:lnTo>
                  <a:lnTo>
                    <a:pt x="0" y="9"/>
                  </a:lnTo>
                  <a:lnTo>
                    <a:pt x="9" y="9"/>
                  </a:lnTo>
                  <a:lnTo>
                    <a:pt x="19" y="19"/>
                  </a:lnTo>
                  <a:lnTo>
                    <a:pt x="19" y="28"/>
                  </a:lnTo>
                  <a:lnTo>
                    <a:pt x="28"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58" name="Freeform 136">
              <a:extLst>
                <a:ext uri="{FF2B5EF4-FFF2-40B4-BE49-F238E27FC236}">
                  <a16:creationId xmlns:a16="http://schemas.microsoft.com/office/drawing/2014/main" id="{2ED7642E-FDBD-428D-9554-A815169ACF61}"/>
                </a:ext>
              </a:extLst>
            </p:cNvPr>
            <p:cNvSpPr>
              <a:spLocks/>
            </p:cNvSpPr>
            <p:nvPr/>
          </p:nvSpPr>
          <p:spPr bwMode="gray">
            <a:xfrm>
              <a:off x="4171" y="2547"/>
              <a:ext cx="105" cy="125"/>
            </a:xfrm>
            <a:custGeom>
              <a:avLst/>
              <a:gdLst>
                <a:gd name="T0" fmla="*/ 10 w 105"/>
                <a:gd name="T1" fmla="*/ 20 h 125"/>
                <a:gd name="T2" fmla="*/ 19 w 105"/>
                <a:gd name="T3" fmla="*/ 29 h 125"/>
                <a:gd name="T4" fmla="*/ 19 w 105"/>
                <a:gd name="T5" fmla="*/ 10 h 125"/>
                <a:gd name="T6" fmla="*/ 19 w 105"/>
                <a:gd name="T7" fmla="*/ 0 h 125"/>
                <a:gd name="T8" fmla="*/ 29 w 105"/>
                <a:gd name="T9" fmla="*/ 0 h 125"/>
                <a:gd name="T10" fmla="*/ 29 w 105"/>
                <a:gd name="T11" fmla="*/ 10 h 125"/>
                <a:gd name="T12" fmla="*/ 38 w 105"/>
                <a:gd name="T13" fmla="*/ 10 h 125"/>
                <a:gd name="T14" fmla="*/ 38 w 105"/>
                <a:gd name="T15" fmla="*/ 29 h 125"/>
                <a:gd name="T16" fmla="*/ 57 w 105"/>
                <a:gd name="T17" fmla="*/ 29 h 125"/>
                <a:gd name="T18" fmla="*/ 67 w 105"/>
                <a:gd name="T19" fmla="*/ 39 h 125"/>
                <a:gd name="T20" fmla="*/ 67 w 105"/>
                <a:gd name="T21" fmla="*/ 58 h 125"/>
                <a:gd name="T22" fmla="*/ 76 w 105"/>
                <a:gd name="T23" fmla="*/ 77 h 125"/>
                <a:gd name="T24" fmla="*/ 95 w 105"/>
                <a:gd name="T25" fmla="*/ 86 h 125"/>
                <a:gd name="T26" fmla="*/ 95 w 105"/>
                <a:gd name="T27" fmla="*/ 96 h 125"/>
                <a:gd name="T28" fmla="*/ 105 w 105"/>
                <a:gd name="T29" fmla="*/ 96 h 125"/>
                <a:gd name="T30" fmla="*/ 105 w 105"/>
                <a:gd name="T31" fmla="*/ 125 h 125"/>
                <a:gd name="T32" fmla="*/ 95 w 105"/>
                <a:gd name="T33" fmla="*/ 125 h 125"/>
                <a:gd name="T34" fmla="*/ 95 w 105"/>
                <a:gd name="T35" fmla="*/ 115 h 125"/>
                <a:gd name="T36" fmla="*/ 86 w 105"/>
                <a:gd name="T37" fmla="*/ 115 h 125"/>
                <a:gd name="T38" fmla="*/ 86 w 105"/>
                <a:gd name="T39" fmla="*/ 125 h 125"/>
                <a:gd name="T40" fmla="*/ 67 w 105"/>
                <a:gd name="T41" fmla="*/ 125 h 125"/>
                <a:gd name="T42" fmla="*/ 76 w 105"/>
                <a:gd name="T43" fmla="*/ 105 h 125"/>
                <a:gd name="T44" fmla="*/ 76 w 105"/>
                <a:gd name="T45" fmla="*/ 96 h 125"/>
                <a:gd name="T46" fmla="*/ 57 w 105"/>
                <a:gd name="T47" fmla="*/ 77 h 125"/>
                <a:gd name="T48" fmla="*/ 57 w 105"/>
                <a:gd name="T49" fmla="*/ 67 h 125"/>
                <a:gd name="T50" fmla="*/ 48 w 105"/>
                <a:gd name="T51" fmla="*/ 67 h 125"/>
                <a:gd name="T52" fmla="*/ 38 w 105"/>
                <a:gd name="T53" fmla="*/ 67 h 125"/>
                <a:gd name="T54" fmla="*/ 29 w 105"/>
                <a:gd name="T55" fmla="*/ 67 h 125"/>
                <a:gd name="T56" fmla="*/ 29 w 105"/>
                <a:gd name="T57" fmla="*/ 67 h 125"/>
                <a:gd name="T58" fmla="*/ 19 w 105"/>
                <a:gd name="T59" fmla="*/ 67 h 125"/>
                <a:gd name="T60" fmla="*/ 10 w 105"/>
                <a:gd name="T61" fmla="*/ 77 h 125"/>
                <a:gd name="T62" fmla="*/ 10 w 105"/>
                <a:gd name="T63" fmla="*/ 67 h 125"/>
                <a:gd name="T64" fmla="*/ 10 w 105"/>
                <a:gd name="T65" fmla="*/ 67 h 125"/>
                <a:gd name="T66" fmla="*/ 10 w 105"/>
                <a:gd name="T67" fmla="*/ 48 h 125"/>
                <a:gd name="T68" fmla="*/ 0 w 105"/>
                <a:gd name="T69" fmla="*/ 48 h 125"/>
                <a:gd name="T70" fmla="*/ 0 w 105"/>
                <a:gd name="T71" fmla="*/ 29 h 125"/>
                <a:gd name="T72" fmla="*/ 10 w 105"/>
                <a:gd name="T73" fmla="*/ 20 h 125"/>
                <a:gd name="T74" fmla="*/ 10 w 105"/>
                <a:gd name="T75" fmla="*/ 20 h 125"/>
                <a:gd name="T76" fmla="*/ 10 w 105"/>
                <a:gd name="T77" fmla="*/ 20 h 12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5"/>
                <a:gd name="T118" fmla="*/ 0 h 125"/>
                <a:gd name="T119" fmla="*/ 105 w 105"/>
                <a:gd name="T120" fmla="*/ 125 h 12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5" h="125">
                  <a:moveTo>
                    <a:pt x="10" y="20"/>
                  </a:moveTo>
                  <a:lnTo>
                    <a:pt x="19" y="29"/>
                  </a:lnTo>
                  <a:lnTo>
                    <a:pt x="19" y="10"/>
                  </a:lnTo>
                  <a:lnTo>
                    <a:pt x="19" y="0"/>
                  </a:lnTo>
                  <a:lnTo>
                    <a:pt x="29" y="0"/>
                  </a:lnTo>
                  <a:lnTo>
                    <a:pt x="29" y="10"/>
                  </a:lnTo>
                  <a:lnTo>
                    <a:pt x="38" y="10"/>
                  </a:lnTo>
                  <a:lnTo>
                    <a:pt x="38" y="29"/>
                  </a:lnTo>
                  <a:lnTo>
                    <a:pt x="57" y="29"/>
                  </a:lnTo>
                  <a:lnTo>
                    <a:pt x="67" y="39"/>
                  </a:lnTo>
                  <a:lnTo>
                    <a:pt x="67" y="58"/>
                  </a:lnTo>
                  <a:lnTo>
                    <a:pt x="76" y="77"/>
                  </a:lnTo>
                  <a:lnTo>
                    <a:pt x="95" y="86"/>
                  </a:lnTo>
                  <a:lnTo>
                    <a:pt x="95" y="96"/>
                  </a:lnTo>
                  <a:lnTo>
                    <a:pt x="105" y="96"/>
                  </a:lnTo>
                  <a:lnTo>
                    <a:pt x="105" y="125"/>
                  </a:lnTo>
                  <a:lnTo>
                    <a:pt x="95" y="125"/>
                  </a:lnTo>
                  <a:lnTo>
                    <a:pt x="95" y="115"/>
                  </a:lnTo>
                  <a:lnTo>
                    <a:pt x="86" y="115"/>
                  </a:lnTo>
                  <a:lnTo>
                    <a:pt x="86" y="125"/>
                  </a:lnTo>
                  <a:lnTo>
                    <a:pt x="67" y="125"/>
                  </a:lnTo>
                  <a:lnTo>
                    <a:pt x="76" y="105"/>
                  </a:lnTo>
                  <a:lnTo>
                    <a:pt x="76" y="96"/>
                  </a:lnTo>
                  <a:lnTo>
                    <a:pt x="57" y="77"/>
                  </a:lnTo>
                  <a:lnTo>
                    <a:pt x="57" y="67"/>
                  </a:lnTo>
                  <a:lnTo>
                    <a:pt x="48" y="67"/>
                  </a:lnTo>
                  <a:lnTo>
                    <a:pt x="38" y="67"/>
                  </a:lnTo>
                  <a:lnTo>
                    <a:pt x="29" y="67"/>
                  </a:lnTo>
                  <a:lnTo>
                    <a:pt x="19" y="67"/>
                  </a:lnTo>
                  <a:lnTo>
                    <a:pt x="10" y="77"/>
                  </a:lnTo>
                  <a:lnTo>
                    <a:pt x="10" y="67"/>
                  </a:lnTo>
                  <a:lnTo>
                    <a:pt x="10" y="48"/>
                  </a:lnTo>
                  <a:lnTo>
                    <a:pt x="0" y="48"/>
                  </a:lnTo>
                  <a:lnTo>
                    <a:pt x="0" y="29"/>
                  </a:lnTo>
                  <a:lnTo>
                    <a:pt x="10" y="2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59" name="Freeform 137">
              <a:extLst>
                <a:ext uri="{FF2B5EF4-FFF2-40B4-BE49-F238E27FC236}">
                  <a16:creationId xmlns:a16="http://schemas.microsoft.com/office/drawing/2014/main" id="{1348EE53-088B-4EED-9DDB-E48AD9A8C07B}"/>
                </a:ext>
              </a:extLst>
            </p:cNvPr>
            <p:cNvSpPr>
              <a:spLocks/>
            </p:cNvSpPr>
            <p:nvPr/>
          </p:nvSpPr>
          <p:spPr bwMode="gray">
            <a:xfrm>
              <a:off x="4171" y="2547"/>
              <a:ext cx="105" cy="125"/>
            </a:xfrm>
            <a:custGeom>
              <a:avLst/>
              <a:gdLst>
                <a:gd name="T0" fmla="*/ 10 w 105"/>
                <a:gd name="T1" fmla="*/ 20 h 125"/>
                <a:gd name="T2" fmla="*/ 19 w 105"/>
                <a:gd name="T3" fmla="*/ 29 h 125"/>
                <a:gd name="T4" fmla="*/ 19 w 105"/>
                <a:gd name="T5" fmla="*/ 10 h 125"/>
                <a:gd name="T6" fmla="*/ 19 w 105"/>
                <a:gd name="T7" fmla="*/ 0 h 125"/>
                <a:gd name="T8" fmla="*/ 29 w 105"/>
                <a:gd name="T9" fmla="*/ 0 h 125"/>
                <a:gd name="T10" fmla="*/ 29 w 105"/>
                <a:gd name="T11" fmla="*/ 10 h 125"/>
                <a:gd name="T12" fmla="*/ 38 w 105"/>
                <a:gd name="T13" fmla="*/ 10 h 125"/>
                <a:gd name="T14" fmla="*/ 38 w 105"/>
                <a:gd name="T15" fmla="*/ 29 h 125"/>
                <a:gd name="T16" fmla="*/ 57 w 105"/>
                <a:gd name="T17" fmla="*/ 29 h 125"/>
                <a:gd name="T18" fmla="*/ 67 w 105"/>
                <a:gd name="T19" fmla="*/ 39 h 125"/>
                <a:gd name="T20" fmla="*/ 67 w 105"/>
                <a:gd name="T21" fmla="*/ 58 h 125"/>
                <a:gd name="T22" fmla="*/ 76 w 105"/>
                <a:gd name="T23" fmla="*/ 77 h 125"/>
                <a:gd name="T24" fmla="*/ 95 w 105"/>
                <a:gd name="T25" fmla="*/ 86 h 125"/>
                <a:gd name="T26" fmla="*/ 95 w 105"/>
                <a:gd name="T27" fmla="*/ 96 h 125"/>
                <a:gd name="T28" fmla="*/ 105 w 105"/>
                <a:gd name="T29" fmla="*/ 96 h 125"/>
                <a:gd name="T30" fmla="*/ 105 w 105"/>
                <a:gd name="T31" fmla="*/ 125 h 125"/>
                <a:gd name="T32" fmla="*/ 95 w 105"/>
                <a:gd name="T33" fmla="*/ 125 h 125"/>
                <a:gd name="T34" fmla="*/ 95 w 105"/>
                <a:gd name="T35" fmla="*/ 115 h 125"/>
                <a:gd name="T36" fmla="*/ 86 w 105"/>
                <a:gd name="T37" fmla="*/ 115 h 125"/>
                <a:gd name="T38" fmla="*/ 86 w 105"/>
                <a:gd name="T39" fmla="*/ 125 h 125"/>
                <a:gd name="T40" fmla="*/ 67 w 105"/>
                <a:gd name="T41" fmla="*/ 125 h 125"/>
                <a:gd name="T42" fmla="*/ 76 w 105"/>
                <a:gd name="T43" fmla="*/ 105 h 125"/>
                <a:gd name="T44" fmla="*/ 76 w 105"/>
                <a:gd name="T45" fmla="*/ 96 h 125"/>
                <a:gd name="T46" fmla="*/ 57 w 105"/>
                <a:gd name="T47" fmla="*/ 77 h 125"/>
                <a:gd name="T48" fmla="*/ 57 w 105"/>
                <a:gd name="T49" fmla="*/ 67 h 125"/>
                <a:gd name="T50" fmla="*/ 48 w 105"/>
                <a:gd name="T51" fmla="*/ 67 h 125"/>
                <a:gd name="T52" fmla="*/ 38 w 105"/>
                <a:gd name="T53" fmla="*/ 67 h 125"/>
                <a:gd name="T54" fmla="*/ 29 w 105"/>
                <a:gd name="T55" fmla="*/ 67 h 125"/>
                <a:gd name="T56" fmla="*/ 29 w 105"/>
                <a:gd name="T57" fmla="*/ 67 h 125"/>
                <a:gd name="T58" fmla="*/ 19 w 105"/>
                <a:gd name="T59" fmla="*/ 67 h 125"/>
                <a:gd name="T60" fmla="*/ 10 w 105"/>
                <a:gd name="T61" fmla="*/ 77 h 125"/>
                <a:gd name="T62" fmla="*/ 10 w 105"/>
                <a:gd name="T63" fmla="*/ 67 h 125"/>
                <a:gd name="T64" fmla="*/ 10 w 105"/>
                <a:gd name="T65" fmla="*/ 67 h 125"/>
                <a:gd name="T66" fmla="*/ 10 w 105"/>
                <a:gd name="T67" fmla="*/ 48 h 125"/>
                <a:gd name="T68" fmla="*/ 0 w 105"/>
                <a:gd name="T69" fmla="*/ 48 h 125"/>
                <a:gd name="T70" fmla="*/ 0 w 105"/>
                <a:gd name="T71" fmla="*/ 29 h 125"/>
                <a:gd name="T72" fmla="*/ 10 w 105"/>
                <a:gd name="T73" fmla="*/ 20 h 125"/>
                <a:gd name="T74" fmla="*/ 10 w 105"/>
                <a:gd name="T75" fmla="*/ 20 h 125"/>
                <a:gd name="T76" fmla="*/ 10 w 105"/>
                <a:gd name="T77" fmla="*/ 20 h 12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5"/>
                <a:gd name="T118" fmla="*/ 0 h 125"/>
                <a:gd name="T119" fmla="*/ 105 w 105"/>
                <a:gd name="T120" fmla="*/ 125 h 12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5" h="125">
                  <a:moveTo>
                    <a:pt x="10" y="20"/>
                  </a:moveTo>
                  <a:lnTo>
                    <a:pt x="19" y="29"/>
                  </a:lnTo>
                  <a:lnTo>
                    <a:pt x="19" y="10"/>
                  </a:lnTo>
                  <a:lnTo>
                    <a:pt x="19" y="0"/>
                  </a:lnTo>
                  <a:lnTo>
                    <a:pt x="29" y="0"/>
                  </a:lnTo>
                  <a:lnTo>
                    <a:pt x="29" y="10"/>
                  </a:lnTo>
                  <a:lnTo>
                    <a:pt x="38" y="10"/>
                  </a:lnTo>
                  <a:lnTo>
                    <a:pt x="38" y="29"/>
                  </a:lnTo>
                  <a:lnTo>
                    <a:pt x="57" y="29"/>
                  </a:lnTo>
                  <a:lnTo>
                    <a:pt x="67" y="39"/>
                  </a:lnTo>
                  <a:lnTo>
                    <a:pt x="67" y="58"/>
                  </a:lnTo>
                  <a:lnTo>
                    <a:pt x="76" y="77"/>
                  </a:lnTo>
                  <a:lnTo>
                    <a:pt x="95" y="86"/>
                  </a:lnTo>
                  <a:lnTo>
                    <a:pt x="95" y="96"/>
                  </a:lnTo>
                  <a:lnTo>
                    <a:pt x="105" y="96"/>
                  </a:lnTo>
                  <a:lnTo>
                    <a:pt x="105" y="125"/>
                  </a:lnTo>
                  <a:lnTo>
                    <a:pt x="95" y="125"/>
                  </a:lnTo>
                  <a:lnTo>
                    <a:pt x="95" y="115"/>
                  </a:lnTo>
                  <a:lnTo>
                    <a:pt x="86" y="115"/>
                  </a:lnTo>
                  <a:lnTo>
                    <a:pt x="86" y="125"/>
                  </a:lnTo>
                  <a:lnTo>
                    <a:pt x="67" y="125"/>
                  </a:lnTo>
                  <a:lnTo>
                    <a:pt x="76" y="105"/>
                  </a:lnTo>
                  <a:lnTo>
                    <a:pt x="76" y="96"/>
                  </a:lnTo>
                  <a:lnTo>
                    <a:pt x="57" y="77"/>
                  </a:lnTo>
                  <a:lnTo>
                    <a:pt x="57" y="67"/>
                  </a:lnTo>
                  <a:lnTo>
                    <a:pt x="48" y="67"/>
                  </a:lnTo>
                  <a:lnTo>
                    <a:pt x="38" y="67"/>
                  </a:lnTo>
                  <a:lnTo>
                    <a:pt x="29" y="67"/>
                  </a:lnTo>
                  <a:lnTo>
                    <a:pt x="19" y="67"/>
                  </a:lnTo>
                  <a:lnTo>
                    <a:pt x="10" y="77"/>
                  </a:lnTo>
                  <a:lnTo>
                    <a:pt x="10" y="67"/>
                  </a:lnTo>
                  <a:lnTo>
                    <a:pt x="10" y="48"/>
                  </a:lnTo>
                  <a:lnTo>
                    <a:pt x="0" y="48"/>
                  </a:lnTo>
                  <a:lnTo>
                    <a:pt x="0" y="29"/>
                  </a:lnTo>
                  <a:lnTo>
                    <a:pt x="10" y="2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60" name="Freeform 138">
              <a:extLst>
                <a:ext uri="{FF2B5EF4-FFF2-40B4-BE49-F238E27FC236}">
                  <a16:creationId xmlns:a16="http://schemas.microsoft.com/office/drawing/2014/main" id="{B956E413-0D98-44CC-A324-CC8504D0D401}"/>
                </a:ext>
              </a:extLst>
            </p:cNvPr>
            <p:cNvSpPr>
              <a:spLocks/>
            </p:cNvSpPr>
            <p:nvPr/>
          </p:nvSpPr>
          <p:spPr bwMode="gray">
            <a:xfrm>
              <a:off x="3866" y="2433"/>
              <a:ext cx="124" cy="67"/>
            </a:xfrm>
            <a:custGeom>
              <a:avLst/>
              <a:gdLst>
                <a:gd name="T0" fmla="*/ 124 w 124"/>
                <a:gd name="T1" fmla="*/ 38 h 67"/>
                <a:gd name="T2" fmla="*/ 86 w 124"/>
                <a:gd name="T3" fmla="*/ 29 h 67"/>
                <a:gd name="T4" fmla="*/ 67 w 124"/>
                <a:gd name="T5" fmla="*/ 19 h 67"/>
                <a:gd name="T6" fmla="*/ 48 w 124"/>
                <a:gd name="T7" fmla="*/ 9 h 67"/>
                <a:gd name="T8" fmla="*/ 29 w 124"/>
                <a:gd name="T9" fmla="*/ 0 h 67"/>
                <a:gd name="T10" fmla="*/ 10 w 124"/>
                <a:gd name="T11" fmla="*/ 0 h 67"/>
                <a:gd name="T12" fmla="*/ 10 w 124"/>
                <a:gd name="T13" fmla="*/ 9 h 67"/>
                <a:gd name="T14" fmla="*/ 0 w 124"/>
                <a:gd name="T15" fmla="*/ 19 h 67"/>
                <a:gd name="T16" fmla="*/ 10 w 124"/>
                <a:gd name="T17" fmla="*/ 29 h 67"/>
                <a:gd name="T18" fmla="*/ 19 w 124"/>
                <a:gd name="T19" fmla="*/ 38 h 67"/>
                <a:gd name="T20" fmla="*/ 29 w 124"/>
                <a:gd name="T21" fmla="*/ 38 h 67"/>
                <a:gd name="T22" fmla="*/ 48 w 124"/>
                <a:gd name="T23" fmla="*/ 48 h 67"/>
                <a:gd name="T24" fmla="*/ 67 w 124"/>
                <a:gd name="T25" fmla="*/ 48 h 67"/>
                <a:gd name="T26" fmla="*/ 86 w 124"/>
                <a:gd name="T27" fmla="*/ 57 h 67"/>
                <a:gd name="T28" fmla="*/ 105 w 124"/>
                <a:gd name="T29" fmla="*/ 67 h 67"/>
                <a:gd name="T30" fmla="*/ 114 w 124"/>
                <a:gd name="T31" fmla="*/ 57 h 67"/>
                <a:gd name="T32" fmla="*/ 124 w 124"/>
                <a:gd name="T33" fmla="*/ 48 h 67"/>
                <a:gd name="T34" fmla="*/ 124 w 124"/>
                <a:gd name="T35" fmla="*/ 38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4"/>
                <a:gd name="T55" fmla="*/ 0 h 67"/>
                <a:gd name="T56" fmla="*/ 124 w 124"/>
                <a:gd name="T57" fmla="*/ 67 h 6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4" h="67">
                  <a:moveTo>
                    <a:pt x="124" y="38"/>
                  </a:moveTo>
                  <a:lnTo>
                    <a:pt x="86" y="29"/>
                  </a:lnTo>
                  <a:lnTo>
                    <a:pt x="67" y="19"/>
                  </a:lnTo>
                  <a:lnTo>
                    <a:pt x="48" y="9"/>
                  </a:lnTo>
                  <a:lnTo>
                    <a:pt x="29" y="0"/>
                  </a:lnTo>
                  <a:lnTo>
                    <a:pt x="10" y="0"/>
                  </a:lnTo>
                  <a:lnTo>
                    <a:pt x="10" y="9"/>
                  </a:lnTo>
                  <a:lnTo>
                    <a:pt x="0" y="19"/>
                  </a:lnTo>
                  <a:lnTo>
                    <a:pt x="10" y="29"/>
                  </a:lnTo>
                  <a:lnTo>
                    <a:pt x="19" y="38"/>
                  </a:lnTo>
                  <a:lnTo>
                    <a:pt x="29" y="38"/>
                  </a:lnTo>
                  <a:lnTo>
                    <a:pt x="48" y="48"/>
                  </a:lnTo>
                  <a:lnTo>
                    <a:pt x="67" y="48"/>
                  </a:lnTo>
                  <a:lnTo>
                    <a:pt x="86" y="57"/>
                  </a:lnTo>
                  <a:lnTo>
                    <a:pt x="105" y="67"/>
                  </a:lnTo>
                  <a:lnTo>
                    <a:pt x="114" y="57"/>
                  </a:lnTo>
                  <a:lnTo>
                    <a:pt x="124" y="48"/>
                  </a:lnTo>
                  <a:lnTo>
                    <a:pt x="124"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61" name="Freeform 139">
              <a:extLst>
                <a:ext uri="{FF2B5EF4-FFF2-40B4-BE49-F238E27FC236}">
                  <a16:creationId xmlns:a16="http://schemas.microsoft.com/office/drawing/2014/main" id="{73A6370F-0925-48A4-9629-D29C70438A67}"/>
                </a:ext>
              </a:extLst>
            </p:cNvPr>
            <p:cNvSpPr>
              <a:spLocks/>
            </p:cNvSpPr>
            <p:nvPr/>
          </p:nvSpPr>
          <p:spPr bwMode="gray">
            <a:xfrm>
              <a:off x="3866" y="2433"/>
              <a:ext cx="124" cy="67"/>
            </a:xfrm>
            <a:custGeom>
              <a:avLst/>
              <a:gdLst>
                <a:gd name="T0" fmla="*/ 124 w 124"/>
                <a:gd name="T1" fmla="*/ 38 h 67"/>
                <a:gd name="T2" fmla="*/ 86 w 124"/>
                <a:gd name="T3" fmla="*/ 29 h 67"/>
                <a:gd name="T4" fmla="*/ 67 w 124"/>
                <a:gd name="T5" fmla="*/ 19 h 67"/>
                <a:gd name="T6" fmla="*/ 48 w 124"/>
                <a:gd name="T7" fmla="*/ 9 h 67"/>
                <a:gd name="T8" fmla="*/ 29 w 124"/>
                <a:gd name="T9" fmla="*/ 0 h 67"/>
                <a:gd name="T10" fmla="*/ 10 w 124"/>
                <a:gd name="T11" fmla="*/ 0 h 67"/>
                <a:gd name="T12" fmla="*/ 10 w 124"/>
                <a:gd name="T13" fmla="*/ 9 h 67"/>
                <a:gd name="T14" fmla="*/ 0 w 124"/>
                <a:gd name="T15" fmla="*/ 19 h 67"/>
                <a:gd name="T16" fmla="*/ 10 w 124"/>
                <a:gd name="T17" fmla="*/ 29 h 67"/>
                <a:gd name="T18" fmla="*/ 19 w 124"/>
                <a:gd name="T19" fmla="*/ 38 h 67"/>
                <a:gd name="T20" fmla="*/ 29 w 124"/>
                <a:gd name="T21" fmla="*/ 38 h 67"/>
                <a:gd name="T22" fmla="*/ 48 w 124"/>
                <a:gd name="T23" fmla="*/ 48 h 67"/>
                <a:gd name="T24" fmla="*/ 67 w 124"/>
                <a:gd name="T25" fmla="*/ 48 h 67"/>
                <a:gd name="T26" fmla="*/ 86 w 124"/>
                <a:gd name="T27" fmla="*/ 57 h 67"/>
                <a:gd name="T28" fmla="*/ 105 w 124"/>
                <a:gd name="T29" fmla="*/ 67 h 67"/>
                <a:gd name="T30" fmla="*/ 114 w 124"/>
                <a:gd name="T31" fmla="*/ 57 h 67"/>
                <a:gd name="T32" fmla="*/ 124 w 124"/>
                <a:gd name="T33" fmla="*/ 48 h 67"/>
                <a:gd name="T34" fmla="*/ 124 w 124"/>
                <a:gd name="T35" fmla="*/ 38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4"/>
                <a:gd name="T55" fmla="*/ 0 h 67"/>
                <a:gd name="T56" fmla="*/ 124 w 124"/>
                <a:gd name="T57" fmla="*/ 67 h 6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4" h="67">
                  <a:moveTo>
                    <a:pt x="124" y="38"/>
                  </a:moveTo>
                  <a:lnTo>
                    <a:pt x="86" y="29"/>
                  </a:lnTo>
                  <a:lnTo>
                    <a:pt x="67" y="19"/>
                  </a:lnTo>
                  <a:lnTo>
                    <a:pt x="48" y="9"/>
                  </a:lnTo>
                  <a:lnTo>
                    <a:pt x="29" y="0"/>
                  </a:lnTo>
                  <a:lnTo>
                    <a:pt x="10" y="0"/>
                  </a:lnTo>
                  <a:lnTo>
                    <a:pt x="10" y="9"/>
                  </a:lnTo>
                  <a:lnTo>
                    <a:pt x="0" y="19"/>
                  </a:lnTo>
                  <a:lnTo>
                    <a:pt x="10" y="29"/>
                  </a:lnTo>
                  <a:lnTo>
                    <a:pt x="19" y="38"/>
                  </a:lnTo>
                  <a:lnTo>
                    <a:pt x="29" y="38"/>
                  </a:lnTo>
                  <a:lnTo>
                    <a:pt x="48" y="48"/>
                  </a:lnTo>
                  <a:lnTo>
                    <a:pt x="67" y="48"/>
                  </a:lnTo>
                  <a:lnTo>
                    <a:pt x="86" y="57"/>
                  </a:lnTo>
                  <a:lnTo>
                    <a:pt x="105" y="67"/>
                  </a:lnTo>
                  <a:lnTo>
                    <a:pt x="114" y="57"/>
                  </a:lnTo>
                  <a:lnTo>
                    <a:pt x="124" y="48"/>
                  </a:lnTo>
                  <a:lnTo>
                    <a:pt x="124"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62" name="Freeform 140">
              <a:extLst>
                <a:ext uri="{FF2B5EF4-FFF2-40B4-BE49-F238E27FC236}">
                  <a16:creationId xmlns:a16="http://schemas.microsoft.com/office/drawing/2014/main" id="{E5323F51-2CDD-44FE-9314-CD3ABDE28360}"/>
                </a:ext>
              </a:extLst>
            </p:cNvPr>
            <p:cNvSpPr>
              <a:spLocks/>
            </p:cNvSpPr>
            <p:nvPr/>
          </p:nvSpPr>
          <p:spPr bwMode="gray">
            <a:xfrm>
              <a:off x="3999" y="2462"/>
              <a:ext cx="48" cy="28"/>
            </a:xfrm>
            <a:custGeom>
              <a:avLst/>
              <a:gdLst>
                <a:gd name="T0" fmla="*/ 48 w 48"/>
                <a:gd name="T1" fmla="*/ 9 h 28"/>
                <a:gd name="T2" fmla="*/ 39 w 48"/>
                <a:gd name="T3" fmla="*/ 9 h 28"/>
                <a:gd name="T4" fmla="*/ 29 w 48"/>
                <a:gd name="T5" fmla="*/ 9 h 28"/>
                <a:gd name="T6" fmla="*/ 19 w 48"/>
                <a:gd name="T7" fmla="*/ 0 h 28"/>
                <a:gd name="T8" fmla="*/ 10 w 48"/>
                <a:gd name="T9" fmla="*/ 0 h 28"/>
                <a:gd name="T10" fmla="*/ 0 w 48"/>
                <a:gd name="T11" fmla="*/ 9 h 28"/>
                <a:gd name="T12" fmla="*/ 10 w 48"/>
                <a:gd name="T13" fmla="*/ 19 h 28"/>
                <a:gd name="T14" fmla="*/ 10 w 48"/>
                <a:gd name="T15" fmla="*/ 28 h 28"/>
                <a:gd name="T16" fmla="*/ 48 w 48"/>
                <a:gd name="T17" fmla="*/ 28 h 28"/>
                <a:gd name="T18" fmla="*/ 48 w 48"/>
                <a:gd name="T19" fmla="*/ 9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28"/>
                <a:gd name="T32" fmla="*/ 48 w 48"/>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28">
                  <a:moveTo>
                    <a:pt x="48" y="9"/>
                  </a:moveTo>
                  <a:lnTo>
                    <a:pt x="39" y="9"/>
                  </a:lnTo>
                  <a:lnTo>
                    <a:pt x="29" y="9"/>
                  </a:lnTo>
                  <a:lnTo>
                    <a:pt x="19" y="0"/>
                  </a:lnTo>
                  <a:lnTo>
                    <a:pt x="10" y="0"/>
                  </a:lnTo>
                  <a:lnTo>
                    <a:pt x="0" y="9"/>
                  </a:lnTo>
                  <a:lnTo>
                    <a:pt x="10" y="19"/>
                  </a:lnTo>
                  <a:lnTo>
                    <a:pt x="10" y="28"/>
                  </a:lnTo>
                  <a:lnTo>
                    <a:pt x="48" y="28"/>
                  </a:lnTo>
                  <a:lnTo>
                    <a:pt x="48"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63" name="Freeform 141">
              <a:extLst>
                <a:ext uri="{FF2B5EF4-FFF2-40B4-BE49-F238E27FC236}">
                  <a16:creationId xmlns:a16="http://schemas.microsoft.com/office/drawing/2014/main" id="{D8E35EA2-BC37-4928-B6C5-765DABACB451}"/>
                </a:ext>
              </a:extLst>
            </p:cNvPr>
            <p:cNvSpPr>
              <a:spLocks/>
            </p:cNvSpPr>
            <p:nvPr/>
          </p:nvSpPr>
          <p:spPr bwMode="gray">
            <a:xfrm>
              <a:off x="2560" y="2242"/>
              <a:ext cx="38" cy="95"/>
            </a:xfrm>
            <a:custGeom>
              <a:avLst/>
              <a:gdLst>
                <a:gd name="T0" fmla="*/ 10 w 38"/>
                <a:gd name="T1" fmla="*/ 0 h 95"/>
                <a:gd name="T2" fmla="*/ 0 w 38"/>
                <a:gd name="T3" fmla="*/ 10 h 95"/>
                <a:gd name="T4" fmla="*/ 10 w 38"/>
                <a:gd name="T5" fmla="*/ 19 h 95"/>
                <a:gd name="T6" fmla="*/ 10 w 38"/>
                <a:gd name="T7" fmla="*/ 29 h 95"/>
                <a:gd name="T8" fmla="*/ 10 w 38"/>
                <a:gd name="T9" fmla="*/ 38 h 95"/>
                <a:gd name="T10" fmla="*/ 0 w 38"/>
                <a:gd name="T11" fmla="*/ 38 h 95"/>
                <a:gd name="T12" fmla="*/ 0 w 38"/>
                <a:gd name="T13" fmla="*/ 48 h 95"/>
                <a:gd name="T14" fmla="*/ 0 w 38"/>
                <a:gd name="T15" fmla="*/ 48 h 95"/>
                <a:gd name="T16" fmla="*/ 0 w 38"/>
                <a:gd name="T17" fmla="*/ 67 h 95"/>
                <a:gd name="T18" fmla="*/ 0 w 38"/>
                <a:gd name="T19" fmla="*/ 67 h 95"/>
                <a:gd name="T20" fmla="*/ 0 w 38"/>
                <a:gd name="T21" fmla="*/ 67 h 95"/>
                <a:gd name="T22" fmla="*/ 0 w 38"/>
                <a:gd name="T23" fmla="*/ 86 h 95"/>
                <a:gd name="T24" fmla="*/ 0 w 38"/>
                <a:gd name="T25" fmla="*/ 95 h 95"/>
                <a:gd name="T26" fmla="*/ 10 w 38"/>
                <a:gd name="T27" fmla="*/ 95 h 95"/>
                <a:gd name="T28" fmla="*/ 19 w 38"/>
                <a:gd name="T29" fmla="*/ 95 h 95"/>
                <a:gd name="T30" fmla="*/ 29 w 38"/>
                <a:gd name="T31" fmla="*/ 86 h 95"/>
                <a:gd name="T32" fmla="*/ 29 w 38"/>
                <a:gd name="T33" fmla="*/ 76 h 95"/>
                <a:gd name="T34" fmla="*/ 29 w 38"/>
                <a:gd name="T35" fmla="*/ 76 h 95"/>
                <a:gd name="T36" fmla="*/ 29 w 38"/>
                <a:gd name="T37" fmla="*/ 57 h 95"/>
                <a:gd name="T38" fmla="*/ 29 w 38"/>
                <a:gd name="T39" fmla="*/ 48 h 95"/>
                <a:gd name="T40" fmla="*/ 29 w 38"/>
                <a:gd name="T41" fmla="*/ 38 h 95"/>
                <a:gd name="T42" fmla="*/ 38 w 38"/>
                <a:gd name="T43" fmla="*/ 29 h 95"/>
                <a:gd name="T44" fmla="*/ 38 w 38"/>
                <a:gd name="T45" fmla="*/ 19 h 95"/>
                <a:gd name="T46" fmla="*/ 38 w 38"/>
                <a:gd name="T47" fmla="*/ 10 h 95"/>
                <a:gd name="T48" fmla="*/ 38 w 38"/>
                <a:gd name="T49" fmla="*/ 0 h 95"/>
                <a:gd name="T50" fmla="*/ 29 w 38"/>
                <a:gd name="T51" fmla="*/ 0 h 95"/>
                <a:gd name="T52" fmla="*/ 10 w 38"/>
                <a:gd name="T53" fmla="*/ 10 h 95"/>
                <a:gd name="T54" fmla="*/ 10 w 38"/>
                <a:gd name="T55" fmla="*/ 0 h 9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8"/>
                <a:gd name="T85" fmla="*/ 0 h 95"/>
                <a:gd name="T86" fmla="*/ 38 w 38"/>
                <a:gd name="T87" fmla="*/ 95 h 9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8" h="95">
                  <a:moveTo>
                    <a:pt x="10" y="0"/>
                  </a:moveTo>
                  <a:lnTo>
                    <a:pt x="0" y="10"/>
                  </a:lnTo>
                  <a:lnTo>
                    <a:pt x="10" y="19"/>
                  </a:lnTo>
                  <a:lnTo>
                    <a:pt x="10" y="29"/>
                  </a:lnTo>
                  <a:lnTo>
                    <a:pt x="10" y="38"/>
                  </a:lnTo>
                  <a:lnTo>
                    <a:pt x="0" y="38"/>
                  </a:lnTo>
                  <a:lnTo>
                    <a:pt x="0" y="48"/>
                  </a:lnTo>
                  <a:lnTo>
                    <a:pt x="0" y="67"/>
                  </a:lnTo>
                  <a:lnTo>
                    <a:pt x="0" y="86"/>
                  </a:lnTo>
                  <a:lnTo>
                    <a:pt x="0" y="95"/>
                  </a:lnTo>
                  <a:lnTo>
                    <a:pt x="10" y="95"/>
                  </a:lnTo>
                  <a:lnTo>
                    <a:pt x="19" y="95"/>
                  </a:lnTo>
                  <a:lnTo>
                    <a:pt x="29" y="86"/>
                  </a:lnTo>
                  <a:lnTo>
                    <a:pt x="29" y="76"/>
                  </a:lnTo>
                  <a:lnTo>
                    <a:pt x="29" y="57"/>
                  </a:lnTo>
                  <a:lnTo>
                    <a:pt x="29" y="48"/>
                  </a:lnTo>
                  <a:lnTo>
                    <a:pt x="29" y="38"/>
                  </a:lnTo>
                  <a:lnTo>
                    <a:pt x="38" y="29"/>
                  </a:lnTo>
                  <a:lnTo>
                    <a:pt x="38" y="19"/>
                  </a:lnTo>
                  <a:lnTo>
                    <a:pt x="38" y="10"/>
                  </a:lnTo>
                  <a:lnTo>
                    <a:pt x="38" y="0"/>
                  </a:lnTo>
                  <a:lnTo>
                    <a:pt x="29" y="0"/>
                  </a:lnTo>
                  <a:lnTo>
                    <a:pt x="10" y="1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64" name="Freeform 142">
              <a:extLst>
                <a:ext uri="{FF2B5EF4-FFF2-40B4-BE49-F238E27FC236}">
                  <a16:creationId xmlns:a16="http://schemas.microsoft.com/office/drawing/2014/main" id="{AAE971F5-2264-4234-9C91-A18F8F99F236}"/>
                </a:ext>
              </a:extLst>
            </p:cNvPr>
            <p:cNvSpPr>
              <a:spLocks/>
            </p:cNvSpPr>
            <p:nvPr/>
          </p:nvSpPr>
          <p:spPr bwMode="gray">
            <a:xfrm>
              <a:off x="2560" y="2242"/>
              <a:ext cx="38" cy="95"/>
            </a:xfrm>
            <a:custGeom>
              <a:avLst/>
              <a:gdLst>
                <a:gd name="T0" fmla="*/ 10 w 38"/>
                <a:gd name="T1" fmla="*/ 0 h 95"/>
                <a:gd name="T2" fmla="*/ 0 w 38"/>
                <a:gd name="T3" fmla="*/ 10 h 95"/>
                <a:gd name="T4" fmla="*/ 10 w 38"/>
                <a:gd name="T5" fmla="*/ 19 h 95"/>
                <a:gd name="T6" fmla="*/ 10 w 38"/>
                <a:gd name="T7" fmla="*/ 29 h 95"/>
                <a:gd name="T8" fmla="*/ 10 w 38"/>
                <a:gd name="T9" fmla="*/ 38 h 95"/>
                <a:gd name="T10" fmla="*/ 0 w 38"/>
                <a:gd name="T11" fmla="*/ 38 h 95"/>
                <a:gd name="T12" fmla="*/ 0 w 38"/>
                <a:gd name="T13" fmla="*/ 48 h 95"/>
                <a:gd name="T14" fmla="*/ 0 w 38"/>
                <a:gd name="T15" fmla="*/ 48 h 95"/>
                <a:gd name="T16" fmla="*/ 0 w 38"/>
                <a:gd name="T17" fmla="*/ 67 h 95"/>
                <a:gd name="T18" fmla="*/ 0 w 38"/>
                <a:gd name="T19" fmla="*/ 67 h 95"/>
                <a:gd name="T20" fmla="*/ 0 w 38"/>
                <a:gd name="T21" fmla="*/ 67 h 95"/>
                <a:gd name="T22" fmla="*/ 0 w 38"/>
                <a:gd name="T23" fmla="*/ 86 h 95"/>
                <a:gd name="T24" fmla="*/ 0 w 38"/>
                <a:gd name="T25" fmla="*/ 95 h 95"/>
                <a:gd name="T26" fmla="*/ 10 w 38"/>
                <a:gd name="T27" fmla="*/ 95 h 95"/>
                <a:gd name="T28" fmla="*/ 19 w 38"/>
                <a:gd name="T29" fmla="*/ 95 h 95"/>
                <a:gd name="T30" fmla="*/ 29 w 38"/>
                <a:gd name="T31" fmla="*/ 86 h 95"/>
                <a:gd name="T32" fmla="*/ 29 w 38"/>
                <a:gd name="T33" fmla="*/ 76 h 95"/>
                <a:gd name="T34" fmla="*/ 29 w 38"/>
                <a:gd name="T35" fmla="*/ 76 h 95"/>
                <a:gd name="T36" fmla="*/ 29 w 38"/>
                <a:gd name="T37" fmla="*/ 57 h 95"/>
                <a:gd name="T38" fmla="*/ 29 w 38"/>
                <a:gd name="T39" fmla="*/ 48 h 95"/>
                <a:gd name="T40" fmla="*/ 29 w 38"/>
                <a:gd name="T41" fmla="*/ 38 h 95"/>
                <a:gd name="T42" fmla="*/ 38 w 38"/>
                <a:gd name="T43" fmla="*/ 29 h 95"/>
                <a:gd name="T44" fmla="*/ 38 w 38"/>
                <a:gd name="T45" fmla="*/ 19 h 95"/>
                <a:gd name="T46" fmla="*/ 38 w 38"/>
                <a:gd name="T47" fmla="*/ 10 h 95"/>
                <a:gd name="T48" fmla="*/ 38 w 38"/>
                <a:gd name="T49" fmla="*/ 0 h 95"/>
                <a:gd name="T50" fmla="*/ 29 w 38"/>
                <a:gd name="T51" fmla="*/ 0 h 95"/>
                <a:gd name="T52" fmla="*/ 10 w 38"/>
                <a:gd name="T53" fmla="*/ 10 h 95"/>
                <a:gd name="T54" fmla="*/ 10 w 38"/>
                <a:gd name="T55" fmla="*/ 0 h 9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8"/>
                <a:gd name="T85" fmla="*/ 0 h 95"/>
                <a:gd name="T86" fmla="*/ 38 w 38"/>
                <a:gd name="T87" fmla="*/ 95 h 9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8" h="95">
                  <a:moveTo>
                    <a:pt x="10" y="0"/>
                  </a:moveTo>
                  <a:lnTo>
                    <a:pt x="0" y="10"/>
                  </a:lnTo>
                  <a:lnTo>
                    <a:pt x="10" y="19"/>
                  </a:lnTo>
                  <a:lnTo>
                    <a:pt x="10" y="29"/>
                  </a:lnTo>
                  <a:lnTo>
                    <a:pt x="10" y="38"/>
                  </a:lnTo>
                  <a:lnTo>
                    <a:pt x="0" y="38"/>
                  </a:lnTo>
                  <a:lnTo>
                    <a:pt x="0" y="48"/>
                  </a:lnTo>
                  <a:lnTo>
                    <a:pt x="0" y="67"/>
                  </a:lnTo>
                  <a:lnTo>
                    <a:pt x="0" y="86"/>
                  </a:lnTo>
                  <a:lnTo>
                    <a:pt x="0" y="95"/>
                  </a:lnTo>
                  <a:lnTo>
                    <a:pt x="10" y="95"/>
                  </a:lnTo>
                  <a:lnTo>
                    <a:pt x="19" y="95"/>
                  </a:lnTo>
                  <a:lnTo>
                    <a:pt x="29" y="86"/>
                  </a:lnTo>
                  <a:lnTo>
                    <a:pt x="29" y="76"/>
                  </a:lnTo>
                  <a:lnTo>
                    <a:pt x="29" y="57"/>
                  </a:lnTo>
                  <a:lnTo>
                    <a:pt x="29" y="48"/>
                  </a:lnTo>
                  <a:lnTo>
                    <a:pt x="29" y="38"/>
                  </a:lnTo>
                  <a:lnTo>
                    <a:pt x="38" y="29"/>
                  </a:lnTo>
                  <a:lnTo>
                    <a:pt x="38" y="19"/>
                  </a:lnTo>
                  <a:lnTo>
                    <a:pt x="38" y="10"/>
                  </a:lnTo>
                  <a:lnTo>
                    <a:pt x="38" y="0"/>
                  </a:lnTo>
                  <a:lnTo>
                    <a:pt x="29" y="0"/>
                  </a:lnTo>
                  <a:lnTo>
                    <a:pt x="10" y="10"/>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65" name="Rectangle 143">
              <a:extLst>
                <a:ext uri="{FF2B5EF4-FFF2-40B4-BE49-F238E27FC236}">
                  <a16:creationId xmlns:a16="http://schemas.microsoft.com/office/drawing/2014/main" id="{D5D35A23-2D7D-4ADD-9047-DC9982A9DAA9}"/>
                </a:ext>
              </a:extLst>
            </p:cNvPr>
            <p:cNvSpPr>
              <a:spLocks noChangeArrowheads="1"/>
            </p:cNvSpPr>
            <p:nvPr/>
          </p:nvSpPr>
          <p:spPr bwMode="gray">
            <a:xfrm>
              <a:off x="3189" y="2423"/>
              <a:ext cx="10" cy="0"/>
            </a:xfrm>
            <a:prstGeom prst="rect">
              <a:avLst/>
            </a:pr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66" name="Rectangle 144">
              <a:extLst>
                <a:ext uri="{FF2B5EF4-FFF2-40B4-BE49-F238E27FC236}">
                  <a16:creationId xmlns:a16="http://schemas.microsoft.com/office/drawing/2014/main" id="{4D8186DE-4224-4DE2-8C0F-470E008F5CA9}"/>
                </a:ext>
              </a:extLst>
            </p:cNvPr>
            <p:cNvSpPr>
              <a:spLocks noChangeArrowheads="1"/>
            </p:cNvSpPr>
            <p:nvPr/>
          </p:nvSpPr>
          <p:spPr bwMode="gray">
            <a:xfrm>
              <a:off x="3189" y="2423"/>
              <a:ext cx="10" cy="0"/>
            </a:xfrm>
            <a:prstGeom prst="rect">
              <a:avLst/>
            </a:pr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67" name="Freeform 145">
              <a:extLst>
                <a:ext uri="{FF2B5EF4-FFF2-40B4-BE49-F238E27FC236}">
                  <a16:creationId xmlns:a16="http://schemas.microsoft.com/office/drawing/2014/main" id="{0111AB21-D419-4F92-9F10-C546EEA56004}"/>
                </a:ext>
              </a:extLst>
            </p:cNvPr>
            <p:cNvSpPr>
              <a:spLocks/>
            </p:cNvSpPr>
            <p:nvPr/>
          </p:nvSpPr>
          <p:spPr bwMode="gray">
            <a:xfrm>
              <a:off x="3189" y="2423"/>
              <a:ext cx="1" cy="1"/>
            </a:xfrm>
            <a:custGeom>
              <a:avLst/>
              <a:gdLst>
                <a:gd name="T0" fmla="*/ 0 w 1"/>
                <a:gd name="T1" fmla="*/ 0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68" name="Freeform 146">
              <a:extLst>
                <a:ext uri="{FF2B5EF4-FFF2-40B4-BE49-F238E27FC236}">
                  <a16:creationId xmlns:a16="http://schemas.microsoft.com/office/drawing/2014/main" id="{08963AA5-3324-483F-A351-F4B0F591A932}"/>
                </a:ext>
              </a:extLst>
            </p:cNvPr>
            <p:cNvSpPr>
              <a:spLocks/>
            </p:cNvSpPr>
            <p:nvPr/>
          </p:nvSpPr>
          <p:spPr bwMode="gray">
            <a:xfrm>
              <a:off x="2617" y="2662"/>
              <a:ext cx="115" cy="76"/>
            </a:xfrm>
            <a:custGeom>
              <a:avLst/>
              <a:gdLst>
                <a:gd name="T0" fmla="*/ 77 w 115"/>
                <a:gd name="T1" fmla="*/ 0 h 76"/>
                <a:gd name="T2" fmla="*/ 77 w 115"/>
                <a:gd name="T3" fmla="*/ 10 h 76"/>
                <a:gd name="T4" fmla="*/ 86 w 115"/>
                <a:gd name="T5" fmla="*/ 19 h 76"/>
                <a:gd name="T6" fmla="*/ 96 w 115"/>
                <a:gd name="T7" fmla="*/ 19 h 76"/>
                <a:gd name="T8" fmla="*/ 96 w 115"/>
                <a:gd name="T9" fmla="*/ 29 h 76"/>
                <a:gd name="T10" fmla="*/ 105 w 115"/>
                <a:gd name="T11" fmla="*/ 38 h 76"/>
                <a:gd name="T12" fmla="*/ 115 w 115"/>
                <a:gd name="T13" fmla="*/ 48 h 76"/>
                <a:gd name="T14" fmla="*/ 115 w 115"/>
                <a:gd name="T15" fmla="*/ 48 h 76"/>
                <a:gd name="T16" fmla="*/ 86 w 115"/>
                <a:gd name="T17" fmla="*/ 57 h 76"/>
                <a:gd name="T18" fmla="*/ 77 w 115"/>
                <a:gd name="T19" fmla="*/ 57 h 76"/>
                <a:gd name="T20" fmla="*/ 67 w 115"/>
                <a:gd name="T21" fmla="*/ 57 h 76"/>
                <a:gd name="T22" fmla="*/ 57 w 115"/>
                <a:gd name="T23" fmla="*/ 57 h 76"/>
                <a:gd name="T24" fmla="*/ 48 w 115"/>
                <a:gd name="T25" fmla="*/ 48 h 76"/>
                <a:gd name="T26" fmla="*/ 38 w 115"/>
                <a:gd name="T27" fmla="*/ 48 h 76"/>
                <a:gd name="T28" fmla="*/ 38 w 115"/>
                <a:gd name="T29" fmla="*/ 67 h 76"/>
                <a:gd name="T30" fmla="*/ 19 w 115"/>
                <a:gd name="T31" fmla="*/ 67 h 76"/>
                <a:gd name="T32" fmla="*/ 10 w 115"/>
                <a:gd name="T33" fmla="*/ 76 h 76"/>
                <a:gd name="T34" fmla="*/ 0 w 115"/>
                <a:gd name="T35" fmla="*/ 67 h 76"/>
                <a:gd name="T36" fmla="*/ 0 w 115"/>
                <a:gd name="T37" fmla="*/ 48 h 76"/>
                <a:gd name="T38" fmla="*/ 10 w 115"/>
                <a:gd name="T39" fmla="*/ 48 h 76"/>
                <a:gd name="T40" fmla="*/ 0 w 115"/>
                <a:gd name="T41" fmla="*/ 38 h 76"/>
                <a:gd name="T42" fmla="*/ 19 w 115"/>
                <a:gd name="T43" fmla="*/ 29 h 76"/>
                <a:gd name="T44" fmla="*/ 19 w 115"/>
                <a:gd name="T45" fmla="*/ 19 h 76"/>
                <a:gd name="T46" fmla="*/ 29 w 115"/>
                <a:gd name="T47" fmla="*/ 29 h 76"/>
                <a:gd name="T48" fmla="*/ 48 w 115"/>
                <a:gd name="T49" fmla="*/ 10 h 76"/>
                <a:gd name="T50" fmla="*/ 57 w 115"/>
                <a:gd name="T51" fmla="*/ 10 h 76"/>
                <a:gd name="T52" fmla="*/ 57 w 115"/>
                <a:gd name="T53" fmla="*/ 0 h 76"/>
                <a:gd name="T54" fmla="*/ 77 w 115"/>
                <a:gd name="T55" fmla="*/ 0 h 76"/>
                <a:gd name="T56" fmla="*/ 77 w 115"/>
                <a:gd name="T57" fmla="*/ 0 h 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5"/>
                <a:gd name="T88" fmla="*/ 0 h 76"/>
                <a:gd name="T89" fmla="*/ 115 w 115"/>
                <a:gd name="T90" fmla="*/ 76 h 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5" h="76">
                  <a:moveTo>
                    <a:pt x="77" y="0"/>
                  </a:moveTo>
                  <a:lnTo>
                    <a:pt x="77" y="10"/>
                  </a:lnTo>
                  <a:lnTo>
                    <a:pt x="86" y="19"/>
                  </a:lnTo>
                  <a:lnTo>
                    <a:pt x="96" y="19"/>
                  </a:lnTo>
                  <a:lnTo>
                    <a:pt x="96" y="29"/>
                  </a:lnTo>
                  <a:lnTo>
                    <a:pt x="105" y="38"/>
                  </a:lnTo>
                  <a:lnTo>
                    <a:pt x="115" y="48"/>
                  </a:lnTo>
                  <a:lnTo>
                    <a:pt x="86" y="57"/>
                  </a:lnTo>
                  <a:lnTo>
                    <a:pt x="77" y="57"/>
                  </a:lnTo>
                  <a:lnTo>
                    <a:pt x="67" y="57"/>
                  </a:lnTo>
                  <a:lnTo>
                    <a:pt x="57" y="57"/>
                  </a:lnTo>
                  <a:lnTo>
                    <a:pt x="48" y="48"/>
                  </a:lnTo>
                  <a:lnTo>
                    <a:pt x="38" y="48"/>
                  </a:lnTo>
                  <a:lnTo>
                    <a:pt x="38" y="67"/>
                  </a:lnTo>
                  <a:lnTo>
                    <a:pt x="19" y="67"/>
                  </a:lnTo>
                  <a:lnTo>
                    <a:pt x="10" y="76"/>
                  </a:lnTo>
                  <a:lnTo>
                    <a:pt x="0" y="67"/>
                  </a:lnTo>
                  <a:lnTo>
                    <a:pt x="0" y="48"/>
                  </a:lnTo>
                  <a:lnTo>
                    <a:pt x="10" y="48"/>
                  </a:lnTo>
                  <a:lnTo>
                    <a:pt x="0" y="38"/>
                  </a:lnTo>
                  <a:lnTo>
                    <a:pt x="19" y="29"/>
                  </a:lnTo>
                  <a:lnTo>
                    <a:pt x="19" y="19"/>
                  </a:lnTo>
                  <a:lnTo>
                    <a:pt x="29" y="29"/>
                  </a:lnTo>
                  <a:lnTo>
                    <a:pt x="48" y="10"/>
                  </a:lnTo>
                  <a:lnTo>
                    <a:pt x="57" y="10"/>
                  </a:lnTo>
                  <a:lnTo>
                    <a:pt x="57" y="0"/>
                  </a:lnTo>
                  <a:lnTo>
                    <a:pt x="77"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69" name="Rectangle 147">
              <a:extLst>
                <a:ext uri="{FF2B5EF4-FFF2-40B4-BE49-F238E27FC236}">
                  <a16:creationId xmlns:a16="http://schemas.microsoft.com/office/drawing/2014/main" id="{48B5B44A-CF28-4AD0-99DF-14E0B9AB09D6}"/>
                </a:ext>
              </a:extLst>
            </p:cNvPr>
            <p:cNvSpPr>
              <a:spLocks noChangeArrowheads="1"/>
            </p:cNvSpPr>
            <p:nvPr/>
          </p:nvSpPr>
          <p:spPr bwMode="gray">
            <a:xfrm>
              <a:off x="3189" y="2423"/>
              <a:ext cx="0" cy="0"/>
            </a:xfrm>
            <a:prstGeom prst="rect">
              <a:avLst/>
            </a:pr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70" name="Freeform 148">
              <a:extLst>
                <a:ext uri="{FF2B5EF4-FFF2-40B4-BE49-F238E27FC236}">
                  <a16:creationId xmlns:a16="http://schemas.microsoft.com/office/drawing/2014/main" id="{00865729-3A8C-4B67-82A1-22FF6196FE00}"/>
                </a:ext>
              </a:extLst>
            </p:cNvPr>
            <p:cNvSpPr>
              <a:spLocks/>
            </p:cNvSpPr>
            <p:nvPr/>
          </p:nvSpPr>
          <p:spPr bwMode="gray">
            <a:xfrm>
              <a:off x="2617" y="2662"/>
              <a:ext cx="115" cy="76"/>
            </a:xfrm>
            <a:custGeom>
              <a:avLst/>
              <a:gdLst>
                <a:gd name="T0" fmla="*/ 77 w 115"/>
                <a:gd name="T1" fmla="*/ 0 h 76"/>
                <a:gd name="T2" fmla="*/ 77 w 115"/>
                <a:gd name="T3" fmla="*/ 10 h 76"/>
                <a:gd name="T4" fmla="*/ 86 w 115"/>
                <a:gd name="T5" fmla="*/ 19 h 76"/>
                <a:gd name="T6" fmla="*/ 96 w 115"/>
                <a:gd name="T7" fmla="*/ 19 h 76"/>
                <a:gd name="T8" fmla="*/ 96 w 115"/>
                <a:gd name="T9" fmla="*/ 29 h 76"/>
                <a:gd name="T10" fmla="*/ 105 w 115"/>
                <a:gd name="T11" fmla="*/ 38 h 76"/>
                <a:gd name="T12" fmla="*/ 115 w 115"/>
                <a:gd name="T13" fmla="*/ 48 h 76"/>
                <a:gd name="T14" fmla="*/ 115 w 115"/>
                <a:gd name="T15" fmla="*/ 48 h 76"/>
                <a:gd name="T16" fmla="*/ 86 w 115"/>
                <a:gd name="T17" fmla="*/ 57 h 76"/>
                <a:gd name="T18" fmla="*/ 77 w 115"/>
                <a:gd name="T19" fmla="*/ 57 h 76"/>
                <a:gd name="T20" fmla="*/ 67 w 115"/>
                <a:gd name="T21" fmla="*/ 57 h 76"/>
                <a:gd name="T22" fmla="*/ 57 w 115"/>
                <a:gd name="T23" fmla="*/ 57 h 76"/>
                <a:gd name="T24" fmla="*/ 48 w 115"/>
                <a:gd name="T25" fmla="*/ 48 h 76"/>
                <a:gd name="T26" fmla="*/ 38 w 115"/>
                <a:gd name="T27" fmla="*/ 48 h 76"/>
                <a:gd name="T28" fmla="*/ 38 w 115"/>
                <a:gd name="T29" fmla="*/ 67 h 76"/>
                <a:gd name="T30" fmla="*/ 19 w 115"/>
                <a:gd name="T31" fmla="*/ 67 h 76"/>
                <a:gd name="T32" fmla="*/ 10 w 115"/>
                <a:gd name="T33" fmla="*/ 76 h 76"/>
                <a:gd name="T34" fmla="*/ 0 w 115"/>
                <a:gd name="T35" fmla="*/ 67 h 76"/>
                <a:gd name="T36" fmla="*/ 0 w 115"/>
                <a:gd name="T37" fmla="*/ 48 h 76"/>
                <a:gd name="T38" fmla="*/ 10 w 115"/>
                <a:gd name="T39" fmla="*/ 48 h 76"/>
                <a:gd name="T40" fmla="*/ 0 w 115"/>
                <a:gd name="T41" fmla="*/ 38 h 76"/>
                <a:gd name="T42" fmla="*/ 19 w 115"/>
                <a:gd name="T43" fmla="*/ 29 h 76"/>
                <a:gd name="T44" fmla="*/ 19 w 115"/>
                <a:gd name="T45" fmla="*/ 19 h 76"/>
                <a:gd name="T46" fmla="*/ 29 w 115"/>
                <a:gd name="T47" fmla="*/ 29 h 76"/>
                <a:gd name="T48" fmla="*/ 48 w 115"/>
                <a:gd name="T49" fmla="*/ 10 h 76"/>
                <a:gd name="T50" fmla="*/ 57 w 115"/>
                <a:gd name="T51" fmla="*/ 10 h 76"/>
                <a:gd name="T52" fmla="*/ 57 w 115"/>
                <a:gd name="T53" fmla="*/ 0 h 76"/>
                <a:gd name="T54" fmla="*/ 77 w 115"/>
                <a:gd name="T55" fmla="*/ 0 h 76"/>
                <a:gd name="T56" fmla="*/ 77 w 115"/>
                <a:gd name="T57" fmla="*/ 0 h 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5"/>
                <a:gd name="T88" fmla="*/ 0 h 76"/>
                <a:gd name="T89" fmla="*/ 115 w 115"/>
                <a:gd name="T90" fmla="*/ 76 h 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5" h="76">
                  <a:moveTo>
                    <a:pt x="77" y="0"/>
                  </a:moveTo>
                  <a:lnTo>
                    <a:pt x="77" y="10"/>
                  </a:lnTo>
                  <a:lnTo>
                    <a:pt x="86" y="19"/>
                  </a:lnTo>
                  <a:lnTo>
                    <a:pt x="96" y="19"/>
                  </a:lnTo>
                  <a:lnTo>
                    <a:pt x="96" y="29"/>
                  </a:lnTo>
                  <a:lnTo>
                    <a:pt x="105" y="38"/>
                  </a:lnTo>
                  <a:lnTo>
                    <a:pt x="115" y="48"/>
                  </a:lnTo>
                  <a:lnTo>
                    <a:pt x="86" y="57"/>
                  </a:lnTo>
                  <a:lnTo>
                    <a:pt x="77" y="57"/>
                  </a:lnTo>
                  <a:lnTo>
                    <a:pt x="67" y="57"/>
                  </a:lnTo>
                  <a:lnTo>
                    <a:pt x="57" y="57"/>
                  </a:lnTo>
                  <a:lnTo>
                    <a:pt x="48" y="48"/>
                  </a:lnTo>
                  <a:lnTo>
                    <a:pt x="38" y="48"/>
                  </a:lnTo>
                  <a:lnTo>
                    <a:pt x="38" y="67"/>
                  </a:lnTo>
                  <a:lnTo>
                    <a:pt x="19" y="67"/>
                  </a:lnTo>
                  <a:lnTo>
                    <a:pt x="10" y="76"/>
                  </a:lnTo>
                  <a:lnTo>
                    <a:pt x="0" y="67"/>
                  </a:lnTo>
                  <a:lnTo>
                    <a:pt x="0" y="48"/>
                  </a:lnTo>
                  <a:lnTo>
                    <a:pt x="10" y="48"/>
                  </a:lnTo>
                  <a:lnTo>
                    <a:pt x="0" y="38"/>
                  </a:lnTo>
                  <a:lnTo>
                    <a:pt x="19" y="29"/>
                  </a:lnTo>
                  <a:lnTo>
                    <a:pt x="19" y="19"/>
                  </a:lnTo>
                  <a:lnTo>
                    <a:pt x="29" y="29"/>
                  </a:lnTo>
                  <a:lnTo>
                    <a:pt x="48" y="10"/>
                  </a:lnTo>
                  <a:lnTo>
                    <a:pt x="57" y="10"/>
                  </a:lnTo>
                  <a:lnTo>
                    <a:pt x="57" y="0"/>
                  </a:lnTo>
                  <a:lnTo>
                    <a:pt x="77"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71" name="Freeform 149">
              <a:extLst>
                <a:ext uri="{FF2B5EF4-FFF2-40B4-BE49-F238E27FC236}">
                  <a16:creationId xmlns:a16="http://schemas.microsoft.com/office/drawing/2014/main" id="{EC3EBC20-A83D-4D5E-B200-610D59ED6475}"/>
                </a:ext>
              </a:extLst>
            </p:cNvPr>
            <p:cNvSpPr>
              <a:spLocks/>
            </p:cNvSpPr>
            <p:nvPr/>
          </p:nvSpPr>
          <p:spPr bwMode="gray">
            <a:xfrm>
              <a:off x="2617" y="2662"/>
              <a:ext cx="115" cy="76"/>
            </a:xfrm>
            <a:custGeom>
              <a:avLst/>
              <a:gdLst>
                <a:gd name="T0" fmla="*/ 77 w 115"/>
                <a:gd name="T1" fmla="*/ 0 h 76"/>
                <a:gd name="T2" fmla="*/ 77 w 115"/>
                <a:gd name="T3" fmla="*/ 10 h 76"/>
                <a:gd name="T4" fmla="*/ 86 w 115"/>
                <a:gd name="T5" fmla="*/ 19 h 76"/>
                <a:gd name="T6" fmla="*/ 96 w 115"/>
                <a:gd name="T7" fmla="*/ 19 h 76"/>
                <a:gd name="T8" fmla="*/ 96 w 115"/>
                <a:gd name="T9" fmla="*/ 29 h 76"/>
                <a:gd name="T10" fmla="*/ 105 w 115"/>
                <a:gd name="T11" fmla="*/ 38 h 76"/>
                <a:gd name="T12" fmla="*/ 115 w 115"/>
                <a:gd name="T13" fmla="*/ 48 h 76"/>
                <a:gd name="T14" fmla="*/ 115 w 115"/>
                <a:gd name="T15" fmla="*/ 48 h 76"/>
                <a:gd name="T16" fmla="*/ 86 w 115"/>
                <a:gd name="T17" fmla="*/ 57 h 76"/>
                <a:gd name="T18" fmla="*/ 77 w 115"/>
                <a:gd name="T19" fmla="*/ 57 h 76"/>
                <a:gd name="T20" fmla="*/ 67 w 115"/>
                <a:gd name="T21" fmla="*/ 57 h 76"/>
                <a:gd name="T22" fmla="*/ 57 w 115"/>
                <a:gd name="T23" fmla="*/ 57 h 76"/>
                <a:gd name="T24" fmla="*/ 48 w 115"/>
                <a:gd name="T25" fmla="*/ 48 h 76"/>
                <a:gd name="T26" fmla="*/ 38 w 115"/>
                <a:gd name="T27" fmla="*/ 48 h 76"/>
                <a:gd name="T28" fmla="*/ 38 w 115"/>
                <a:gd name="T29" fmla="*/ 67 h 76"/>
                <a:gd name="T30" fmla="*/ 19 w 115"/>
                <a:gd name="T31" fmla="*/ 67 h 76"/>
                <a:gd name="T32" fmla="*/ 10 w 115"/>
                <a:gd name="T33" fmla="*/ 76 h 76"/>
                <a:gd name="T34" fmla="*/ 0 w 115"/>
                <a:gd name="T35" fmla="*/ 67 h 76"/>
                <a:gd name="T36" fmla="*/ 0 w 115"/>
                <a:gd name="T37" fmla="*/ 48 h 76"/>
                <a:gd name="T38" fmla="*/ 10 w 115"/>
                <a:gd name="T39" fmla="*/ 48 h 76"/>
                <a:gd name="T40" fmla="*/ 0 w 115"/>
                <a:gd name="T41" fmla="*/ 38 h 76"/>
                <a:gd name="T42" fmla="*/ 19 w 115"/>
                <a:gd name="T43" fmla="*/ 29 h 76"/>
                <a:gd name="T44" fmla="*/ 19 w 115"/>
                <a:gd name="T45" fmla="*/ 19 h 76"/>
                <a:gd name="T46" fmla="*/ 29 w 115"/>
                <a:gd name="T47" fmla="*/ 29 h 76"/>
                <a:gd name="T48" fmla="*/ 48 w 115"/>
                <a:gd name="T49" fmla="*/ 10 h 76"/>
                <a:gd name="T50" fmla="*/ 57 w 115"/>
                <a:gd name="T51" fmla="*/ 10 h 76"/>
                <a:gd name="T52" fmla="*/ 57 w 115"/>
                <a:gd name="T53" fmla="*/ 0 h 76"/>
                <a:gd name="T54" fmla="*/ 77 w 115"/>
                <a:gd name="T55" fmla="*/ 0 h 76"/>
                <a:gd name="T56" fmla="*/ 77 w 115"/>
                <a:gd name="T57" fmla="*/ 0 h 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5"/>
                <a:gd name="T88" fmla="*/ 0 h 76"/>
                <a:gd name="T89" fmla="*/ 115 w 115"/>
                <a:gd name="T90" fmla="*/ 76 h 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5" h="76">
                  <a:moveTo>
                    <a:pt x="77" y="0"/>
                  </a:moveTo>
                  <a:lnTo>
                    <a:pt x="77" y="10"/>
                  </a:lnTo>
                  <a:lnTo>
                    <a:pt x="86" y="19"/>
                  </a:lnTo>
                  <a:lnTo>
                    <a:pt x="96" y="19"/>
                  </a:lnTo>
                  <a:lnTo>
                    <a:pt x="96" y="29"/>
                  </a:lnTo>
                  <a:lnTo>
                    <a:pt x="105" y="38"/>
                  </a:lnTo>
                  <a:lnTo>
                    <a:pt x="115" y="48"/>
                  </a:lnTo>
                  <a:lnTo>
                    <a:pt x="86" y="57"/>
                  </a:lnTo>
                  <a:lnTo>
                    <a:pt x="77" y="57"/>
                  </a:lnTo>
                  <a:lnTo>
                    <a:pt x="67" y="57"/>
                  </a:lnTo>
                  <a:lnTo>
                    <a:pt x="57" y="57"/>
                  </a:lnTo>
                  <a:lnTo>
                    <a:pt x="48" y="48"/>
                  </a:lnTo>
                  <a:lnTo>
                    <a:pt x="38" y="48"/>
                  </a:lnTo>
                  <a:lnTo>
                    <a:pt x="38" y="67"/>
                  </a:lnTo>
                  <a:lnTo>
                    <a:pt x="19" y="67"/>
                  </a:lnTo>
                  <a:lnTo>
                    <a:pt x="10" y="76"/>
                  </a:lnTo>
                  <a:lnTo>
                    <a:pt x="0" y="67"/>
                  </a:lnTo>
                  <a:lnTo>
                    <a:pt x="0" y="48"/>
                  </a:lnTo>
                  <a:lnTo>
                    <a:pt x="10" y="48"/>
                  </a:lnTo>
                  <a:lnTo>
                    <a:pt x="0" y="38"/>
                  </a:lnTo>
                  <a:lnTo>
                    <a:pt x="19" y="29"/>
                  </a:lnTo>
                  <a:lnTo>
                    <a:pt x="19" y="19"/>
                  </a:lnTo>
                  <a:lnTo>
                    <a:pt x="29" y="29"/>
                  </a:lnTo>
                  <a:lnTo>
                    <a:pt x="48" y="10"/>
                  </a:lnTo>
                  <a:lnTo>
                    <a:pt x="57" y="10"/>
                  </a:lnTo>
                  <a:lnTo>
                    <a:pt x="57" y="0"/>
                  </a:lnTo>
                  <a:lnTo>
                    <a:pt x="77"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72" name="Freeform 150">
              <a:extLst>
                <a:ext uri="{FF2B5EF4-FFF2-40B4-BE49-F238E27FC236}">
                  <a16:creationId xmlns:a16="http://schemas.microsoft.com/office/drawing/2014/main" id="{20543CDD-F10F-48D0-A4A7-FF0C09F28247}"/>
                </a:ext>
              </a:extLst>
            </p:cNvPr>
            <p:cNvSpPr>
              <a:spLocks/>
            </p:cNvSpPr>
            <p:nvPr/>
          </p:nvSpPr>
          <p:spPr bwMode="gray">
            <a:xfrm>
              <a:off x="2865" y="2929"/>
              <a:ext cx="19" cy="19"/>
            </a:xfrm>
            <a:custGeom>
              <a:avLst/>
              <a:gdLst>
                <a:gd name="T0" fmla="*/ 0 w 19"/>
                <a:gd name="T1" fmla="*/ 10 h 19"/>
                <a:gd name="T2" fmla="*/ 19 w 19"/>
                <a:gd name="T3" fmla="*/ 0 h 19"/>
                <a:gd name="T4" fmla="*/ 19 w 19"/>
                <a:gd name="T5" fmla="*/ 0 h 19"/>
                <a:gd name="T6" fmla="*/ 19 w 19"/>
                <a:gd name="T7" fmla="*/ 10 h 19"/>
                <a:gd name="T8" fmla="*/ 19 w 19"/>
                <a:gd name="T9" fmla="*/ 10 h 19"/>
                <a:gd name="T10" fmla="*/ 10 w 19"/>
                <a:gd name="T11" fmla="*/ 19 h 19"/>
                <a:gd name="T12" fmla="*/ 0 w 19"/>
                <a:gd name="T13" fmla="*/ 10 h 19"/>
                <a:gd name="T14" fmla="*/ 0 60000 65536"/>
                <a:gd name="T15" fmla="*/ 0 60000 65536"/>
                <a:gd name="T16" fmla="*/ 0 60000 65536"/>
                <a:gd name="T17" fmla="*/ 0 60000 65536"/>
                <a:gd name="T18" fmla="*/ 0 60000 65536"/>
                <a:gd name="T19" fmla="*/ 0 60000 65536"/>
                <a:gd name="T20" fmla="*/ 0 60000 65536"/>
                <a:gd name="T21" fmla="*/ 0 w 19"/>
                <a:gd name="T22" fmla="*/ 0 h 19"/>
                <a:gd name="T23" fmla="*/ 19 w 1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9">
                  <a:moveTo>
                    <a:pt x="0" y="10"/>
                  </a:moveTo>
                  <a:lnTo>
                    <a:pt x="19" y="0"/>
                  </a:lnTo>
                  <a:lnTo>
                    <a:pt x="19" y="10"/>
                  </a:lnTo>
                  <a:lnTo>
                    <a:pt x="10" y="19"/>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73" name="Freeform 151">
              <a:extLst>
                <a:ext uri="{FF2B5EF4-FFF2-40B4-BE49-F238E27FC236}">
                  <a16:creationId xmlns:a16="http://schemas.microsoft.com/office/drawing/2014/main" id="{9F002136-448C-43EB-87AA-C067CE09E334}"/>
                </a:ext>
              </a:extLst>
            </p:cNvPr>
            <p:cNvSpPr>
              <a:spLocks/>
            </p:cNvSpPr>
            <p:nvPr/>
          </p:nvSpPr>
          <p:spPr bwMode="gray">
            <a:xfrm>
              <a:off x="2865" y="2929"/>
              <a:ext cx="19" cy="19"/>
            </a:xfrm>
            <a:custGeom>
              <a:avLst/>
              <a:gdLst>
                <a:gd name="T0" fmla="*/ 0 w 19"/>
                <a:gd name="T1" fmla="*/ 10 h 19"/>
                <a:gd name="T2" fmla="*/ 19 w 19"/>
                <a:gd name="T3" fmla="*/ 0 h 19"/>
                <a:gd name="T4" fmla="*/ 19 w 19"/>
                <a:gd name="T5" fmla="*/ 0 h 19"/>
                <a:gd name="T6" fmla="*/ 19 w 19"/>
                <a:gd name="T7" fmla="*/ 10 h 19"/>
                <a:gd name="T8" fmla="*/ 19 w 19"/>
                <a:gd name="T9" fmla="*/ 10 h 19"/>
                <a:gd name="T10" fmla="*/ 10 w 19"/>
                <a:gd name="T11" fmla="*/ 19 h 19"/>
                <a:gd name="T12" fmla="*/ 0 w 19"/>
                <a:gd name="T13" fmla="*/ 10 h 19"/>
                <a:gd name="T14" fmla="*/ 0 60000 65536"/>
                <a:gd name="T15" fmla="*/ 0 60000 65536"/>
                <a:gd name="T16" fmla="*/ 0 60000 65536"/>
                <a:gd name="T17" fmla="*/ 0 60000 65536"/>
                <a:gd name="T18" fmla="*/ 0 60000 65536"/>
                <a:gd name="T19" fmla="*/ 0 60000 65536"/>
                <a:gd name="T20" fmla="*/ 0 60000 65536"/>
                <a:gd name="T21" fmla="*/ 0 w 19"/>
                <a:gd name="T22" fmla="*/ 0 h 19"/>
                <a:gd name="T23" fmla="*/ 19 w 1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9">
                  <a:moveTo>
                    <a:pt x="0" y="10"/>
                  </a:moveTo>
                  <a:lnTo>
                    <a:pt x="19" y="0"/>
                  </a:lnTo>
                  <a:lnTo>
                    <a:pt x="19" y="10"/>
                  </a:lnTo>
                  <a:lnTo>
                    <a:pt x="10" y="19"/>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74" name="Freeform 152">
              <a:extLst>
                <a:ext uri="{FF2B5EF4-FFF2-40B4-BE49-F238E27FC236}">
                  <a16:creationId xmlns:a16="http://schemas.microsoft.com/office/drawing/2014/main" id="{CBFCE209-0C23-4045-B953-283B2BACD4D7}"/>
                </a:ext>
              </a:extLst>
            </p:cNvPr>
            <p:cNvSpPr>
              <a:spLocks/>
            </p:cNvSpPr>
            <p:nvPr/>
          </p:nvSpPr>
          <p:spPr bwMode="gray">
            <a:xfrm>
              <a:off x="3018" y="2977"/>
              <a:ext cx="162" cy="134"/>
            </a:xfrm>
            <a:custGeom>
              <a:avLst/>
              <a:gdLst>
                <a:gd name="T0" fmla="*/ 9 w 162"/>
                <a:gd name="T1" fmla="*/ 124 h 134"/>
                <a:gd name="T2" fmla="*/ 19 w 162"/>
                <a:gd name="T3" fmla="*/ 124 h 134"/>
                <a:gd name="T4" fmla="*/ 38 w 162"/>
                <a:gd name="T5" fmla="*/ 134 h 134"/>
                <a:gd name="T6" fmla="*/ 47 w 162"/>
                <a:gd name="T7" fmla="*/ 134 h 134"/>
                <a:gd name="T8" fmla="*/ 57 w 162"/>
                <a:gd name="T9" fmla="*/ 134 h 134"/>
                <a:gd name="T10" fmla="*/ 66 w 162"/>
                <a:gd name="T11" fmla="*/ 134 h 134"/>
                <a:gd name="T12" fmla="*/ 76 w 162"/>
                <a:gd name="T13" fmla="*/ 124 h 134"/>
                <a:gd name="T14" fmla="*/ 85 w 162"/>
                <a:gd name="T15" fmla="*/ 124 h 134"/>
                <a:gd name="T16" fmla="*/ 95 w 162"/>
                <a:gd name="T17" fmla="*/ 114 h 134"/>
                <a:gd name="T18" fmla="*/ 95 w 162"/>
                <a:gd name="T19" fmla="*/ 114 h 134"/>
                <a:gd name="T20" fmla="*/ 95 w 162"/>
                <a:gd name="T21" fmla="*/ 105 h 134"/>
                <a:gd name="T22" fmla="*/ 114 w 162"/>
                <a:gd name="T23" fmla="*/ 105 h 134"/>
                <a:gd name="T24" fmla="*/ 114 w 162"/>
                <a:gd name="T25" fmla="*/ 95 h 134"/>
                <a:gd name="T26" fmla="*/ 124 w 162"/>
                <a:gd name="T27" fmla="*/ 86 h 134"/>
                <a:gd name="T28" fmla="*/ 133 w 162"/>
                <a:gd name="T29" fmla="*/ 86 h 134"/>
                <a:gd name="T30" fmla="*/ 143 w 162"/>
                <a:gd name="T31" fmla="*/ 86 h 134"/>
                <a:gd name="T32" fmla="*/ 152 w 162"/>
                <a:gd name="T33" fmla="*/ 76 h 134"/>
                <a:gd name="T34" fmla="*/ 162 w 162"/>
                <a:gd name="T35" fmla="*/ 57 h 134"/>
                <a:gd name="T36" fmla="*/ 162 w 162"/>
                <a:gd name="T37" fmla="*/ 48 h 134"/>
                <a:gd name="T38" fmla="*/ 162 w 162"/>
                <a:gd name="T39" fmla="*/ 29 h 134"/>
                <a:gd name="T40" fmla="*/ 152 w 162"/>
                <a:gd name="T41" fmla="*/ 19 h 134"/>
                <a:gd name="T42" fmla="*/ 133 w 162"/>
                <a:gd name="T43" fmla="*/ 9 h 134"/>
                <a:gd name="T44" fmla="*/ 124 w 162"/>
                <a:gd name="T45" fmla="*/ 0 h 134"/>
                <a:gd name="T46" fmla="*/ 104 w 162"/>
                <a:gd name="T47" fmla="*/ 0 h 134"/>
                <a:gd name="T48" fmla="*/ 95 w 162"/>
                <a:gd name="T49" fmla="*/ 9 h 134"/>
                <a:gd name="T50" fmla="*/ 95 w 162"/>
                <a:gd name="T51" fmla="*/ 9 h 134"/>
                <a:gd name="T52" fmla="*/ 85 w 162"/>
                <a:gd name="T53" fmla="*/ 48 h 134"/>
                <a:gd name="T54" fmla="*/ 95 w 162"/>
                <a:gd name="T55" fmla="*/ 57 h 134"/>
                <a:gd name="T56" fmla="*/ 104 w 162"/>
                <a:gd name="T57" fmla="*/ 57 h 134"/>
                <a:gd name="T58" fmla="*/ 104 w 162"/>
                <a:gd name="T59" fmla="*/ 48 h 134"/>
                <a:gd name="T60" fmla="*/ 114 w 162"/>
                <a:gd name="T61" fmla="*/ 48 h 134"/>
                <a:gd name="T62" fmla="*/ 114 w 162"/>
                <a:gd name="T63" fmla="*/ 67 h 134"/>
                <a:gd name="T64" fmla="*/ 104 w 162"/>
                <a:gd name="T65" fmla="*/ 76 h 134"/>
                <a:gd name="T66" fmla="*/ 66 w 162"/>
                <a:gd name="T67" fmla="*/ 48 h 134"/>
                <a:gd name="T68" fmla="*/ 66 w 162"/>
                <a:gd name="T69" fmla="*/ 48 h 134"/>
                <a:gd name="T70" fmla="*/ 57 w 162"/>
                <a:gd name="T71" fmla="*/ 48 h 134"/>
                <a:gd name="T72" fmla="*/ 57 w 162"/>
                <a:gd name="T73" fmla="*/ 48 h 134"/>
                <a:gd name="T74" fmla="*/ 47 w 162"/>
                <a:gd name="T75" fmla="*/ 48 h 134"/>
                <a:gd name="T76" fmla="*/ 47 w 162"/>
                <a:gd name="T77" fmla="*/ 38 h 134"/>
                <a:gd name="T78" fmla="*/ 38 w 162"/>
                <a:gd name="T79" fmla="*/ 48 h 134"/>
                <a:gd name="T80" fmla="*/ 38 w 162"/>
                <a:gd name="T81" fmla="*/ 48 h 134"/>
                <a:gd name="T82" fmla="*/ 28 w 162"/>
                <a:gd name="T83" fmla="*/ 48 h 134"/>
                <a:gd name="T84" fmla="*/ 28 w 162"/>
                <a:gd name="T85" fmla="*/ 67 h 134"/>
                <a:gd name="T86" fmla="*/ 0 w 162"/>
                <a:gd name="T87" fmla="*/ 67 h 134"/>
                <a:gd name="T88" fmla="*/ 0 w 162"/>
                <a:gd name="T89" fmla="*/ 114 h 134"/>
                <a:gd name="T90" fmla="*/ 9 w 162"/>
                <a:gd name="T91" fmla="*/ 124 h 13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2"/>
                <a:gd name="T139" fmla="*/ 0 h 134"/>
                <a:gd name="T140" fmla="*/ 162 w 162"/>
                <a:gd name="T141" fmla="*/ 134 h 13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2" h="134">
                  <a:moveTo>
                    <a:pt x="9" y="124"/>
                  </a:moveTo>
                  <a:lnTo>
                    <a:pt x="19" y="124"/>
                  </a:lnTo>
                  <a:lnTo>
                    <a:pt x="38" y="134"/>
                  </a:lnTo>
                  <a:lnTo>
                    <a:pt x="47" y="134"/>
                  </a:lnTo>
                  <a:lnTo>
                    <a:pt x="57" y="134"/>
                  </a:lnTo>
                  <a:lnTo>
                    <a:pt x="66" y="134"/>
                  </a:lnTo>
                  <a:lnTo>
                    <a:pt x="76" y="124"/>
                  </a:lnTo>
                  <a:lnTo>
                    <a:pt x="85" y="124"/>
                  </a:lnTo>
                  <a:lnTo>
                    <a:pt x="95" y="114"/>
                  </a:lnTo>
                  <a:lnTo>
                    <a:pt x="95" y="105"/>
                  </a:lnTo>
                  <a:lnTo>
                    <a:pt x="114" y="105"/>
                  </a:lnTo>
                  <a:lnTo>
                    <a:pt x="114" y="95"/>
                  </a:lnTo>
                  <a:lnTo>
                    <a:pt x="124" y="86"/>
                  </a:lnTo>
                  <a:lnTo>
                    <a:pt x="133" y="86"/>
                  </a:lnTo>
                  <a:lnTo>
                    <a:pt x="143" y="86"/>
                  </a:lnTo>
                  <a:lnTo>
                    <a:pt x="152" y="76"/>
                  </a:lnTo>
                  <a:lnTo>
                    <a:pt x="162" y="57"/>
                  </a:lnTo>
                  <a:lnTo>
                    <a:pt x="162" y="48"/>
                  </a:lnTo>
                  <a:lnTo>
                    <a:pt x="162" y="29"/>
                  </a:lnTo>
                  <a:lnTo>
                    <a:pt x="152" y="19"/>
                  </a:lnTo>
                  <a:lnTo>
                    <a:pt x="133" y="9"/>
                  </a:lnTo>
                  <a:lnTo>
                    <a:pt x="124" y="0"/>
                  </a:lnTo>
                  <a:lnTo>
                    <a:pt x="104" y="0"/>
                  </a:lnTo>
                  <a:lnTo>
                    <a:pt x="95" y="9"/>
                  </a:lnTo>
                  <a:lnTo>
                    <a:pt x="85" y="48"/>
                  </a:lnTo>
                  <a:lnTo>
                    <a:pt x="95" y="57"/>
                  </a:lnTo>
                  <a:lnTo>
                    <a:pt x="104" y="57"/>
                  </a:lnTo>
                  <a:lnTo>
                    <a:pt x="104" y="48"/>
                  </a:lnTo>
                  <a:lnTo>
                    <a:pt x="114" y="48"/>
                  </a:lnTo>
                  <a:lnTo>
                    <a:pt x="114" y="67"/>
                  </a:lnTo>
                  <a:lnTo>
                    <a:pt x="104" y="76"/>
                  </a:lnTo>
                  <a:lnTo>
                    <a:pt x="66" y="48"/>
                  </a:lnTo>
                  <a:lnTo>
                    <a:pt x="57" y="48"/>
                  </a:lnTo>
                  <a:lnTo>
                    <a:pt x="47" y="48"/>
                  </a:lnTo>
                  <a:lnTo>
                    <a:pt x="47" y="38"/>
                  </a:lnTo>
                  <a:lnTo>
                    <a:pt x="38" y="48"/>
                  </a:lnTo>
                  <a:lnTo>
                    <a:pt x="28" y="48"/>
                  </a:lnTo>
                  <a:lnTo>
                    <a:pt x="28" y="67"/>
                  </a:lnTo>
                  <a:lnTo>
                    <a:pt x="0" y="67"/>
                  </a:lnTo>
                  <a:lnTo>
                    <a:pt x="0" y="114"/>
                  </a:lnTo>
                  <a:lnTo>
                    <a:pt x="9" y="12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75" name="Freeform 153">
              <a:extLst>
                <a:ext uri="{FF2B5EF4-FFF2-40B4-BE49-F238E27FC236}">
                  <a16:creationId xmlns:a16="http://schemas.microsoft.com/office/drawing/2014/main" id="{5129F405-29DE-4D99-8358-267A874DC315}"/>
                </a:ext>
              </a:extLst>
            </p:cNvPr>
            <p:cNvSpPr>
              <a:spLocks/>
            </p:cNvSpPr>
            <p:nvPr/>
          </p:nvSpPr>
          <p:spPr bwMode="gray">
            <a:xfrm>
              <a:off x="3018" y="2977"/>
              <a:ext cx="162" cy="134"/>
            </a:xfrm>
            <a:custGeom>
              <a:avLst/>
              <a:gdLst>
                <a:gd name="T0" fmla="*/ 9 w 162"/>
                <a:gd name="T1" fmla="*/ 124 h 134"/>
                <a:gd name="T2" fmla="*/ 19 w 162"/>
                <a:gd name="T3" fmla="*/ 124 h 134"/>
                <a:gd name="T4" fmla="*/ 38 w 162"/>
                <a:gd name="T5" fmla="*/ 134 h 134"/>
                <a:gd name="T6" fmla="*/ 47 w 162"/>
                <a:gd name="T7" fmla="*/ 134 h 134"/>
                <a:gd name="T8" fmla="*/ 57 w 162"/>
                <a:gd name="T9" fmla="*/ 134 h 134"/>
                <a:gd name="T10" fmla="*/ 66 w 162"/>
                <a:gd name="T11" fmla="*/ 134 h 134"/>
                <a:gd name="T12" fmla="*/ 76 w 162"/>
                <a:gd name="T13" fmla="*/ 124 h 134"/>
                <a:gd name="T14" fmla="*/ 85 w 162"/>
                <a:gd name="T15" fmla="*/ 124 h 134"/>
                <a:gd name="T16" fmla="*/ 95 w 162"/>
                <a:gd name="T17" fmla="*/ 114 h 134"/>
                <a:gd name="T18" fmla="*/ 95 w 162"/>
                <a:gd name="T19" fmla="*/ 114 h 134"/>
                <a:gd name="T20" fmla="*/ 95 w 162"/>
                <a:gd name="T21" fmla="*/ 105 h 134"/>
                <a:gd name="T22" fmla="*/ 114 w 162"/>
                <a:gd name="T23" fmla="*/ 105 h 134"/>
                <a:gd name="T24" fmla="*/ 114 w 162"/>
                <a:gd name="T25" fmla="*/ 95 h 134"/>
                <a:gd name="T26" fmla="*/ 124 w 162"/>
                <a:gd name="T27" fmla="*/ 86 h 134"/>
                <a:gd name="T28" fmla="*/ 133 w 162"/>
                <a:gd name="T29" fmla="*/ 86 h 134"/>
                <a:gd name="T30" fmla="*/ 143 w 162"/>
                <a:gd name="T31" fmla="*/ 86 h 134"/>
                <a:gd name="T32" fmla="*/ 152 w 162"/>
                <a:gd name="T33" fmla="*/ 76 h 134"/>
                <a:gd name="T34" fmla="*/ 162 w 162"/>
                <a:gd name="T35" fmla="*/ 57 h 134"/>
                <a:gd name="T36" fmla="*/ 162 w 162"/>
                <a:gd name="T37" fmla="*/ 48 h 134"/>
                <a:gd name="T38" fmla="*/ 162 w 162"/>
                <a:gd name="T39" fmla="*/ 29 h 134"/>
                <a:gd name="T40" fmla="*/ 152 w 162"/>
                <a:gd name="T41" fmla="*/ 19 h 134"/>
                <a:gd name="T42" fmla="*/ 133 w 162"/>
                <a:gd name="T43" fmla="*/ 9 h 134"/>
                <a:gd name="T44" fmla="*/ 124 w 162"/>
                <a:gd name="T45" fmla="*/ 0 h 134"/>
                <a:gd name="T46" fmla="*/ 104 w 162"/>
                <a:gd name="T47" fmla="*/ 0 h 134"/>
                <a:gd name="T48" fmla="*/ 95 w 162"/>
                <a:gd name="T49" fmla="*/ 9 h 134"/>
                <a:gd name="T50" fmla="*/ 95 w 162"/>
                <a:gd name="T51" fmla="*/ 9 h 134"/>
                <a:gd name="T52" fmla="*/ 85 w 162"/>
                <a:gd name="T53" fmla="*/ 48 h 134"/>
                <a:gd name="T54" fmla="*/ 95 w 162"/>
                <a:gd name="T55" fmla="*/ 57 h 134"/>
                <a:gd name="T56" fmla="*/ 104 w 162"/>
                <a:gd name="T57" fmla="*/ 57 h 134"/>
                <a:gd name="T58" fmla="*/ 104 w 162"/>
                <a:gd name="T59" fmla="*/ 48 h 134"/>
                <a:gd name="T60" fmla="*/ 114 w 162"/>
                <a:gd name="T61" fmla="*/ 48 h 134"/>
                <a:gd name="T62" fmla="*/ 114 w 162"/>
                <a:gd name="T63" fmla="*/ 67 h 134"/>
                <a:gd name="T64" fmla="*/ 104 w 162"/>
                <a:gd name="T65" fmla="*/ 76 h 134"/>
                <a:gd name="T66" fmla="*/ 66 w 162"/>
                <a:gd name="T67" fmla="*/ 48 h 134"/>
                <a:gd name="T68" fmla="*/ 66 w 162"/>
                <a:gd name="T69" fmla="*/ 48 h 134"/>
                <a:gd name="T70" fmla="*/ 57 w 162"/>
                <a:gd name="T71" fmla="*/ 48 h 134"/>
                <a:gd name="T72" fmla="*/ 57 w 162"/>
                <a:gd name="T73" fmla="*/ 48 h 134"/>
                <a:gd name="T74" fmla="*/ 47 w 162"/>
                <a:gd name="T75" fmla="*/ 48 h 134"/>
                <a:gd name="T76" fmla="*/ 47 w 162"/>
                <a:gd name="T77" fmla="*/ 38 h 134"/>
                <a:gd name="T78" fmla="*/ 38 w 162"/>
                <a:gd name="T79" fmla="*/ 48 h 134"/>
                <a:gd name="T80" fmla="*/ 38 w 162"/>
                <a:gd name="T81" fmla="*/ 48 h 134"/>
                <a:gd name="T82" fmla="*/ 28 w 162"/>
                <a:gd name="T83" fmla="*/ 48 h 134"/>
                <a:gd name="T84" fmla="*/ 28 w 162"/>
                <a:gd name="T85" fmla="*/ 67 h 134"/>
                <a:gd name="T86" fmla="*/ 0 w 162"/>
                <a:gd name="T87" fmla="*/ 67 h 134"/>
                <a:gd name="T88" fmla="*/ 0 w 162"/>
                <a:gd name="T89" fmla="*/ 114 h 134"/>
                <a:gd name="T90" fmla="*/ 9 w 162"/>
                <a:gd name="T91" fmla="*/ 124 h 13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2"/>
                <a:gd name="T139" fmla="*/ 0 h 134"/>
                <a:gd name="T140" fmla="*/ 162 w 162"/>
                <a:gd name="T141" fmla="*/ 134 h 13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2" h="134">
                  <a:moveTo>
                    <a:pt x="9" y="124"/>
                  </a:moveTo>
                  <a:lnTo>
                    <a:pt x="19" y="124"/>
                  </a:lnTo>
                  <a:lnTo>
                    <a:pt x="38" y="134"/>
                  </a:lnTo>
                  <a:lnTo>
                    <a:pt x="47" y="134"/>
                  </a:lnTo>
                  <a:lnTo>
                    <a:pt x="57" y="134"/>
                  </a:lnTo>
                  <a:lnTo>
                    <a:pt x="66" y="134"/>
                  </a:lnTo>
                  <a:lnTo>
                    <a:pt x="76" y="124"/>
                  </a:lnTo>
                  <a:lnTo>
                    <a:pt x="85" y="124"/>
                  </a:lnTo>
                  <a:lnTo>
                    <a:pt x="95" y="114"/>
                  </a:lnTo>
                  <a:lnTo>
                    <a:pt x="95" y="105"/>
                  </a:lnTo>
                  <a:lnTo>
                    <a:pt x="114" y="105"/>
                  </a:lnTo>
                  <a:lnTo>
                    <a:pt x="114" y="95"/>
                  </a:lnTo>
                  <a:lnTo>
                    <a:pt x="124" y="86"/>
                  </a:lnTo>
                  <a:lnTo>
                    <a:pt x="133" y="86"/>
                  </a:lnTo>
                  <a:lnTo>
                    <a:pt x="143" y="86"/>
                  </a:lnTo>
                  <a:lnTo>
                    <a:pt x="152" y="76"/>
                  </a:lnTo>
                  <a:lnTo>
                    <a:pt x="162" y="57"/>
                  </a:lnTo>
                  <a:lnTo>
                    <a:pt x="162" y="48"/>
                  </a:lnTo>
                  <a:lnTo>
                    <a:pt x="162" y="29"/>
                  </a:lnTo>
                  <a:lnTo>
                    <a:pt x="152" y="19"/>
                  </a:lnTo>
                  <a:lnTo>
                    <a:pt x="133" y="9"/>
                  </a:lnTo>
                  <a:lnTo>
                    <a:pt x="124" y="0"/>
                  </a:lnTo>
                  <a:lnTo>
                    <a:pt x="104" y="0"/>
                  </a:lnTo>
                  <a:lnTo>
                    <a:pt x="95" y="9"/>
                  </a:lnTo>
                  <a:lnTo>
                    <a:pt x="85" y="48"/>
                  </a:lnTo>
                  <a:lnTo>
                    <a:pt x="95" y="57"/>
                  </a:lnTo>
                  <a:lnTo>
                    <a:pt x="104" y="57"/>
                  </a:lnTo>
                  <a:lnTo>
                    <a:pt x="104" y="48"/>
                  </a:lnTo>
                  <a:lnTo>
                    <a:pt x="114" y="48"/>
                  </a:lnTo>
                  <a:lnTo>
                    <a:pt x="114" y="67"/>
                  </a:lnTo>
                  <a:lnTo>
                    <a:pt x="104" y="76"/>
                  </a:lnTo>
                  <a:lnTo>
                    <a:pt x="66" y="48"/>
                  </a:lnTo>
                  <a:lnTo>
                    <a:pt x="57" y="48"/>
                  </a:lnTo>
                  <a:lnTo>
                    <a:pt x="47" y="48"/>
                  </a:lnTo>
                  <a:lnTo>
                    <a:pt x="47" y="38"/>
                  </a:lnTo>
                  <a:lnTo>
                    <a:pt x="38" y="48"/>
                  </a:lnTo>
                  <a:lnTo>
                    <a:pt x="28" y="48"/>
                  </a:lnTo>
                  <a:lnTo>
                    <a:pt x="28" y="67"/>
                  </a:lnTo>
                  <a:lnTo>
                    <a:pt x="0" y="67"/>
                  </a:lnTo>
                  <a:lnTo>
                    <a:pt x="0" y="114"/>
                  </a:lnTo>
                  <a:lnTo>
                    <a:pt x="9" y="12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76" name="Freeform 154">
              <a:extLst>
                <a:ext uri="{FF2B5EF4-FFF2-40B4-BE49-F238E27FC236}">
                  <a16:creationId xmlns:a16="http://schemas.microsoft.com/office/drawing/2014/main" id="{E91AFF9E-C01B-4FBE-881F-88E7906049EB}"/>
                </a:ext>
              </a:extLst>
            </p:cNvPr>
            <p:cNvSpPr>
              <a:spLocks/>
            </p:cNvSpPr>
            <p:nvPr/>
          </p:nvSpPr>
          <p:spPr bwMode="gray">
            <a:xfrm>
              <a:off x="3122" y="2881"/>
              <a:ext cx="20" cy="20"/>
            </a:xfrm>
            <a:custGeom>
              <a:avLst/>
              <a:gdLst>
                <a:gd name="T0" fmla="*/ 0 w 20"/>
                <a:gd name="T1" fmla="*/ 0 h 20"/>
                <a:gd name="T2" fmla="*/ 10 w 20"/>
                <a:gd name="T3" fmla="*/ 0 h 20"/>
                <a:gd name="T4" fmla="*/ 10 w 20"/>
                <a:gd name="T5" fmla="*/ 0 h 20"/>
                <a:gd name="T6" fmla="*/ 20 w 20"/>
                <a:gd name="T7" fmla="*/ 0 h 20"/>
                <a:gd name="T8" fmla="*/ 20 w 20"/>
                <a:gd name="T9" fmla="*/ 0 h 20"/>
                <a:gd name="T10" fmla="*/ 20 w 20"/>
                <a:gd name="T11" fmla="*/ 10 h 20"/>
                <a:gd name="T12" fmla="*/ 20 w 20"/>
                <a:gd name="T13" fmla="*/ 10 h 20"/>
                <a:gd name="T14" fmla="*/ 10 w 20"/>
                <a:gd name="T15" fmla="*/ 20 h 20"/>
                <a:gd name="T16" fmla="*/ 10 w 20"/>
                <a:gd name="T17" fmla="*/ 20 h 20"/>
                <a:gd name="T18" fmla="*/ 10 w 20"/>
                <a:gd name="T19" fmla="*/ 20 h 20"/>
                <a:gd name="T20" fmla="*/ 0 w 20"/>
                <a:gd name="T21" fmla="*/ 20 h 20"/>
                <a:gd name="T22" fmla="*/ 0 w 20"/>
                <a:gd name="T23" fmla="*/ 20 h 20"/>
                <a:gd name="T24" fmla="*/ 0 w 20"/>
                <a:gd name="T25" fmla="*/ 20 h 20"/>
                <a:gd name="T26" fmla="*/ 0 w 20"/>
                <a:gd name="T27" fmla="*/ 0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0"/>
                <a:gd name="T44" fmla="*/ 20 w 20"/>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0">
                  <a:moveTo>
                    <a:pt x="0" y="0"/>
                  </a:moveTo>
                  <a:lnTo>
                    <a:pt x="10" y="0"/>
                  </a:lnTo>
                  <a:lnTo>
                    <a:pt x="20" y="0"/>
                  </a:lnTo>
                  <a:lnTo>
                    <a:pt x="20" y="10"/>
                  </a:lnTo>
                  <a:lnTo>
                    <a:pt x="10" y="20"/>
                  </a:lnTo>
                  <a:lnTo>
                    <a:pt x="0" y="2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77" name="Freeform 155">
              <a:extLst>
                <a:ext uri="{FF2B5EF4-FFF2-40B4-BE49-F238E27FC236}">
                  <a16:creationId xmlns:a16="http://schemas.microsoft.com/office/drawing/2014/main" id="{D1787BAC-1D5E-4108-ABC4-26C34189BA6F}"/>
                </a:ext>
              </a:extLst>
            </p:cNvPr>
            <p:cNvSpPr>
              <a:spLocks/>
            </p:cNvSpPr>
            <p:nvPr/>
          </p:nvSpPr>
          <p:spPr bwMode="gray">
            <a:xfrm>
              <a:off x="3170" y="2996"/>
              <a:ext cx="38" cy="105"/>
            </a:xfrm>
            <a:custGeom>
              <a:avLst/>
              <a:gdLst>
                <a:gd name="T0" fmla="*/ 0 w 38"/>
                <a:gd name="T1" fmla="*/ 0 h 105"/>
                <a:gd name="T2" fmla="*/ 10 w 38"/>
                <a:gd name="T3" fmla="*/ 10 h 105"/>
                <a:gd name="T4" fmla="*/ 10 w 38"/>
                <a:gd name="T5" fmla="*/ 29 h 105"/>
                <a:gd name="T6" fmla="*/ 10 w 38"/>
                <a:gd name="T7" fmla="*/ 38 h 105"/>
                <a:gd name="T8" fmla="*/ 0 w 38"/>
                <a:gd name="T9" fmla="*/ 57 h 105"/>
                <a:gd name="T10" fmla="*/ 10 w 38"/>
                <a:gd name="T11" fmla="*/ 57 h 105"/>
                <a:gd name="T12" fmla="*/ 10 w 38"/>
                <a:gd name="T13" fmla="*/ 67 h 105"/>
                <a:gd name="T14" fmla="*/ 19 w 38"/>
                <a:gd name="T15" fmla="*/ 67 h 105"/>
                <a:gd name="T16" fmla="*/ 29 w 38"/>
                <a:gd name="T17" fmla="*/ 76 h 105"/>
                <a:gd name="T18" fmla="*/ 29 w 38"/>
                <a:gd name="T19" fmla="*/ 86 h 105"/>
                <a:gd name="T20" fmla="*/ 29 w 38"/>
                <a:gd name="T21" fmla="*/ 95 h 105"/>
                <a:gd name="T22" fmla="*/ 38 w 38"/>
                <a:gd name="T23" fmla="*/ 105 h 105"/>
                <a:gd name="T24" fmla="*/ 38 w 38"/>
                <a:gd name="T25" fmla="*/ 105 h 105"/>
                <a:gd name="T26" fmla="*/ 38 w 38"/>
                <a:gd name="T27" fmla="*/ 95 h 105"/>
                <a:gd name="T28" fmla="*/ 38 w 38"/>
                <a:gd name="T29" fmla="*/ 86 h 105"/>
                <a:gd name="T30" fmla="*/ 38 w 38"/>
                <a:gd name="T31" fmla="*/ 67 h 105"/>
                <a:gd name="T32" fmla="*/ 38 w 38"/>
                <a:gd name="T33" fmla="*/ 57 h 105"/>
                <a:gd name="T34" fmla="*/ 29 w 38"/>
                <a:gd name="T35" fmla="*/ 48 h 105"/>
                <a:gd name="T36" fmla="*/ 29 w 38"/>
                <a:gd name="T37" fmla="*/ 29 h 105"/>
                <a:gd name="T38" fmla="*/ 29 w 38"/>
                <a:gd name="T39" fmla="*/ 10 h 105"/>
                <a:gd name="T40" fmla="*/ 19 w 38"/>
                <a:gd name="T41" fmla="*/ 0 h 105"/>
                <a:gd name="T42" fmla="*/ 10 w 38"/>
                <a:gd name="T43" fmla="*/ 0 h 105"/>
                <a:gd name="T44" fmla="*/ 0 w 38"/>
                <a:gd name="T45" fmla="*/ 0 h 10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8"/>
                <a:gd name="T70" fmla="*/ 0 h 105"/>
                <a:gd name="T71" fmla="*/ 38 w 38"/>
                <a:gd name="T72" fmla="*/ 105 h 10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8" h="105">
                  <a:moveTo>
                    <a:pt x="0" y="0"/>
                  </a:moveTo>
                  <a:lnTo>
                    <a:pt x="10" y="10"/>
                  </a:lnTo>
                  <a:lnTo>
                    <a:pt x="10" y="29"/>
                  </a:lnTo>
                  <a:lnTo>
                    <a:pt x="10" y="38"/>
                  </a:lnTo>
                  <a:lnTo>
                    <a:pt x="0" y="57"/>
                  </a:lnTo>
                  <a:lnTo>
                    <a:pt x="10" y="57"/>
                  </a:lnTo>
                  <a:lnTo>
                    <a:pt x="10" y="67"/>
                  </a:lnTo>
                  <a:lnTo>
                    <a:pt x="19" y="67"/>
                  </a:lnTo>
                  <a:lnTo>
                    <a:pt x="29" y="76"/>
                  </a:lnTo>
                  <a:lnTo>
                    <a:pt x="29" y="86"/>
                  </a:lnTo>
                  <a:lnTo>
                    <a:pt x="29" y="95"/>
                  </a:lnTo>
                  <a:lnTo>
                    <a:pt x="38" y="105"/>
                  </a:lnTo>
                  <a:lnTo>
                    <a:pt x="38" y="95"/>
                  </a:lnTo>
                  <a:lnTo>
                    <a:pt x="38" y="86"/>
                  </a:lnTo>
                  <a:lnTo>
                    <a:pt x="38" y="67"/>
                  </a:lnTo>
                  <a:lnTo>
                    <a:pt x="38" y="57"/>
                  </a:lnTo>
                  <a:lnTo>
                    <a:pt x="29" y="48"/>
                  </a:lnTo>
                  <a:lnTo>
                    <a:pt x="29" y="29"/>
                  </a:lnTo>
                  <a:lnTo>
                    <a:pt x="29" y="10"/>
                  </a:lnTo>
                  <a:lnTo>
                    <a:pt x="19" y="0"/>
                  </a:lnTo>
                  <a:lnTo>
                    <a:pt x="10"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78" name="Freeform 156">
              <a:extLst>
                <a:ext uri="{FF2B5EF4-FFF2-40B4-BE49-F238E27FC236}">
                  <a16:creationId xmlns:a16="http://schemas.microsoft.com/office/drawing/2014/main" id="{6F695FDA-6038-407E-819B-E85CEC49E3FF}"/>
                </a:ext>
              </a:extLst>
            </p:cNvPr>
            <p:cNvSpPr>
              <a:spLocks/>
            </p:cNvSpPr>
            <p:nvPr/>
          </p:nvSpPr>
          <p:spPr bwMode="gray">
            <a:xfrm>
              <a:off x="3142" y="3225"/>
              <a:ext cx="19" cy="29"/>
            </a:xfrm>
            <a:custGeom>
              <a:avLst/>
              <a:gdLst>
                <a:gd name="T0" fmla="*/ 19 w 19"/>
                <a:gd name="T1" fmla="*/ 19 h 29"/>
                <a:gd name="T2" fmla="*/ 9 w 19"/>
                <a:gd name="T3" fmla="*/ 29 h 29"/>
                <a:gd name="T4" fmla="*/ 0 w 19"/>
                <a:gd name="T5" fmla="*/ 29 h 29"/>
                <a:gd name="T6" fmla="*/ 0 w 19"/>
                <a:gd name="T7" fmla="*/ 19 h 29"/>
                <a:gd name="T8" fmla="*/ 0 w 19"/>
                <a:gd name="T9" fmla="*/ 0 h 29"/>
                <a:gd name="T10" fmla="*/ 0 w 19"/>
                <a:gd name="T11" fmla="*/ 0 h 29"/>
                <a:gd name="T12" fmla="*/ 9 w 19"/>
                <a:gd name="T13" fmla="*/ 0 h 29"/>
                <a:gd name="T14" fmla="*/ 19 w 19"/>
                <a:gd name="T15" fmla="*/ 19 h 29"/>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29"/>
                <a:gd name="T26" fmla="*/ 19 w 19"/>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29">
                  <a:moveTo>
                    <a:pt x="19" y="19"/>
                  </a:moveTo>
                  <a:lnTo>
                    <a:pt x="9" y="29"/>
                  </a:lnTo>
                  <a:lnTo>
                    <a:pt x="0" y="29"/>
                  </a:lnTo>
                  <a:lnTo>
                    <a:pt x="0" y="19"/>
                  </a:lnTo>
                  <a:lnTo>
                    <a:pt x="0" y="0"/>
                  </a:lnTo>
                  <a:lnTo>
                    <a:pt x="9" y="0"/>
                  </a:lnTo>
                  <a:lnTo>
                    <a:pt x="19"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79" name="Freeform 157">
              <a:extLst>
                <a:ext uri="{FF2B5EF4-FFF2-40B4-BE49-F238E27FC236}">
                  <a16:creationId xmlns:a16="http://schemas.microsoft.com/office/drawing/2014/main" id="{0CD4B904-35BF-4108-8AF3-78023E482275}"/>
                </a:ext>
              </a:extLst>
            </p:cNvPr>
            <p:cNvSpPr>
              <a:spLocks/>
            </p:cNvSpPr>
            <p:nvPr/>
          </p:nvSpPr>
          <p:spPr bwMode="gray">
            <a:xfrm>
              <a:off x="3142" y="3225"/>
              <a:ext cx="19" cy="29"/>
            </a:xfrm>
            <a:custGeom>
              <a:avLst/>
              <a:gdLst>
                <a:gd name="T0" fmla="*/ 19 w 19"/>
                <a:gd name="T1" fmla="*/ 19 h 29"/>
                <a:gd name="T2" fmla="*/ 9 w 19"/>
                <a:gd name="T3" fmla="*/ 29 h 29"/>
                <a:gd name="T4" fmla="*/ 0 w 19"/>
                <a:gd name="T5" fmla="*/ 29 h 29"/>
                <a:gd name="T6" fmla="*/ 0 w 19"/>
                <a:gd name="T7" fmla="*/ 19 h 29"/>
                <a:gd name="T8" fmla="*/ 0 w 19"/>
                <a:gd name="T9" fmla="*/ 0 h 29"/>
                <a:gd name="T10" fmla="*/ 0 w 19"/>
                <a:gd name="T11" fmla="*/ 0 h 29"/>
                <a:gd name="T12" fmla="*/ 9 w 19"/>
                <a:gd name="T13" fmla="*/ 0 h 29"/>
                <a:gd name="T14" fmla="*/ 19 w 19"/>
                <a:gd name="T15" fmla="*/ 19 h 29"/>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29"/>
                <a:gd name="T26" fmla="*/ 19 w 19"/>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29">
                  <a:moveTo>
                    <a:pt x="19" y="19"/>
                  </a:moveTo>
                  <a:lnTo>
                    <a:pt x="9" y="29"/>
                  </a:lnTo>
                  <a:lnTo>
                    <a:pt x="0" y="29"/>
                  </a:lnTo>
                  <a:lnTo>
                    <a:pt x="0" y="19"/>
                  </a:lnTo>
                  <a:lnTo>
                    <a:pt x="0" y="0"/>
                  </a:lnTo>
                  <a:lnTo>
                    <a:pt x="9" y="0"/>
                  </a:lnTo>
                  <a:lnTo>
                    <a:pt x="19"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80" name="Freeform 158">
              <a:extLst>
                <a:ext uri="{FF2B5EF4-FFF2-40B4-BE49-F238E27FC236}">
                  <a16:creationId xmlns:a16="http://schemas.microsoft.com/office/drawing/2014/main" id="{F0B298EF-FF73-42B2-9E98-FBA3570884A5}"/>
                </a:ext>
              </a:extLst>
            </p:cNvPr>
            <p:cNvSpPr>
              <a:spLocks/>
            </p:cNvSpPr>
            <p:nvPr/>
          </p:nvSpPr>
          <p:spPr bwMode="gray">
            <a:xfrm>
              <a:off x="3084" y="3273"/>
              <a:ext cx="38" cy="28"/>
            </a:xfrm>
            <a:custGeom>
              <a:avLst/>
              <a:gdLst>
                <a:gd name="T0" fmla="*/ 38 w 38"/>
                <a:gd name="T1" fmla="*/ 0 h 28"/>
                <a:gd name="T2" fmla="*/ 38 w 38"/>
                <a:gd name="T3" fmla="*/ 9 h 28"/>
                <a:gd name="T4" fmla="*/ 29 w 38"/>
                <a:gd name="T5" fmla="*/ 19 h 28"/>
                <a:gd name="T6" fmla="*/ 29 w 38"/>
                <a:gd name="T7" fmla="*/ 19 h 28"/>
                <a:gd name="T8" fmla="*/ 10 w 38"/>
                <a:gd name="T9" fmla="*/ 28 h 28"/>
                <a:gd name="T10" fmla="*/ 0 w 38"/>
                <a:gd name="T11" fmla="*/ 19 h 28"/>
                <a:gd name="T12" fmla="*/ 0 w 38"/>
                <a:gd name="T13" fmla="*/ 9 h 28"/>
                <a:gd name="T14" fmla="*/ 19 w 38"/>
                <a:gd name="T15" fmla="*/ 0 h 28"/>
                <a:gd name="T16" fmla="*/ 38 w 38"/>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28"/>
                <a:gd name="T29" fmla="*/ 38 w 38"/>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28">
                  <a:moveTo>
                    <a:pt x="38" y="0"/>
                  </a:moveTo>
                  <a:lnTo>
                    <a:pt x="38" y="9"/>
                  </a:lnTo>
                  <a:lnTo>
                    <a:pt x="29" y="19"/>
                  </a:lnTo>
                  <a:lnTo>
                    <a:pt x="10" y="28"/>
                  </a:lnTo>
                  <a:lnTo>
                    <a:pt x="0" y="19"/>
                  </a:lnTo>
                  <a:lnTo>
                    <a:pt x="0" y="9"/>
                  </a:lnTo>
                  <a:lnTo>
                    <a:pt x="19" y="0"/>
                  </a:lnTo>
                  <a:lnTo>
                    <a:pt x="38"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81" name="Freeform 159">
              <a:extLst>
                <a:ext uri="{FF2B5EF4-FFF2-40B4-BE49-F238E27FC236}">
                  <a16:creationId xmlns:a16="http://schemas.microsoft.com/office/drawing/2014/main" id="{755F9106-7F20-4073-8B17-1662348E3D3F}"/>
                </a:ext>
              </a:extLst>
            </p:cNvPr>
            <p:cNvSpPr>
              <a:spLocks/>
            </p:cNvSpPr>
            <p:nvPr/>
          </p:nvSpPr>
          <p:spPr bwMode="gray">
            <a:xfrm>
              <a:off x="3084" y="3273"/>
              <a:ext cx="38" cy="28"/>
            </a:xfrm>
            <a:custGeom>
              <a:avLst/>
              <a:gdLst>
                <a:gd name="T0" fmla="*/ 38 w 38"/>
                <a:gd name="T1" fmla="*/ 0 h 28"/>
                <a:gd name="T2" fmla="*/ 38 w 38"/>
                <a:gd name="T3" fmla="*/ 9 h 28"/>
                <a:gd name="T4" fmla="*/ 29 w 38"/>
                <a:gd name="T5" fmla="*/ 19 h 28"/>
                <a:gd name="T6" fmla="*/ 29 w 38"/>
                <a:gd name="T7" fmla="*/ 19 h 28"/>
                <a:gd name="T8" fmla="*/ 10 w 38"/>
                <a:gd name="T9" fmla="*/ 28 h 28"/>
                <a:gd name="T10" fmla="*/ 0 w 38"/>
                <a:gd name="T11" fmla="*/ 19 h 28"/>
                <a:gd name="T12" fmla="*/ 0 w 38"/>
                <a:gd name="T13" fmla="*/ 9 h 28"/>
                <a:gd name="T14" fmla="*/ 19 w 38"/>
                <a:gd name="T15" fmla="*/ 0 h 28"/>
                <a:gd name="T16" fmla="*/ 38 w 38"/>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28"/>
                <a:gd name="T29" fmla="*/ 38 w 38"/>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28">
                  <a:moveTo>
                    <a:pt x="38" y="0"/>
                  </a:moveTo>
                  <a:lnTo>
                    <a:pt x="38" y="9"/>
                  </a:lnTo>
                  <a:lnTo>
                    <a:pt x="29" y="19"/>
                  </a:lnTo>
                  <a:lnTo>
                    <a:pt x="10" y="28"/>
                  </a:lnTo>
                  <a:lnTo>
                    <a:pt x="0" y="19"/>
                  </a:lnTo>
                  <a:lnTo>
                    <a:pt x="0" y="9"/>
                  </a:lnTo>
                  <a:lnTo>
                    <a:pt x="19" y="0"/>
                  </a:lnTo>
                  <a:lnTo>
                    <a:pt x="38"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82" name="Freeform 160">
              <a:extLst>
                <a:ext uri="{FF2B5EF4-FFF2-40B4-BE49-F238E27FC236}">
                  <a16:creationId xmlns:a16="http://schemas.microsoft.com/office/drawing/2014/main" id="{1D4F79E2-40E6-48F0-8EAE-3183B7101E8D}"/>
                </a:ext>
              </a:extLst>
            </p:cNvPr>
            <p:cNvSpPr>
              <a:spLocks/>
            </p:cNvSpPr>
            <p:nvPr/>
          </p:nvSpPr>
          <p:spPr bwMode="gray">
            <a:xfrm>
              <a:off x="3132" y="3006"/>
              <a:ext cx="153" cy="238"/>
            </a:xfrm>
            <a:custGeom>
              <a:avLst/>
              <a:gdLst>
                <a:gd name="T0" fmla="*/ 38 w 153"/>
                <a:gd name="T1" fmla="*/ 238 h 238"/>
                <a:gd name="T2" fmla="*/ 38 w 153"/>
                <a:gd name="T3" fmla="*/ 229 h 238"/>
                <a:gd name="T4" fmla="*/ 38 w 153"/>
                <a:gd name="T5" fmla="*/ 219 h 238"/>
                <a:gd name="T6" fmla="*/ 48 w 153"/>
                <a:gd name="T7" fmla="*/ 209 h 238"/>
                <a:gd name="T8" fmla="*/ 67 w 153"/>
                <a:gd name="T9" fmla="*/ 209 h 238"/>
                <a:gd name="T10" fmla="*/ 76 w 153"/>
                <a:gd name="T11" fmla="*/ 190 h 238"/>
                <a:gd name="T12" fmla="*/ 76 w 153"/>
                <a:gd name="T13" fmla="*/ 162 h 238"/>
                <a:gd name="T14" fmla="*/ 67 w 153"/>
                <a:gd name="T15" fmla="*/ 133 h 238"/>
                <a:gd name="T16" fmla="*/ 67 w 153"/>
                <a:gd name="T17" fmla="*/ 124 h 238"/>
                <a:gd name="T18" fmla="*/ 76 w 153"/>
                <a:gd name="T19" fmla="*/ 124 h 238"/>
                <a:gd name="T20" fmla="*/ 86 w 153"/>
                <a:gd name="T21" fmla="*/ 114 h 238"/>
                <a:gd name="T22" fmla="*/ 95 w 153"/>
                <a:gd name="T23" fmla="*/ 105 h 238"/>
                <a:gd name="T24" fmla="*/ 105 w 153"/>
                <a:gd name="T25" fmla="*/ 95 h 238"/>
                <a:gd name="T26" fmla="*/ 133 w 153"/>
                <a:gd name="T27" fmla="*/ 85 h 238"/>
                <a:gd name="T28" fmla="*/ 153 w 153"/>
                <a:gd name="T29" fmla="*/ 66 h 238"/>
                <a:gd name="T30" fmla="*/ 153 w 153"/>
                <a:gd name="T31" fmla="*/ 38 h 238"/>
                <a:gd name="T32" fmla="*/ 153 w 153"/>
                <a:gd name="T33" fmla="*/ 19 h 238"/>
                <a:gd name="T34" fmla="*/ 153 w 153"/>
                <a:gd name="T35" fmla="*/ 0 h 238"/>
                <a:gd name="T36" fmla="*/ 143 w 153"/>
                <a:gd name="T37" fmla="*/ 0 h 238"/>
                <a:gd name="T38" fmla="*/ 133 w 153"/>
                <a:gd name="T39" fmla="*/ 9 h 238"/>
                <a:gd name="T40" fmla="*/ 124 w 153"/>
                <a:gd name="T41" fmla="*/ 9 h 238"/>
                <a:gd name="T42" fmla="*/ 124 w 153"/>
                <a:gd name="T43" fmla="*/ 19 h 238"/>
                <a:gd name="T44" fmla="*/ 105 w 153"/>
                <a:gd name="T45" fmla="*/ 19 h 238"/>
                <a:gd name="T46" fmla="*/ 95 w 153"/>
                <a:gd name="T47" fmla="*/ 19 h 238"/>
                <a:gd name="T48" fmla="*/ 86 w 153"/>
                <a:gd name="T49" fmla="*/ 19 h 238"/>
                <a:gd name="T50" fmla="*/ 67 w 153"/>
                <a:gd name="T51" fmla="*/ 19 h 238"/>
                <a:gd name="T52" fmla="*/ 67 w 153"/>
                <a:gd name="T53" fmla="*/ 38 h 238"/>
                <a:gd name="T54" fmla="*/ 76 w 153"/>
                <a:gd name="T55" fmla="*/ 47 h 238"/>
                <a:gd name="T56" fmla="*/ 76 w 153"/>
                <a:gd name="T57" fmla="*/ 57 h 238"/>
                <a:gd name="T58" fmla="*/ 76 w 153"/>
                <a:gd name="T59" fmla="*/ 76 h 238"/>
                <a:gd name="T60" fmla="*/ 76 w 153"/>
                <a:gd name="T61" fmla="*/ 85 h 238"/>
                <a:gd name="T62" fmla="*/ 76 w 153"/>
                <a:gd name="T63" fmla="*/ 95 h 238"/>
                <a:gd name="T64" fmla="*/ 76 w 153"/>
                <a:gd name="T65" fmla="*/ 95 h 238"/>
                <a:gd name="T66" fmla="*/ 67 w 153"/>
                <a:gd name="T67" fmla="*/ 85 h 238"/>
                <a:gd name="T68" fmla="*/ 67 w 153"/>
                <a:gd name="T69" fmla="*/ 76 h 238"/>
                <a:gd name="T70" fmla="*/ 67 w 153"/>
                <a:gd name="T71" fmla="*/ 66 h 238"/>
                <a:gd name="T72" fmla="*/ 57 w 153"/>
                <a:gd name="T73" fmla="*/ 57 h 238"/>
                <a:gd name="T74" fmla="*/ 48 w 153"/>
                <a:gd name="T75" fmla="*/ 57 h 238"/>
                <a:gd name="T76" fmla="*/ 48 w 153"/>
                <a:gd name="T77" fmla="*/ 47 h 238"/>
                <a:gd name="T78" fmla="*/ 38 w 153"/>
                <a:gd name="T79" fmla="*/ 47 h 238"/>
                <a:gd name="T80" fmla="*/ 29 w 153"/>
                <a:gd name="T81" fmla="*/ 57 h 238"/>
                <a:gd name="T82" fmla="*/ 19 w 153"/>
                <a:gd name="T83" fmla="*/ 57 h 238"/>
                <a:gd name="T84" fmla="*/ 10 w 153"/>
                <a:gd name="T85" fmla="*/ 57 h 238"/>
                <a:gd name="T86" fmla="*/ 0 w 153"/>
                <a:gd name="T87" fmla="*/ 66 h 238"/>
                <a:gd name="T88" fmla="*/ 0 w 153"/>
                <a:gd name="T89" fmla="*/ 76 h 238"/>
                <a:gd name="T90" fmla="*/ 38 w 153"/>
                <a:gd name="T91" fmla="*/ 85 h 238"/>
                <a:gd name="T92" fmla="*/ 38 w 153"/>
                <a:gd name="T93" fmla="*/ 95 h 238"/>
                <a:gd name="T94" fmla="*/ 38 w 153"/>
                <a:gd name="T95" fmla="*/ 114 h 238"/>
                <a:gd name="T96" fmla="*/ 38 w 153"/>
                <a:gd name="T97" fmla="*/ 114 h 238"/>
                <a:gd name="T98" fmla="*/ 38 w 153"/>
                <a:gd name="T99" fmla="*/ 124 h 238"/>
                <a:gd name="T100" fmla="*/ 48 w 153"/>
                <a:gd name="T101" fmla="*/ 133 h 238"/>
                <a:gd name="T102" fmla="*/ 38 w 153"/>
                <a:gd name="T103" fmla="*/ 133 h 238"/>
                <a:gd name="T104" fmla="*/ 29 w 153"/>
                <a:gd name="T105" fmla="*/ 143 h 238"/>
                <a:gd name="T106" fmla="*/ 29 w 153"/>
                <a:gd name="T107" fmla="*/ 162 h 238"/>
                <a:gd name="T108" fmla="*/ 19 w 153"/>
                <a:gd name="T109" fmla="*/ 171 h 238"/>
                <a:gd name="T110" fmla="*/ 29 w 153"/>
                <a:gd name="T111" fmla="*/ 200 h 238"/>
                <a:gd name="T112" fmla="*/ 19 w 153"/>
                <a:gd name="T113" fmla="*/ 219 h 238"/>
                <a:gd name="T114" fmla="*/ 29 w 153"/>
                <a:gd name="T115" fmla="*/ 238 h 238"/>
                <a:gd name="T116" fmla="*/ 38 w 153"/>
                <a:gd name="T117" fmla="*/ 238 h 2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3"/>
                <a:gd name="T178" fmla="*/ 0 h 238"/>
                <a:gd name="T179" fmla="*/ 153 w 153"/>
                <a:gd name="T180" fmla="*/ 238 h 2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3" h="238">
                  <a:moveTo>
                    <a:pt x="38" y="238"/>
                  </a:moveTo>
                  <a:lnTo>
                    <a:pt x="38" y="229"/>
                  </a:lnTo>
                  <a:lnTo>
                    <a:pt x="38" y="219"/>
                  </a:lnTo>
                  <a:lnTo>
                    <a:pt x="48" y="209"/>
                  </a:lnTo>
                  <a:lnTo>
                    <a:pt x="67" y="209"/>
                  </a:lnTo>
                  <a:lnTo>
                    <a:pt x="76" y="190"/>
                  </a:lnTo>
                  <a:lnTo>
                    <a:pt x="76" y="162"/>
                  </a:lnTo>
                  <a:lnTo>
                    <a:pt x="67" y="133"/>
                  </a:lnTo>
                  <a:lnTo>
                    <a:pt x="67" y="124"/>
                  </a:lnTo>
                  <a:lnTo>
                    <a:pt x="76" y="124"/>
                  </a:lnTo>
                  <a:lnTo>
                    <a:pt x="86" y="114"/>
                  </a:lnTo>
                  <a:lnTo>
                    <a:pt x="95" y="105"/>
                  </a:lnTo>
                  <a:lnTo>
                    <a:pt x="105" y="95"/>
                  </a:lnTo>
                  <a:lnTo>
                    <a:pt x="133" y="85"/>
                  </a:lnTo>
                  <a:lnTo>
                    <a:pt x="153" y="66"/>
                  </a:lnTo>
                  <a:lnTo>
                    <a:pt x="153" y="38"/>
                  </a:lnTo>
                  <a:lnTo>
                    <a:pt x="153" y="19"/>
                  </a:lnTo>
                  <a:lnTo>
                    <a:pt x="153" y="0"/>
                  </a:lnTo>
                  <a:lnTo>
                    <a:pt x="143" y="0"/>
                  </a:lnTo>
                  <a:lnTo>
                    <a:pt x="133" y="9"/>
                  </a:lnTo>
                  <a:lnTo>
                    <a:pt x="124" y="9"/>
                  </a:lnTo>
                  <a:lnTo>
                    <a:pt x="124" y="19"/>
                  </a:lnTo>
                  <a:lnTo>
                    <a:pt x="105" y="19"/>
                  </a:lnTo>
                  <a:lnTo>
                    <a:pt x="95" y="19"/>
                  </a:lnTo>
                  <a:lnTo>
                    <a:pt x="86" y="19"/>
                  </a:lnTo>
                  <a:lnTo>
                    <a:pt x="67" y="19"/>
                  </a:lnTo>
                  <a:lnTo>
                    <a:pt x="67" y="38"/>
                  </a:lnTo>
                  <a:lnTo>
                    <a:pt x="76" y="47"/>
                  </a:lnTo>
                  <a:lnTo>
                    <a:pt x="76" y="57"/>
                  </a:lnTo>
                  <a:lnTo>
                    <a:pt x="76" y="76"/>
                  </a:lnTo>
                  <a:lnTo>
                    <a:pt x="76" y="85"/>
                  </a:lnTo>
                  <a:lnTo>
                    <a:pt x="76" y="95"/>
                  </a:lnTo>
                  <a:lnTo>
                    <a:pt x="67" y="85"/>
                  </a:lnTo>
                  <a:lnTo>
                    <a:pt x="67" y="76"/>
                  </a:lnTo>
                  <a:lnTo>
                    <a:pt x="67" y="66"/>
                  </a:lnTo>
                  <a:lnTo>
                    <a:pt x="57" y="57"/>
                  </a:lnTo>
                  <a:lnTo>
                    <a:pt x="48" y="57"/>
                  </a:lnTo>
                  <a:lnTo>
                    <a:pt x="48" y="47"/>
                  </a:lnTo>
                  <a:lnTo>
                    <a:pt x="38" y="47"/>
                  </a:lnTo>
                  <a:lnTo>
                    <a:pt x="29" y="57"/>
                  </a:lnTo>
                  <a:lnTo>
                    <a:pt x="19" y="57"/>
                  </a:lnTo>
                  <a:lnTo>
                    <a:pt x="10" y="57"/>
                  </a:lnTo>
                  <a:lnTo>
                    <a:pt x="0" y="66"/>
                  </a:lnTo>
                  <a:lnTo>
                    <a:pt x="0" y="76"/>
                  </a:lnTo>
                  <a:lnTo>
                    <a:pt x="38" y="85"/>
                  </a:lnTo>
                  <a:lnTo>
                    <a:pt x="38" y="95"/>
                  </a:lnTo>
                  <a:lnTo>
                    <a:pt x="38" y="114"/>
                  </a:lnTo>
                  <a:lnTo>
                    <a:pt x="38" y="124"/>
                  </a:lnTo>
                  <a:lnTo>
                    <a:pt x="48" y="133"/>
                  </a:lnTo>
                  <a:lnTo>
                    <a:pt x="38" y="133"/>
                  </a:lnTo>
                  <a:lnTo>
                    <a:pt x="29" y="143"/>
                  </a:lnTo>
                  <a:lnTo>
                    <a:pt x="29" y="162"/>
                  </a:lnTo>
                  <a:lnTo>
                    <a:pt x="19" y="171"/>
                  </a:lnTo>
                  <a:lnTo>
                    <a:pt x="29" y="200"/>
                  </a:lnTo>
                  <a:lnTo>
                    <a:pt x="19" y="219"/>
                  </a:lnTo>
                  <a:lnTo>
                    <a:pt x="29" y="238"/>
                  </a:lnTo>
                  <a:lnTo>
                    <a:pt x="38" y="2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83" name="Freeform 161">
              <a:extLst>
                <a:ext uri="{FF2B5EF4-FFF2-40B4-BE49-F238E27FC236}">
                  <a16:creationId xmlns:a16="http://schemas.microsoft.com/office/drawing/2014/main" id="{4935A53F-0268-40C8-83CC-BA4AB0ADD30F}"/>
                </a:ext>
              </a:extLst>
            </p:cNvPr>
            <p:cNvSpPr>
              <a:spLocks/>
            </p:cNvSpPr>
            <p:nvPr/>
          </p:nvSpPr>
          <p:spPr bwMode="gray">
            <a:xfrm>
              <a:off x="3132" y="3006"/>
              <a:ext cx="153" cy="238"/>
            </a:xfrm>
            <a:custGeom>
              <a:avLst/>
              <a:gdLst>
                <a:gd name="T0" fmla="*/ 38 w 153"/>
                <a:gd name="T1" fmla="*/ 238 h 238"/>
                <a:gd name="T2" fmla="*/ 38 w 153"/>
                <a:gd name="T3" fmla="*/ 229 h 238"/>
                <a:gd name="T4" fmla="*/ 38 w 153"/>
                <a:gd name="T5" fmla="*/ 219 h 238"/>
                <a:gd name="T6" fmla="*/ 48 w 153"/>
                <a:gd name="T7" fmla="*/ 209 h 238"/>
                <a:gd name="T8" fmla="*/ 67 w 153"/>
                <a:gd name="T9" fmla="*/ 209 h 238"/>
                <a:gd name="T10" fmla="*/ 76 w 153"/>
                <a:gd name="T11" fmla="*/ 190 h 238"/>
                <a:gd name="T12" fmla="*/ 76 w 153"/>
                <a:gd name="T13" fmla="*/ 162 h 238"/>
                <a:gd name="T14" fmla="*/ 67 w 153"/>
                <a:gd name="T15" fmla="*/ 133 h 238"/>
                <a:gd name="T16" fmla="*/ 67 w 153"/>
                <a:gd name="T17" fmla="*/ 124 h 238"/>
                <a:gd name="T18" fmla="*/ 76 w 153"/>
                <a:gd name="T19" fmla="*/ 124 h 238"/>
                <a:gd name="T20" fmla="*/ 86 w 153"/>
                <a:gd name="T21" fmla="*/ 114 h 238"/>
                <a:gd name="T22" fmla="*/ 95 w 153"/>
                <a:gd name="T23" fmla="*/ 105 h 238"/>
                <a:gd name="T24" fmla="*/ 105 w 153"/>
                <a:gd name="T25" fmla="*/ 95 h 238"/>
                <a:gd name="T26" fmla="*/ 133 w 153"/>
                <a:gd name="T27" fmla="*/ 85 h 238"/>
                <a:gd name="T28" fmla="*/ 153 w 153"/>
                <a:gd name="T29" fmla="*/ 66 h 238"/>
                <a:gd name="T30" fmla="*/ 153 w 153"/>
                <a:gd name="T31" fmla="*/ 38 h 238"/>
                <a:gd name="T32" fmla="*/ 153 w 153"/>
                <a:gd name="T33" fmla="*/ 19 h 238"/>
                <a:gd name="T34" fmla="*/ 153 w 153"/>
                <a:gd name="T35" fmla="*/ 0 h 238"/>
                <a:gd name="T36" fmla="*/ 143 w 153"/>
                <a:gd name="T37" fmla="*/ 0 h 238"/>
                <a:gd name="T38" fmla="*/ 133 w 153"/>
                <a:gd name="T39" fmla="*/ 9 h 238"/>
                <a:gd name="T40" fmla="*/ 124 w 153"/>
                <a:gd name="T41" fmla="*/ 9 h 238"/>
                <a:gd name="T42" fmla="*/ 124 w 153"/>
                <a:gd name="T43" fmla="*/ 19 h 238"/>
                <a:gd name="T44" fmla="*/ 105 w 153"/>
                <a:gd name="T45" fmla="*/ 19 h 238"/>
                <a:gd name="T46" fmla="*/ 95 w 153"/>
                <a:gd name="T47" fmla="*/ 19 h 238"/>
                <a:gd name="T48" fmla="*/ 86 w 153"/>
                <a:gd name="T49" fmla="*/ 19 h 238"/>
                <a:gd name="T50" fmla="*/ 67 w 153"/>
                <a:gd name="T51" fmla="*/ 19 h 238"/>
                <a:gd name="T52" fmla="*/ 67 w 153"/>
                <a:gd name="T53" fmla="*/ 38 h 238"/>
                <a:gd name="T54" fmla="*/ 76 w 153"/>
                <a:gd name="T55" fmla="*/ 47 h 238"/>
                <a:gd name="T56" fmla="*/ 76 w 153"/>
                <a:gd name="T57" fmla="*/ 57 h 238"/>
                <a:gd name="T58" fmla="*/ 76 w 153"/>
                <a:gd name="T59" fmla="*/ 76 h 238"/>
                <a:gd name="T60" fmla="*/ 76 w 153"/>
                <a:gd name="T61" fmla="*/ 85 h 238"/>
                <a:gd name="T62" fmla="*/ 76 w 153"/>
                <a:gd name="T63" fmla="*/ 95 h 238"/>
                <a:gd name="T64" fmla="*/ 76 w 153"/>
                <a:gd name="T65" fmla="*/ 95 h 238"/>
                <a:gd name="T66" fmla="*/ 67 w 153"/>
                <a:gd name="T67" fmla="*/ 85 h 238"/>
                <a:gd name="T68" fmla="*/ 67 w 153"/>
                <a:gd name="T69" fmla="*/ 76 h 238"/>
                <a:gd name="T70" fmla="*/ 67 w 153"/>
                <a:gd name="T71" fmla="*/ 66 h 238"/>
                <a:gd name="T72" fmla="*/ 57 w 153"/>
                <a:gd name="T73" fmla="*/ 57 h 238"/>
                <a:gd name="T74" fmla="*/ 48 w 153"/>
                <a:gd name="T75" fmla="*/ 57 h 238"/>
                <a:gd name="T76" fmla="*/ 48 w 153"/>
                <a:gd name="T77" fmla="*/ 47 h 238"/>
                <a:gd name="T78" fmla="*/ 38 w 153"/>
                <a:gd name="T79" fmla="*/ 47 h 238"/>
                <a:gd name="T80" fmla="*/ 29 w 153"/>
                <a:gd name="T81" fmla="*/ 57 h 238"/>
                <a:gd name="T82" fmla="*/ 19 w 153"/>
                <a:gd name="T83" fmla="*/ 57 h 238"/>
                <a:gd name="T84" fmla="*/ 10 w 153"/>
                <a:gd name="T85" fmla="*/ 57 h 238"/>
                <a:gd name="T86" fmla="*/ 0 w 153"/>
                <a:gd name="T87" fmla="*/ 66 h 238"/>
                <a:gd name="T88" fmla="*/ 0 w 153"/>
                <a:gd name="T89" fmla="*/ 76 h 238"/>
                <a:gd name="T90" fmla="*/ 38 w 153"/>
                <a:gd name="T91" fmla="*/ 85 h 238"/>
                <a:gd name="T92" fmla="*/ 38 w 153"/>
                <a:gd name="T93" fmla="*/ 95 h 238"/>
                <a:gd name="T94" fmla="*/ 38 w 153"/>
                <a:gd name="T95" fmla="*/ 114 h 238"/>
                <a:gd name="T96" fmla="*/ 38 w 153"/>
                <a:gd name="T97" fmla="*/ 114 h 238"/>
                <a:gd name="T98" fmla="*/ 38 w 153"/>
                <a:gd name="T99" fmla="*/ 124 h 238"/>
                <a:gd name="T100" fmla="*/ 48 w 153"/>
                <a:gd name="T101" fmla="*/ 133 h 238"/>
                <a:gd name="T102" fmla="*/ 38 w 153"/>
                <a:gd name="T103" fmla="*/ 133 h 238"/>
                <a:gd name="T104" fmla="*/ 29 w 153"/>
                <a:gd name="T105" fmla="*/ 143 h 238"/>
                <a:gd name="T106" fmla="*/ 29 w 153"/>
                <a:gd name="T107" fmla="*/ 162 h 238"/>
                <a:gd name="T108" fmla="*/ 19 w 153"/>
                <a:gd name="T109" fmla="*/ 171 h 238"/>
                <a:gd name="T110" fmla="*/ 29 w 153"/>
                <a:gd name="T111" fmla="*/ 200 h 238"/>
                <a:gd name="T112" fmla="*/ 19 w 153"/>
                <a:gd name="T113" fmla="*/ 219 h 238"/>
                <a:gd name="T114" fmla="*/ 29 w 153"/>
                <a:gd name="T115" fmla="*/ 238 h 238"/>
                <a:gd name="T116" fmla="*/ 38 w 153"/>
                <a:gd name="T117" fmla="*/ 238 h 2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3"/>
                <a:gd name="T178" fmla="*/ 0 h 238"/>
                <a:gd name="T179" fmla="*/ 153 w 153"/>
                <a:gd name="T180" fmla="*/ 238 h 2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3" h="238">
                  <a:moveTo>
                    <a:pt x="38" y="238"/>
                  </a:moveTo>
                  <a:lnTo>
                    <a:pt x="38" y="229"/>
                  </a:lnTo>
                  <a:lnTo>
                    <a:pt x="38" y="219"/>
                  </a:lnTo>
                  <a:lnTo>
                    <a:pt x="48" y="209"/>
                  </a:lnTo>
                  <a:lnTo>
                    <a:pt x="67" y="209"/>
                  </a:lnTo>
                  <a:lnTo>
                    <a:pt x="76" y="190"/>
                  </a:lnTo>
                  <a:lnTo>
                    <a:pt x="76" y="162"/>
                  </a:lnTo>
                  <a:lnTo>
                    <a:pt x="67" y="133"/>
                  </a:lnTo>
                  <a:lnTo>
                    <a:pt x="67" y="124"/>
                  </a:lnTo>
                  <a:lnTo>
                    <a:pt x="76" y="124"/>
                  </a:lnTo>
                  <a:lnTo>
                    <a:pt x="86" y="114"/>
                  </a:lnTo>
                  <a:lnTo>
                    <a:pt x="95" y="105"/>
                  </a:lnTo>
                  <a:lnTo>
                    <a:pt x="105" y="95"/>
                  </a:lnTo>
                  <a:lnTo>
                    <a:pt x="133" y="85"/>
                  </a:lnTo>
                  <a:lnTo>
                    <a:pt x="153" y="66"/>
                  </a:lnTo>
                  <a:lnTo>
                    <a:pt x="153" y="38"/>
                  </a:lnTo>
                  <a:lnTo>
                    <a:pt x="153" y="19"/>
                  </a:lnTo>
                  <a:lnTo>
                    <a:pt x="153" y="0"/>
                  </a:lnTo>
                  <a:lnTo>
                    <a:pt x="143" y="0"/>
                  </a:lnTo>
                  <a:lnTo>
                    <a:pt x="133" y="9"/>
                  </a:lnTo>
                  <a:lnTo>
                    <a:pt x="124" y="9"/>
                  </a:lnTo>
                  <a:lnTo>
                    <a:pt x="124" y="19"/>
                  </a:lnTo>
                  <a:lnTo>
                    <a:pt x="105" y="19"/>
                  </a:lnTo>
                  <a:lnTo>
                    <a:pt x="95" y="19"/>
                  </a:lnTo>
                  <a:lnTo>
                    <a:pt x="86" y="19"/>
                  </a:lnTo>
                  <a:lnTo>
                    <a:pt x="67" y="19"/>
                  </a:lnTo>
                  <a:lnTo>
                    <a:pt x="67" y="38"/>
                  </a:lnTo>
                  <a:lnTo>
                    <a:pt x="76" y="47"/>
                  </a:lnTo>
                  <a:lnTo>
                    <a:pt x="76" y="57"/>
                  </a:lnTo>
                  <a:lnTo>
                    <a:pt x="76" y="76"/>
                  </a:lnTo>
                  <a:lnTo>
                    <a:pt x="76" y="85"/>
                  </a:lnTo>
                  <a:lnTo>
                    <a:pt x="76" y="95"/>
                  </a:lnTo>
                  <a:lnTo>
                    <a:pt x="67" y="85"/>
                  </a:lnTo>
                  <a:lnTo>
                    <a:pt x="67" y="76"/>
                  </a:lnTo>
                  <a:lnTo>
                    <a:pt x="67" y="66"/>
                  </a:lnTo>
                  <a:lnTo>
                    <a:pt x="57" y="57"/>
                  </a:lnTo>
                  <a:lnTo>
                    <a:pt x="48" y="57"/>
                  </a:lnTo>
                  <a:lnTo>
                    <a:pt x="48" y="47"/>
                  </a:lnTo>
                  <a:lnTo>
                    <a:pt x="38" y="47"/>
                  </a:lnTo>
                  <a:lnTo>
                    <a:pt x="29" y="57"/>
                  </a:lnTo>
                  <a:lnTo>
                    <a:pt x="19" y="57"/>
                  </a:lnTo>
                  <a:lnTo>
                    <a:pt x="10" y="57"/>
                  </a:lnTo>
                  <a:lnTo>
                    <a:pt x="0" y="66"/>
                  </a:lnTo>
                  <a:lnTo>
                    <a:pt x="0" y="76"/>
                  </a:lnTo>
                  <a:lnTo>
                    <a:pt x="38" y="85"/>
                  </a:lnTo>
                  <a:lnTo>
                    <a:pt x="38" y="95"/>
                  </a:lnTo>
                  <a:lnTo>
                    <a:pt x="38" y="114"/>
                  </a:lnTo>
                  <a:lnTo>
                    <a:pt x="38" y="124"/>
                  </a:lnTo>
                  <a:lnTo>
                    <a:pt x="48" y="133"/>
                  </a:lnTo>
                  <a:lnTo>
                    <a:pt x="38" y="133"/>
                  </a:lnTo>
                  <a:lnTo>
                    <a:pt x="29" y="143"/>
                  </a:lnTo>
                  <a:lnTo>
                    <a:pt x="29" y="162"/>
                  </a:lnTo>
                  <a:lnTo>
                    <a:pt x="19" y="171"/>
                  </a:lnTo>
                  <a:lnTo>
                    <a:pt x="29" y="200"/>
                  </a:lnTo>
                  <a:lnTo>
                    <a:pt x="19" y="219"/>
                  </a:lnTo>
                  <a:lnTo>
                    <a:pt x="29" y="238"/>
                  </a:lnTo>
                  <a:lnTo>
                    <a:pt x="38" y="2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84" name="Freeform 162">
              <a:extLst>
                <a:ext uri="{FF2B5EF4-FFF2-40B4-BE49-F238E27FC236}">
                  <a16:creationId xmlns:a16="http://schemas.microsoft.com/office/drawing/2014/main" id="{83D1ACAC-97E7-4F28-A744-F294518E200D}"/>
                </a:ext>
              </a:extLst>
            </p:cNvPr>
            <p:cNvSpPr>
              <a:spLocks/>
            </p:cNvSpPr>
            <p:nvPr/>
          </p:nvSpPr>
          <p:spPr bwMode="gray">
            <a:xfrm>
              <a:off x="3189" y="2805"/>
              <a:ext cx="115" cy="124"/>
            </a:xfrm>
            <a:custGeom>
              <a:avLst/>
              <a:gdLst>
                <a:gd name="T0" fmla="*/ 76 w 115"/>
                <a:gd name="T1" fmla="*/ 124 h 124"/>
                <a:gd name="T2" fmla="*/ 86 w 115"/>
                <a:gd name="T3" fmla="*/ 105 h 124"/>
                <a:gd name="T4" fmla="*/ 86 w 115"/>
                <a:gd name="T5" fmla="*/ 96 h 124"/>
                <a:gd name="T6" fmla="*/ 96 w 115"/>
                <a:gd name="T7" fmla="*/ 96 h 124"/>
                <a:gd name="T8" fmla="*/ 96 w 115"/>
                <a:gd name="T9" fmla="*/ 86 h 124"/>
                <a:gd name="T10" fmla="*/ 105 w 115"/>
                <a:gd name="T11" fmla="*/ 86 h 124"/>
                <a:gd name="T12" fmla="*/ 115 w 115"/>
                <a:gd name="T13" fmla="*/ 76 h 124"/>
                <a:gd name="T14" fmla="*/ 105 w 115"/>
                <a:gd name="T15" fmla="*/ 67 h 124"/>
                <a:gd name="T16" fmla="*/ 105 w 115"/>
                <a:gd name="T17" fmla="*/ 10 h 124"/>
                <a:gd name="T18" fmla="*/ 115 w 115"/>
                <a:gd name="T19" fmla="*/ 10 h 124"/>
                <a:gd name="T20" fmla="*/ 86 w 115"/>
                <a:gd name="T21" fmla="*/ 0 h 124"/>
                <a:gd name="T22" fmla="*/ 76 w 115"/>
                <a:gd name="T23" fmla="*/ 10 h 124"/>
                <a:gd name="T24" fmla="*/ 57 w 115"/>
                <a:gd name="T25" fmla="*/ 10 h 124"/>
                <a:gd name="T26" fmla="*/ 38 w 115"/>
                <a:gd name="T27" fmla="*/ 0 h 124"/>
                <a:gd name="T28" fmla="*/ 29 w 115"/>
                <a:gd name="T29" fmla="*/ 0 h 124"/>
                <a:gd name="T30" fmla="*/ 0 w 115"/>
                <a:gd name="T31" fmla="*/ 0 h 124"/>
                <a:gd name="T32" fmla="*/ 0 w 115"/>
                <a:gd name="T33" fmla="*/ 10 h 124"/>
                <a:gd name="T34" fmla="*/ 19 w 115"/>
                <a:gd name="T35" fmla="*/ 29 h 124"/>
                <a:gd name="T36" fmla="*/ 19 w 115"/>
                <a:gd name="T37" fmla="*/ 38 h 124"/>
                <a:gd name="T38" fmla="*/ 0 w 115"/>
                <a:gd name="T39" fmla="*/ 48 h 124"/>
                <a:gd name="T40" fmla="*/ 0 w 115"/>
                <a:gd name="T41" fmla="*/ 67 h 124"/>
                <a:gd name="T42" fmla="*/ 19 w 115"/>
                <a:gd name="T43" fmla="*/ 86 h 124"/>
                <a:gd name="T44" fmla="*/ 48 w 115"/>
                <a:gd name="T45" fmla="*/ 96 h 124"/>
                <a:gd name="T46" fmla="*/ 48 w 115"/>
                <a:gd name="T47" fmla="*/ 105 h 124"/>
                <a:gd name="T48" fmla="*/ 48 w 115"/>
                <a:gd name="T49" fmla="*/ 105 h 124"/>
                <a:gd name="T50" fmla="*/ 76 w 115"/>
                <a:gd name="T51" fmla="*/ 124 h 1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5"/>
                <a:gd name="T79" fmla="*/ 0 h 124"/>
                <a:gd name="T80" fmla="*/ 115 w 115"/>
                <a:gd name="T81" fmla="*/ 124 h 1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5" h="124">
                  <a:moveTo>
                    <a:pt x="76" y="124"/>
                  </a:moveTo>
                  <a:lnTo>
                    <a:pt x="86" y="105"/>
                  </a:lnTo>
                  <a:lnTo>
                    <a:pt x="86" y="96"/>
                  </a:lnTo>
                  <a:lnTo>
                    <a:pt x="96" y="96"/>
                  </a:lnTo>
                  <a:lnTo>
                    <a:pt x="96" y="86"/>
                  </a:lnTo>
                  <a:lnTo>
                    <a:pt x="105" y="86"/>
                  </a:lnTo>
                  <a:lnTo>
                    <a:pt x="115" y="76"/>
                  </a:lnTo>
                  <a:lnTo>
                    <a:pt x="105" y="67"/>
                  </a:lnTo>
                  <a:lnTo>
                    <a:pt x="105" y="10"/>
                  </a:lnTo>
                  <a:lnTo>
                    <a:pt x="115" y="10"/>
                  </a:lnTo>
                  <a:lnTo>
                    <a:pt x="86" y="0"/>
                  </a:lnTo>
                  <a:lnTo>
                    <a:pt x="76" y="10"/>
                  </a:lnTo>
                  <a:lnTo>
                    <a:pt x="57" y="10"/>
                  </a:lnTo>
                  <a:lnTo>
                    <a:pt x="38" y="0"/>
                  </a:lnTo>
                  <a:lnTo>
                    <a:pt x="29" y="0"/>
                  </a:lnTo>
                  <a:lnTo>
                    <a:pt x="0" y="0"/>
                  </a:lnTo>
                  <a:lnTo>
                    <a:pt x="0" y="10"/>
                  </a:lnTo>
                  <a:lnTo>
                    <a:pt x="19" y="29"/>
                  </a:lnTo>
                  <a:lnTo>
                    <a:pt x="19" y="38"/>
                  </a:lnTo>
                  <a:lnTo>
                    <a:pt x="0" y="48"/>
                  </a:lnTo>
                  <a:lnTo>
                    <a:pt x="0" y="67"/>
                  </a:lnTo>
                  <a:lnTo>
                    <a:pt x="19" y="86"/>
                  </a:lnTo>
                  <a:lnTo>
                    <a:pt x="48" y="96"/>
                  </a:lnTo>
                  <a:lnTo>
                    <a:pt x="48" y="105"/>
                  </a:lnTo>
                  <a:lnTo>
                    <a:pt x="76" y="12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85" name="Freeform 163">
              <a:extLst>
                <a:ext uri="{FF2B5EF4-FFF2-40B4-BE49-F238E27FC236}">
                  <a16:creationId xmlns:a16="http://schemas.microsoft.com/office/drawing/2014/main" id="{69FDA224-D428-4271-BF17-DE30C246F367}"/>
                </a:ext>
              </a:extLst>
            </p:cNvPr>
            <p:cNvSpPr>
              <a:spLocks/>
            </p:cNvSpPr>
            <p:nvPr/>
          </p:nvSpPr>
          <p:spPr bwMode="gray">
            <a:xfrm>
              <a:off x="3532" y="1374"/>
              <a:ext cx="1954" cy="859"/>
            </a:xfrm>
            <a:custGeom>
              <a:avLst/>
              <a:gdLst>
                <a:gd name="T0" fmla="*/ 1506 w 1954"/>
                <a:gd name="T1" fmla="*/ 420 h 859"/>
                <a:gd name="T2" fmla="*/ 1440 w 1954"/>
                <a:gd name="T3" fmla="*/ 486 h 859"/>
                <a:gd name="T4" fmla="*/ 1363 w 1954"/>
                <a:gd name="T5" fmla="*/ 477 h 859"/>
                <a:gd name="T6" fmla="*/ 1249 w 1954"/>
                <a:gd name="T7" fmla="*/ 496 h 859"/>
                <a:gd name="T8" fmla="*/ 1163 w 1954"/>
                <a:gd name="T9" fmla="*/ 601 h 859"/>
                <a:gd name="T10" fmla="*/ 1240 w 1954"/>
                <a:gd name="T11" fmla="*/ 639 h 859"/>
                <a:gd name="T12" fmla="*/ 1192 w 1954"/>
                <a:gd name="T13" fmla="*/ 782 h 859"/>
                <a:gd name="T14" fmla="*/ 1087 w 1954"/>
                <a:gd name="T15" fmla="*/ 849 h 859"/>
                <a:gd name="T16" fmla="*/ 1106 w 1954"/>
                <a:gd name="T17" fmla="*/ 754 h 859"/>
                <a:gd name="T18" fmla="*/ 934 w 1954"/>
                <a:gd name="T19" fmla="*/ 649 h 859"/>
                <a:gd name="T20" fmla="*/ 772 w 1954"/>
                <a:gd name="T21" fmla="*/ 725 h 859"/>
                <a:gd name="T22" fmla="*/ 572 w 1954"/>
                <a:gd name="T23" fmla="*/ 706 h 859"/>
                <a:gd name="T24" fmla="*/ 410 w 1954"/>
                <a:gd name="T25" fmla="*/ 715 h 859"/>
                <a:gd name="T26" fmla="*/ 220 w 1954"/>
                <a:gd name="T27" fmla="*/ 610 h 859"/>
                <a:gd name="T28" fmla="*/ 48 w 1954"/>
                <a:gd name="T29" fmla="*/ 649 h 859"/>
                <a:gd name="T30" fmla="*/ 10 w 1954"/>
                <a:gd name="T31" fmla="*/ 582 h 859"/>
                <a:gd name="T32" fmla="*/ 96 w 1954"/>
                <a:gd name="T33" fmla="*/ 238 h 859"/>
                <a:gd name="T34" fmla="*/ 153 w 1954"/>
                <a:gd name="T35" fmla="*/ 219 h 859"/>
                <a:gd name="T36" fmla="*/ 210 w 1954"/>
                <a:gd name="T37" fmla="*/ 124 h 859"/>
                <a:gd name="T38" fmla="*/ 229 w 1954"/>
                <a:gd name="T39" fmla="*/ 229 h 859"/>
                <a:gd name="T40" fmla="*/ 162 w 1954"/>
                <a:gd name="T41" fmla="*/ 276 h 859"/>
                <a:gd name="T42" fmla="*/ 286 w 1954"/>
                <a:gd name="T43" fmla="*/ 229 h 859"/>
                <a:gd name="T44" fmla="*/ 286 w 1954"/>
                <a:gd name="T45" fmla="*/ 219 h 859"/>
                <a:gd name="T46" fmla="*/ 258 w 1954"/>
                <a:gd name="T47" fmla="*/ 133 h 859"/>
                <a:gd name="T48" fmla="*/ 324 w 1954"/>
                <a:gd name="T49" fmla="*/ 181 h 859"/>
                <a:gd name="T50" fmla="*/ 296 w 1954"/>
                <a:gd name="T51" fmla="*/ 152 h 859"/>
                <a:gd name="T52" fmla="*/ 382 w 1954"/>
                <a:gd name="T53" fmla="*/ 190 h 859"/>
                <a:gd name="T54" fmla="*/ 372 w 1954"/>
                <a:gd name="T55" fmla="*/ 152 h 859"/>
                <a:gd name="T56" fmla="*/ 429 w 1954"/>
                <a:gd name="T57" fmla="*/ 105 h 859"/>
                <a:gd name="T58" fmla="*/ 429 w 1954"/>
                <a:gd name="T59" fmla="*/ 76 h 859"/>
                <a:gd name="T60" fmla="*/ 525 w 1954"/>
                <a:gd name="T61" fmla="*/ 47 h 859"/>
                <a:gd name="T62" fmla="*/ 582 w 1954"/>
                <a:gd name="T63" fmla="*/ 47 h 859"/>
                <a:gd name="T64" fmla="*/ 639 w 1954"/>
                <a:gd name="T65" fmla="*/ 28 h 859"/>
                <a:gd name="T66" fmla="*/ 649 w 1954"/>
                <a:gd name="T67" fmla="*/ 9 h 859"/>
                <a:gd name="T68" fmla="*/ 734 w 1954"/>
                <a:gd name="T69" fmla="*/ 19 h 859"/>
                <a:gd name="T70" fmla="*/ 830 w 1954"/>
                <a:gd name="T71" fmla="*/ 38 h 859"/>
                <a:gd name="T72" fmla="*/ 772 w 1954"/>
                <a:gd name="T73" fmla="*/ 85 h 859"/>
                <a:gd name="T74" fmla="*/ 744 w 1954"/>
                <a:gd name="T75" fmla="*/ 124 h 859"/>
                <a:gd name="T76" fmla="*/ 811 w 1954"/>
                <a:gd name="T77" fmla="*/ 105 h 859"/>
                <a:gd name="T78" fmla="*/ 915 w 1954"/>
                <a:gd name="T79" fmla="*/ 114 h 859"/>
                <a:gd name="T80" fmla="*/ 973 w 1954"/>
                <a:gd name="T81" fmla="*/ 105 h 859"/>
                <a:gd name="T82" fmla="*/ 1058 w 1954"/>
                <a:gd name="T83" fmla="*/ 133 h 859"/>
                <a:gd name="T84" fmla="*/ 1097 w 1954"/>
                <a:gd name="T85" fmla="*/ 181 h 859"/>
                <a:gd name="T86" fmla="*/ 1211 w 1954"/>
                <a:gd name="T87" fmla="*/ 162 h 859"/>
                <a:gd name="T88" fmla="*/ 1259 w 1954"/>
                <a:gd name="T89" fmla="*/ 133 h 859"/>
                <a:gd name="T90" fmla="*/ 1325 w 1954"/>
                <a:gd name="T91" fmla="*/ 143 h 859"/>
                <a:gd name="T92" fmla="*/ 1459 w 1954"/>
                <a:gd name="T93" fmla="*/ 171 h 859"/>
                <a:gd name="T94" fmla="*/ 1545 w 1954"/>
                <a:gd name="T95" fmla="*/ 210 h 859"/>
                <a:gd name="T96" fmla="*/ 1668 w 1954"/>
                <a:gd name="T97" fmla="*/ 210 h 859"/>
                <a:gd name="T98" fmla="*/ 1783 w 1954"/>
                <a:gd name="T99" fmla="*/ 210 h 859"/>
                <a:gd name="T100" fmla="*/ 1888 w 1954"/>
                <a:gd name="T101" fmla="*/ 267 h 859"/>
                <a:gd name="T102" fmla="*/ 1945 w 1954"/>
                <a:gd name="T103" fmla="*/ 295 h 859"/>
                <a:gd name="T104" fmla="*/ 1869 w 1954"/>
                <a:gd name="T105" fmla="*/ 315 h 859"/>
                <a:gd name="T106" fmla="*/ 1811 w 1954"/>
                <a:gd name="T107" fmla="*/ 324 h 859"/>
                <a:gd name="T108" fmla="*/ 1783 w 1954"/>
                <a:gd name="T109" fmla="*/ 343 h 859"/>
                <a:gd name="T110" fmla="*/ 1754 w 1954"/>
                <a:gd name="T111" fmla="*/ 410 h 859"/>
                <a:gd name="T112" fmla="*/ 1649 w 1954"/>
                <a:gd name="T113" fmla="*/ 448 h 859"/>
                <a:gd name="T114" fmla="*/ 1554 w 1954"/>
                <a:gd name="T115" fmla="*/ 505 h 859"/>
                <a:gd name="T116" fmla="*/ 1545 w 1954"/>
                <a:gd name="T117" fmla="*/ 572 h 859"/>
                <a:gd name="T118" fmla="*/ 1468 w 1954"/>
                <a:gd name="T119" fmla="*/ 687 h 859"/>
                <a:gd name="T120" fmla="*/ 1478 w 1954"/>
                <a:gd name="T121" fmla="*/ 524 h 859"/>
                <a:gd name="T122" fmla="*/ 1573 w 1954"/>
                <a:gd name="T123" fmla="*/ 420 h 8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54"/>
                <a:gd name="T187" fmla="*/ 0 h 859"/>
                <a:gd name="T188" fmla="*/ 1954 w 1954"/>
                <a:gd name="T189" fmla="*/ 859 h 85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54" h="859">
                  <a:moveTo>
                    <a:pt x="1545" y="429"/>
                  </a:moveTo>
                  <a:lnTo>
                    <a:pt x="1545" y="429"/>
                  </a:lnTo>
                  <a:lnTo>
                    <a:pt x="1535" y="439"/>
                  </a:lnTo>
                  <a:lnTo>
                    <a:pt x="1525" y="448"/>
                  </a:lnTo>
                  <a:lnTo>
                    <a:pt x="1516" y="448"/>
                  </a:lnTo>
                  <a:lnTo>
                    <a:pt x="1516" y="439"/>
                  </a:lnTo>
                  <a:lnTo>
                    <a:pt x="1516" y="429"/>
                  </a:lnTo>
                  <a:lnTo>
                    <a:pt x="1525" y="420"/>
                  </a:lnTo>
                  <a:lnTo>
                    <a:pt x="1516" y="420"/>
                  </a:lnTo>
                  <a:lnTo>
                    <a:pt x="1506" y="420"/>
                  </a:lnTo>
                  <a:lnTo>
                    <a:pt x="1497" y="420"/>
                  </a:lnTo>
                  <a:lnTo>
                    <a:pt x="1478" y="420"/>
                  </a:lnTo>
                  <a:lnTo>
                    <a:pt x="1468" y="429"/>
                  </a:lnTo>
                  <a:lnTo>
                    <a:pt x="1468" y="439"/>
                  </a:lnTo>
                  <a:lnTo>
                    <a:pt x="1449" y="448"/>
                  </a:lnTo>
                  <a:lnTo>
                    <a:pt x="1449" y="458"/>
                  </a:lnTo>
                  <a:lnTo>
                    <a:pt x="1440" y="458"/>
                  </a:lnTo>
                  <a:lnTo>
                    <a:pt x="1440" y="467"/>
                  </a:lnTo>
                  <a:lnTo>
                    <a:pt x="1430" y="477"/>
                  </a:lnTo>
                  <a:lnTo>
                    <a:pt x="1440" y="477"/>
                  </a:lnTo>
                  <a:lnTo>
                    <a:pt x="1440" y="486"/>
                  </a:lnTo>
                  <a:lnTo>
                    <a:pt x="1430" y="496"/>
                  </a:lnTo>
                  <a:lnTo>
                    <a:pt x="1421" y="486"/>
                  </a:lnTo>
                  <a:lnTo>
                    <a:pt x="1411" y="496"/>
                  </a:lnTo>
                  <a:lnTo>
                    <a:pt x="1402" y="496"/>
                  </a:lnTo>
                  <a:lnTo>
                    <a:pt x="1392" y="496"/>
                  </a:lnTo>
                  <a:lnTo>
                    <a:pt x="1402" y="486"/>
                  </a:lnTo>
                  <a:lnTo>
                    <a:pt x="1392" y="477"/>
                  </a:lnTo>
                  <a:lnTo>
                    <a:pt x="1373" y="477"/>
                  </a:lnTo>
                  <a:lnTo>
                    <a:pt x="1363" y="477"/>
                  </a:lnTo>
                  <a:lnTo>
                    <a:pt x="1354" y="477"/>
                  </a:lnTo>
                  <a:lnTo>
                    <a:pt x="1354" y="486"/>
                  </a:lnTo>
                  <a:lnTo>
                    <a:pt x="1344" y="486"/>
                  </a:lnTo>
                  <a:lnTo>
                    <a:pt x="1325" y="486"/>
                  </a:lnTo>
                  <a:lnTo>
                    <a:pt x="1316" y="496"/>
                  </a:lnTo>
                  <a:lnTo>
                    <a:pt x="1306" y="496"/>
                  </a:lnTo>
                  <a:lnTo>
                    <a:pt x="1306" y="486"/>
                  </a:lnTo>
                  <a:lnTo>
                    <a:pt x="1297" y="486"/>
                  </a:lnTo>
                  <a:lnTo>
                    <a:pt x="1287" y="486"/>
                  </a:lnTo>
                  <a:lnTo>
                    <a:pt x="1278" y="486"/>
                  </a:lnTo>
                  <a:lnTo>
                    <a:pt x="1259" y="486"/>
                  </a:lnTo>
                  <a:lnTo>
                    <a:pt x="1249" y="496"/>
                  </a:lnTo>
                  <a:lnTo>
                    <a:pt x="1249" y="505"/>
                  </a:lnTo>
                  <a:lnTo>
                    <a:pt x="1230" y="515"/>
                  </a:lnTo>
                  <a:lnTo>
                    <a:pt x="1230" y="524"/>
                  </a:lnTo>
                  <a:lnTo>
                    <a:pt x="1211" y="544"/>
                  </a:lnTo>
                  <a:lnTo>
                    <a:pt x="1201" y="553"/>
                  </a:lnTo>
                  <a:lnTo>
                    <a:pt x="1201" y="563"/>
                  </a:lnTo>
                  <a:lnTo>
                    <a:pt x="1182" y="572"/>
                  </a:lnTo>
                  <a:lnTo>
                    <a:pt x="1182" y="582"/>
                  </a:lnTo>
                  <a:lnTo>
                    <a:pt x="1173" y="582"/>
                  </a:lnTo>
                  <a:lnTo>
                    <a:pt x="1163" y="591"/>
                  </a:lnTo>
                  <a:lnTo>
                    <a:pt x="1154" y="601"/>
                  </a:lnTo>
                  <a:lnTo>
                    <a:pt x="1163" y="601"/>
                  </a:lnTo>
                  <a:lnTo>
                    <a:pt x="1173" y="610"/>
                  </a:lnTo>
                  <a:lnTo>
                    <a:pt x="1173" y="620"/>
                  </a:lnTo>
                  <a:lnTo>
                    <a:pt x="1182" y="620"/>
                  </a:lnTo>
                  <a:lnTo>
                    <a:pt x="1182" y="610"/>
                  </a:lnTo>
                  <a:lnTo>
                    <a:pt x="1192" y="620"/>
                  </a:lnTo>
                  <a:lnTo>
                    <a:pt x="1192" y="629"/>
                  </a:lnTo>
                  <a:lnTo>
                    <a:pt x="1201" y="629"/>
                  </a:lnTo>
                  <a:lnTo>
                    <a:pt x="1201" y="610"/>
                  </a:lnTo>
                  <a:lnTo>
                    <a:pt x="1220" y="620"/>
                  </a:lnTo>
                  <a:lnTo>
                    <a:pt x="1230" y="629"/>
                  </a:lnTo>
                  <a:lnTo>
                    <a:pt x="1240" y="639"/>
                  </a:lnTo>
                  <a:lnTo>
                    <a:pt x="1240" y="649"/>
                  </a:lnTo>
                  <a:lnTo>
                    <a:pt x="1230" y="639"/>
                  </a:lnTo>
                  <a:lnTo>
                    <a:pt x="1230" y="649"/>
                  </a:lnTo>
                  <a:lnTo>
                    <a:pt x="1240" y="658"/>
                  </a:lnTo>
                  <a:lnTo>
                    <a:pt x="1240" y="668"/>
                  </a:lnTo>
                  <a:lnTo>
                    <a:pt x="1230" y="687"/>
                  </a:lnTo>
                  <a:lnTo>
                    <a:pt x="1230" y="696"/>
                  </a:lnTo>
                  <a:lnTo>
                    <a:pt x="1230" y="706"/>
                  </a:lnTo>
                  <a:lnTo>
                    <a:pt x="1230" y="715"/>
                  </a:lnTo>
                  <a:lnTo>
                    <a:pt x="1230" y="725"/>
                  </a:lnTo>
                  <a:lnTo>
                    <a:pt x="1220" y="744"/>
                  </a:lnTo>
                  <a:lnTo>
                    <a:pt x="1220" y="754"/>
                  </a:lnTo>
                  <a:lnTo>
                    <a:pt x="1201" y="763"/>
                  </a:lnTo>
                  <a:lnTo>
                    <a:pt x="1192" y="782"/>
                  </a:lnTo>
                  <a:lnTo>
                    <a:pt x="1192" y="792"/>
                  </a:lnTo>
                  <a:lnTo>
                    <a:pt x="1182" y="801"/>
                  </a:lnTo>
                  <a:lnTo>
                    <a:pt x="1163" y="820"/>
                  </a:lnTo>
                  <a:lnTo>
                    <a:pt x="1154" y="839"/>
                  </a:lnTo>
                  <a:lnTo>
                    <a:pt x="1135" y="849"/>
                  </a:lnTo>
                  <a:lnTo>
                    <a:pt x="1125" y="849"/>
                  </a:lnTo>
                  <a:lnTo>
                    <a:pt x="1116" y="849"/>
                  </a:lnTo>
                  <a:lnTo>
                    <a:pt x="1106" y="839"/>
                  </a:lnTo>
                  <a:lnTo>
                    <a:pt x="1097" y="849"/>
                  </a:lnTo>
                  <a:lnTo>
                    <a:pt x="1087" y="859"/>
                  </a:lnTo>
                  <a:lnTo>
                    <a:pt x="1087" y="849"/>
                  </a:lnTo>
                  <a:lnTo>
                    <a:pt x="1077" y="849"/>
                  </a:lnTo>
                  <a:lnTo>
                    <a:pt x="1097" y="839"/>
                  </a:lnTo>
                  <a:lnTo>
                    <a:pt x="1097" y="830"/>
                  </a:lnTo>
                  <a:lnTo>
                    <a:pt x="1087" y="811"/>
                  </a:lnTo>
                  <a:lnTo>
                    <a:pt x="1106" y="801"/>
                  </a:lnTo>
                  <a:lnTo>
                    <a:pt x="1116" y="811"/>
                  </a:lnTo>
                  <a:lnTo>
                    <a:pt x="1125" y="801"/>
                  </a:lnTo>
                  <a:lnTo>
                    <a:pt x="1135" y="773"/>
                  </a:lnTo>
                  <a:lnTo>
                    <a:pt x="1144" y="763"/>
                  </a:lnTo>
                  <a:lnTo>
                    <a:pt x="1154" y="734"/>
                  </a:lnTo>
                  <a:lnTo>
                    <a:pt x="1144" y="734"/>
                  </a:lnTo>
                  <a:lnTo>
                    <a:pt x="1125" y="744"/>
                  </a:lnTo>
                  <a:lnTo>
                    <a:pt x="1116" y="744"/>
                  </a:lnTo>
                  <a:lnTo>
                    <a:pt x="1106" y="754"/>
                  </a:lnTo>
                  <a:lnTo>
                    <a:pt x="1097" y="754"/>
                  </a:lnTo>
                  <a:lnTo>
                    <a:pt x="1087" y="734"/>
                  </a:lnTo>
                  <a:lnTo>
                    <a:pt x="1068" y="715"/>
                  </a:lnTo>
                  <a:lnTo>
                    <a:pt x="1058" y="715"/>
                  </a:lnTo>
                  <a:lnTo>
                    <a:pt x="1039" y="706"/>
                  </a:lnTo>
                  <a:lnTo>
                    <a:pt x="1039" y="687"/>
                  </a:lnTo>
                  <a:lnTo>
                    <a:pt x="1030" y="668"/>
                  </a:lnTo>
                  <a:lnTo>
                    <a:pt x="1030" y="658"/>
                  </a:lnTo>
                  <a:lnTo>
                    <a:pt x="1011" y="639"/>
                  </a:lnTo>
                  <a:lnTo>
                    <a:pt x="1001" y="629"/>
                  </a:lnTo>
                  <a:lnTo>
                    <a:pt x="973" y="629"/>
                  </a:lnTo>
                  <a:lnTo>
                    <a:pt x="944" y="629"/>
                  </a:lnTo>
                  <a:lnTo>
                    <a:pt x="925" y="649"/>
                  </a:lnTo>
                  <a:lnTo>
                    <a:pt x="934" y="649"/>
                  </a:lnTo>
                  <a:lnTo>
                    <a:pt x="934" y="658"/>
                  </a:lnTo>
                  <a:lnTo>
                    <a:pt x="925" y="668"/>
                  </a:lnTo>
                  <a:lnTo>
                    <a:pt x="925" y="687"/>
                  </a:lnTo>
                  <a:lnTo>
                    <a:pt x="915" y="696"/>
                  </a:lnTo>
                  <a:lnTo>
                    <a:pt x="915" y="706"/>
                  </a:lnTo>
                  <a:lnTo>
                    <a:pt x="887" y="715"/>
                  </a:lnTo>
                  <a:lnTo>
                    <a:pt x="868" y="715"/>
                  </a:lnTo>
                  <a:lnTo>
                    <a:pt x="849" y="706"/>
                  </a:lnTo>
                  <a:lnTo>
                    <a:pt x="839" y="696"/>
                  </a:lnTo>
                  <a:lnTo>
                    <a:pt x="830" y="715"/>
                  </a:lnTo>
                  <a:lnTo>
                    <a:pt x="811" y="725"/>
                  </a:lnTo>
                  <a:lnTo>
                    <a:pt x="792" y="725"/>
                  </a:lnTo>
                  <a:lnTo>
                    <a:pt x="772" y="725"/>
                  </a:lnTo>
                  <a:lnTo>
                    <a:pt x="772" y="715"/>
                  </a:lnTo>
                  <a:lnTo>
                    <a:pt x="753" y="715"/>
                  </a:lnTo>
                  <a:lnTo>
                    <a:pt x="744" y="706"/>
                  </a:lnTo>
                  <a:lnTo>
                    <a:pt x="706" y="696"/>
                  </a:lnTo>
                  <a:lnTo>
                    <a:pt x="677" y="706"/>
                  </a:lnTo>
                  <a:lnTo>
                    <a:pt x="658" y="677"/>
                  </a:lnTo>
                  <a:lnTo>
                    <a:pt x="620" y="668"/>
                  </a:lnTo>
                  <a:lnTo>
                    <a:pt x="610" y="677"/>
                  </a:lnTo>
                  <a:lnTo>
                    <a:pt x="601" y="687"/>
                  </a:lnTo>
                  <a:lnTo>
                    <a:pt x="601" y="696"/>
                  </a:lnTo>
                  <a:lnTo>
                    <a:pt x="601" y="706"/>
                  </a:lnTo>
                  <a:lnTo>
                    <a:pt x="582" y="715"/>
                  </a:lnTo>
                  <a:lnTo>
                    <a:pt x="582" y="706"/>
                  </a:lnTo>
                  <a:lnTo>
                    <a:pt x="572" y="706"/>
                  </a:lnTo>
                  <a:lnTo>
                    <a:pt x="563" y="715"/>
                  </a:lnTo>
                  <a:lnTo>
                    <a:pt x="544" y="696"/>
                  </a:lnTo>
                  <a:lnTo>
                    <a:pt x="534" y="696"/>
                  </a:lnTo>
                  <a:lnTo>
                    <a:pt x="515" y="687"/>
                  </a:lnTo>
                  <a:lnTo>
                    <a:pt x="506" y="687"/>
                  </a:lnTo>
                  <a:lnTo>
                    <a:pt x="496" y="696"/>
                  </a:lnTo>
                  <a:lnTo>
                    <a:pt x="486" y="696"/>
                  </a:lnTo>
                  <a:lnTo>
                    <a:pt x="477" y="715"/>
                  </a:lnTo>
                  <a:lnTo>
                    <a:pt x="448" y="715"/>
                  </a:lnTo>
                  <a:lnTo>
                    <a:pt x="448" y="725"/>
                  </a:lnTo>
                  <a:lnTo>
                    <a:pt x="439" y="725"/>
                  </a:lnTo>
                  <a:lnTo>
                    <a:pt x="410" y="715"/>
                  </a:lnTo>
                  <a:lnTo>
                    <a:pt x="391" y="687"/>
                  </a:lnTo>
                  <a:lnTo>
                    <a:pt x="372" y="687"/>
                  </a:lnTo>
                  <a:lnTo>
                    <a:pt x="334" y="687"/>
                  </a:lnTo>
                  <a:lnTo>
                    <a:pt x="324" y="668"/>
                  </a:lnTo>
                  <a:lnTo>
                    <a:pt x="315" y="649"/>
                  </a:lnTo>
                  <a:lnTo>
                    <a:pt x="296" y="639"/>
                  </a:lnTo>
                  <a:lnTo>
                    <a:pt x="286" y="620"/>
                  </a:lnTo>
                  <a:lnTo>
                    <a:pt x="286" y="610"/>
                  </a:lnTo>
                  <a:lnTo>
                    <a:pt x="267" y="610"/>
                  </a:lnTo>
                  <a:lnTo>
                    <a:pt x="258" y="620"/>
                  </a:lnTo>
                  <a:lnTo>
                    <a:pt x="258" y="629"/>
                  </a:lnTo>
                  <a:lnTo>
                    <a:pt x="239" y="629"/>
                  </a:lnTo>
                  <a:lnTo>
                    <a:pt x="239" y="620"/>
                  </a:lnTo>
                  <a:lnTo>
                    <a:pt x="220" y="610"/>
                  </a:lnTo>
                  <a:lnTo>
                    <a:pt x="201" y="610"/>
                  </a:lnTo>
                  <a:lnTo>
                    <a:pt x="201" y="601"/>
                  </a:lnTo>
                  <a:lnTo>
                    <a:pt x="191" y="591"/>
                  </a:lnTo>
                  <a:lnTo>
                    <a:pt x="172" y="591"/>
                  </a:lnTo>
                  <a:lnTo>
                    <a:pt x="153" y="591"/>
                  </a:lnTo>
                  <a:lnTo>
                    <a:pt x="134" y="601"/>
                  </a:lnTo>
                  <a:lnTo>
                    <a:pt x="96" y="620"/>
                  </a:lnTo>
                  <a:lnTo>
                    <a:pt x="67" y="629"/>
                  </a:lnTo>
                  <a:lnTo>
                    <a:pt x="48" y="629"/>
                  </a:lnTo>
                  <a:lnTo>
                    <a:pt x="48" y="639"/>
                  </a:lnTo>
                  <a:lnTo>
                    <a:pt x="67" y="639"/>
                  </a:lnTo>
                  <a:lnTo>
                    <a:pt x="48" y="649"/>
                  </a:lnTo>
                  <a:lnTo>
                    <a:pt x="58" y="658"/>
                  </a:lnTo>
                  <a:lnTo>
                    <a:pt x="58" y="668"/>
                  </a:lnTo>
                  <a:lnTo>
                    <a:pt x="48" y="668"/>
                  </a:lnTo>
                  <a:lnTo>
                    <a:pt x="48" y="677"/>
                  </a:lnTo>
                  <a:lnTo>
                    <a:pt x="58" y="677"/>
                  </a:lnTo>
                  <a:lnTo>
                    <a:pt x="58" y="696"/>
                  </a:lnTo>
                  <a:lnTo>
                    <a:pt x="48" y="696"/>
                  </a:lnTo>
                  <a:lnTo>
                    <a:pt x="38" y="687"/>
                  </a:lnTo>
                  <a:lnTo>
                    <a:pt x="19" y="677"/>
                  </a:lnTo>
                  <a:lnTo>
                    <a:pt x="0" y="658"/>
                  </a:lnTo>
                  <a:lnTo>
                    <a:pt x="0" y="639"/>
                  </a:lnTo>
                  <a:lnTo>
                    <a:pt x="19" y="601"/>
                  </a:lnTo>
                  <a:lnTo>
                    <a:pt x="10" y="582"/>
                  </a:lnTo>
                  <a:lnTo>
                    <a:pt x="19" y="572"/>
                  </a:lnTo>
                  <a:lnTo>
                    <a:pt x="29" y="563"/>
                  </a:lnTo>
                  <a:lnTo>
                    <a:pt x="38" y="544"/>
                  </a:lnTo>
                  <a:lnTo>
                    <a:pt x="38" y="505"/>
                  </a:lnTo>
                  <a:lnTo>
                    <a:pt x="29" y="486"/>
                  </a:lnTo>
                  <a:lnTo>
                    <a:pt x="38" y="429"/>
                  </a:lnTo>
                  <a:lnTo>
                    <a:pt x="48" y="400"/>
                  </a:lnTo>
                  <a:lnTo>
                    <a:pt x="38" y="391"/>
                  </a:lnTo>
                  <a:lnTo>
                    <a:pt x="48" y="343"/>
                  </a:lnTo>
                  <a:lnTo>
                    <a:pt x="86" y="295"/>
                  </a:lnTo>
                  <a:lnTo>
                    <a:pt x="96" y="286"/>
                  </a:lnTo>
                  <a:lnTo>
                    <a:pt x="105" y="276"/>
                  </a:lnTo>
                  <a:lnTo>
                    <a:pt x="96" y="238"/>
                  </a:lnTo>
                  <a:lnTo>
                    <a:pt x="105" y="229"/>
                  </a:lnTo>
                  <a:lnTo>
                    <a:pt x="96" y="210"/>
                  </a:lnTo>
                  <a:lnTo>
                    <a:pt x="115" y="219"/>
                  </a:lnTo>
                  <a:lnTo>
                    <a:pt x="115" y="229"/>
                  </a:lnTo>
                  <a:lnTo>
                    <a:pt x="124" y="229"/>
                  </a:lnTo>
                  <a:lnTo>
                    <a:pt x="134" y="229"/>
                  </a:lnTo>
                  <a:lnTo>
                    <a:pt x="143" y="229"/>
                  </a:lnTo>
                  <a:lnTo>
                    <a:pt x="153" y="238"/>
                  </a:lnTo>
                  <a:lnTo>
                    <a:pt x="162" y="248"/>
                  </a:lnTo>
                  <a:lnTo>
                    <a:pt x="172" y="238"/>
                  </a:lnTo>
                  <a:lnTo>
                    <a:pt x="172" y="229"/>
                  </a:lnTo>
                  <a:lnTo>
                    <a:pt x="162" y="229"/>
                  </a:lnTo>
                  <a:lnTo>
                    <a:pt x="153" y="219"/>
                  </a:lnTo>
                  <a:lnTo>
                    <a:pt x="143" y="210"/>
                  </a:lnTo>
                  <a:lnTo>
                    <a:pt x="143" y="200"/>
                  </a:lnTo>
                  <a:lnTo>
                    <a:pt x="143" y="181"/>
                  </a:lnTo>
                  <a:lnTo>
                    <a:pt x="143" y="171"/>
                  </a:lnTo>
                  <a:lnTo>
                    <a:pt x="162" y="162"/>
                  </a:lnTo>
                  <a:lnTo>
                    <a:pt x="172" y="152"/>
                  </a:lnTo>
                  <a:lnTo>
                    <a:pt x="181" y="124"/>
                  </a:lnTo>
                  <a:lnTo>
                    <a:pt x="191" y="124"/>
                  </a:lnTo>
                  <a:lnTo>
                    <a:pt x="201" y="124"/>
                  </a:lnTo>
                  <a:lnTo>
                    <a:pt x="210" y="124"/>
                  </a:lnTo>
                  <a:lnTo>
                    <a:pt x="229" y="133"/>
                  </a:lnTo>
                  <a:lnTo>
                    <a:pt x="229" y="143"/>
                  </a:lnTo>
                  <a:lnTo>
                    <a:pt x="229" y="152"/>
                  </a:lnTo>
                  <a:lnTo>
                    <a:pt x="210" y="162"/>
                  </a:lnTo>
                  <a:lnTo>
                    <a:pt x="210" y="171"/>
                  </a:lnTo>
                  <a:lnTo>
                    <a:pt x="220" y="171"/>
                  </a:lnTo>
                  <a:lnTo>
                    <a:pt x="220" y="190"/>
                  </a:lnTo>
                  <a:lnTo>
                    <a:pt x="229" y="190"/>
                  </a:lnTo>
                  <a:lnTo>
                    <a:pt x="220" y="200"/>
                  </a:lnTo>
                  <a:lnTo>
                    <a:pt x="220" y="219"/>
                  </a:lnTo>
                  <a:lnTo>
                    <a:pt x="229" y="219"/>
                  </a:lnTo>
                  <a:lnTo>
                    <a:pt x="220" y="229"/>
                  </a:lnTo>
                  <a:lnTo>
                    <a:pt x="229" y="229"/>
                  </a:lnTo>
                  <a:lnTo>
                    <a:pt x="239" y="238"/>
                  </a:lnTo>
                  <a:lnTo>
                    <a:pt x="229" y="238"/>
                  </a:lnTo>
                  <a:lnTo>
                    <a:pt x="229" y="248"/>
                  </a:lnTo>
                  <a:lnTo>
                    <a:pt x="229" y="257"/>
                  </a:lnTo>
                  <a:lnTo>
                    <a:pt x="220" y="267"/>
                  </a:lnTo>
                  <a:lnTo>
                    <a:pt x="210" y="267"/>
                  </a:lnTo>
                  <a:lnTo>
                    <a:pt x="210" y="276"/>
                  </a:lnTo>
                  <a:lnTo>
                    <a:pt x="201" y="276"/>
                  </a:lnTo>
                  <a:lnTo>
                    <a:pt x="191" y="276"/>
                  </a:lnTo>
                  <a:lnTo>
                    <a:pt x="181" y="267"/>
                  </a:lnTo>
                  <a:lnTo>
                    <a:pt x="172" y="276"/>
                  </a:lnTo>
                  <a:lnTo>
                    <a:pt x="162" y="276"/>
                  </a:lnTo>
                  <a:lnTo>
                    <a:pt x="172" y="276"/>
                  </a:lnTo>
                  <a:lnTo>
                    <a:pt x="181" y="286"/>
                  </a:lnTo>
                  <a:lnTo>
                    <a:pt x="210" y="286"/>
                  </a:lnTo>
                  <a:lnTo>
                    <a:pt x="220" y="286"/>
                  </a:lnTo>
                  <a:lnTo>
                    <a:pt x="220" y="276"/>
                  </a:lnTo>
                  <a:lnTo>
                    <a:pt x="239" y="276"/>
                  </a:lnTo>
                  <a:lnTo>
                    <a:pt x="248" y="257"/>
                  </a:lnTo>
                  <a:lnTo>
                    <a:pt x="258" y="257"/>
                  </a:lnTo>
                  <a:lnTo>
                    <a:pt x="258" y="248"/>
                  </a:lnTo>
                  <a:lnTo>
                    <a:pt x="248" y="238"/>
                  </a:lnTo>
                  <a:lnTo>
                    <a:pt x="277" y="229"/>
                  </a:lnTo>
                  <a:lnTo>
                    <a:pt x="286" y="229"/>
                  </a:lnTo>
                  <a:lnTo>
                    <a:pt x="296" y="238"/>
                  </a:lnTo>
                  <a:lnTo>
                    <a:pt x="286" y="257"/>
                  </a:lnTo>
                  <a:lnTo>
                    <a:pt x="296" y="257"/>
                  </a:lnTo>
                  <a:lnTo>
                    <a:pt x="305" y="257"/>
                  </a:lnTo>
                  <a:lnTo>
                    <a:pt x="315" y="257"/>
                  </a:lnTo>
                  <a:lnTo>
                    <a:pt x="305" y="257"/>
                  </a:lnTo>
                  <a:lnTo>
                    <a:pt x="296" y="248"/>
                  </a:lnTo>
                  <a:lnTo>
                    <a:pt x="305" y="238"/>
                  </a:lnTo>
                  <a:lnTo>
                    <a:pt x="296" y="229"/>
                  </a:lnTo>
                  <a:lnTo>
                    <a:pt x="286" y="219"/>
                  </a:lnTo>
                  <a:lnTo>
                    <a:pt x="267" y="219"/>
                  </a:lnTo>
                  <a:lnTo>
                    <a:pt x="258" y="229"/>
                  </a:lnTo>
                  <a:lnTo>
                    <a:pt x="239" y="219"/>
                  </a:lnTo>
                  <a:lnTo>
                    <a:pt x="239" y="210"/>
                  </a:lnTo>
                  <a:lnTo>
                    <a:pt x="239" y="200"/>
                  </a:lnTo>
                  <a:lnTo>
                    <a:pt x="248" y="190"/>
                  </a:lnTo>
                  <a:lnTo>
                    <a:pt x="248" y="181"/>
                  </a:lnTo>
                  <a:lnTo>
                    <a:pt x="229" y="171"/>
                  </a:lnTo>
                  <a:lnTo>
                    <a:pt x="239" y="152"/>
                  </a:lnTo>
                  <a:lnTo>
                    <a:pt x="267" y="152"/>
                  </a:lnTo>
                  <a:lnTo>
                    <a:pt x="267" y="143"/>
                  </a:lnTo>
                  <a:lnTo>
                    <a:pt x="258" y="133"/>
                  </a:lnTo>
                  <a:lnTo>
                    <a:pt x="248" y="124"/>
                  </a:lnTo>
                  <a:lnTo>
                    <a:pt x="258" y="124"/>
                  </a:lnTo>
                  <a:lnTo>
                    <a:pt x="267" y="133"/>
                  </a:lnTo>
                  <a:lnTo>
                    <a:pt x="277" y="143"/>
                  </a:lnTo>
                  <a:lnTo>
                    <a:pt x="267" y="152"/>
                  </a:lnTo>
                  <a:lnTo>
                    <a:pt x="267" y="162"/>
                  </a:lnTo>
                  <a:lnTo>
                    <a:pt x="267" y="171"/>
                  </a:lnTo>
                  <a:lnTo>
                    <a:pt x="286" y="171"/>
                  </a:lnTo>
                  <a:lnTo>
                    <a:pt x="296" y="171"/>
                  </a:lnTo>
                  <a:lnTo>
                    <a:pt x="305" y="181"/>
                  </a:lnTo>
                  <a:lnTo>
                    <a:pt x="324" y="181"/>
                  </a:lnTo>
                  <a:lnTo>
                    <a:pt x="315" y="171"/>
                  </a:lnTo>
                  <a:lnTo>
                    <a:pt x="305" y="171"/>
                  </a:lnTo>
                  <a:lnTo>
                    <a:pt x="296" y="171"/>
                  </a:lnTo>
                  <a:lnTo>
                    <a:pt x="286" y="162"/>
                  </a:lnTo>
                  <a:lnTo>
                    <a:pt x="277" y="152"/>
                  </a:lnTo>
                  <a:lnTo>
                    <a:pt x="286" y="152"/>
                  </a:lnTo>
                  <a:lnTo>
                    <a:pt x="296" y="152"/>
                  </a:lnTo>
                  <a:lnTo>
                    <a:pt x="305" y="152"/>
                  </a:lnTo>
                  <a:lnTo>
                    <a:pt x="296" y="152"/>
                  </a:lnTo>
                  <a:lnTo>
                    <a:pt x="296" y="143"/>
                  </a:lnTo>
                  <a:lnTo>
                    <a:pt x="305" y="143"/>
                  </a:lnTo>
                  <a:lnTo>
                    <a:pt x="324" y="143"/>
                  </a:lnTo>
                  <a:lnTo>
                    <a:pt x="344" y="152"/>
                  </a:lnTo>
                  <a:lnTo>
                    <a:pt x="363" y="162"/>
                  </a:lnTo>
                  <a:lnTo>
                    <a:pt x="382" y="162"/>
                  </a:lnTo>
                  <a:lnTo>
                    <a:pt x="372" y="171"/>
                  </a:lnTo>
                  <a:lnTo>
                    <a:pt x="363" y="171"/>
                  </a:lnTo>
                  <a:lnTo>
                    <a:pt x="372" y="171"/>
                  </a:lnTo>
                  <a:lnTo>
                    <a:pt x="372" y="181"/>
                  </a:lnTo>
                  <a:lnTo>
                    <a:pt x="382" y="181"/>
                  </a:lnTo>
                  <a:lnTo>
                    <a:pt x="382" y="190"/>
                  </a:lnTo>
                  <a:lnTo>
                    <a:pt x="372" y="190"/>
                  </a:lnTo>
                  <a:lnTo>
                    <a:pt x="391" y="210"/>
                  </a:lnTo>
                  <a:lnTo>
                    <a:pt x="401" y="210"/>
                  </a:lnTo>
                  <a:lnTo>
                    <a:pt x="382" y="200"/>
                  </a:lnTo>
                  <a:lnTo>
                    <a:pt x="391" y="190"/>
                  </a:lnTo>
                  <a:lnTo>
                    <a:pt x="382" y="181"/>
                  </a:lnTo>
                  <a:lnTo>
                    <a:pt x="382" y="171"/>
                  </a:lnTo>
                  <a:lnTo>
                    <a:pt x="391" y="162"/>
                  </a:lnTo>
                  <a:lnTo>
                    <a:pt x="382" y="152"/>
                  </a:lnTo>
                  <a:lnTo>
                    <a:pt x="372" y="152"/>
                  </a:lnTo>
                  <a:lnTo>
                    <a:pt x="372" y="143"/>
                  </a:lnTo>
                  <a:lnTo>
                    <a:pt x="344" y="143"/>
                  </a:lnTo>
                  <a:lnTo>
                    <a:pt x="344" y="133"/>
                  </a:lnTo>
                  <a:lnTo>
                    <a:pt x="344" y="124"/>
                  </a:lnTo>
                  <a:lnTo>
                    <a:pt x="344" y="114"/>
                  </a:lnTo>
                  <a:lnTo>
                    <a:pt x="344" y="105"/>
                  </a:lnTo>
                  <a:lnTo>
                    <a:pt x="353" y="105"/>
                  </a:lnTo>
                  <a:lnTo>
                    <a:pt x="382" y="105"/>
                  </a:lnTo>
                  <a:lnTo>
                    <a:pt x="391" y="105"/>
                  </a:lnTo>
                  <a:lnTo>
                    <a:pt x="401" y="105"/>
                  </a:lnTo>
                  <a:lnTo>
                    <a:pt x="410" y="105"/>
                  </a:lnTo>
                  <a:lnTo>
                    <a:pt x="420" y="105"/>
                  </a:lnTo>
                  <a:lnTo>
                    <a:pt x="429" y="105"/>
                  </a:lnTo>
                  <a:lnTo>
                    <a:pt x="439" y="105"/>
                  </a:lnTo>
                  <a:lnTo>
                    <a:pt x="439" y="95"/>
                  </a:lnTo>
                  <a:lnTo>
                    <a:pt x="429" y="95"/>
                  </a:lnTo>
                  <a:lnTo>
                    <a:pt x="439" y="95"/>
                  </a:lnTo>
                  <a:lnTo>
                    <a:pt x="429" y="85"/>
                  </a:lnTo>
                  <a:lnTo>
                    <a:pt x="420" y="85"/>
                  </a:lnTo>
                  <a:lnTo>
                    <a:pt x="439" y="85"/>
                  </a:lnTo>
                  <a:lnTo>
                    <a:pt x="429" y="76"/>
                  </a:lnTo>
                  <a:lnTo>
                    <a:pt x="420" y="76"/>
                  </a:lnTo>
                  <a:lnTo>
                    <a:pt x="420" y="66"/>
                  </a:lnTo>
                  <a:lnTo>
                    <a:pt x="429" y="76"/>
                  </a:lnTo>
                  <a:lnTo>
                    <a:pt x="439" y="66"/>
                  </a:lnTo>
                  <a:lnTo>
                    <a:pt x="448" y="66"/>
                  </a:lnTo>
                  <a:lnTo>
                    <a:pt x="439" y="66"/>
                  </a:lnTo>
                  <a:lnTo>
                    <a:pt x="429" y="66"/>
                  </a:lnTo>
                  <a:lnTo>
                    <a:pt x="439" y="57"/>
                  </a:lnTo>
                  <a:lnTo>
                    <a:pt x="448" y="57"/>
                  </a:lnTo>
                  <a:lnTo>
                    <a:pt x="467" y="57"/>
                  </a:lnTo>
                  <a:lnTo>
                    <a:pt x="477" y="47"/>
                  </a:lnTo>
                  <a:lnTo>
                    <a:pt x="486" y="47"/>
                  </a:lnTo>
                  <a:lnTo>
                    <a:pt x="496" y="47"/>
                  </a:lnTo>
                  <a:lnTo>
                    <a:pt x="506" y="47"/>
                  </a:lnTo>
                  <a:lnTo>
                    <a:pt x="525" y="47"/>
                  </a:lnTo>
                  <a:lnTo>
                    <a:pt x="534" y="47"/>
                  </a:lnTo>
                  <a:lnTo>
                    <a:pt x="544" y="47"/>
                  </a:lnTo>
                  <a:lnTo>
                    <a:pt x="534" y="47"/>
                  </a:lnTo>
                  <a:lnTo>
                    <a:pt x="525" y="47"/>
                  </a:lnTo>
                  <a:lnTo>
                    <a:pt x="525" y="38"/>
                  </a:lnTo>
                  <a:lnTo>
                    <a:pt x="534" y="38"/>
                  </a:lnTo>
                  <a:lnTo>
                    <a:pt x="544" y="38"/>
                  </a:lnTo>
                  <a:lnTo>
                    <a:pt x="553" y="38"/>
                  </a:lnTo>
                  <a:lnTo>
                    <a:pt x="572" y="38"/>
                  </a:lnTo>
                  <a:lnTo>
                    <a:pt x="563" y="47"/>
                  </a:lnTo>
                  <a:lnTo>
                    <a:pt x="572" y="47"/>
                  </a:lnTo>
                  <a:lnTo>
                    <a:pt x="582" y="38"/>
                  </a:lnTo>
                  <a:lnTo>
                    <a:pt x="582" y="47"/>
                  </a:lnTo>
                  <a:lnTo>
                    <a:pt x="601" y="38"/>
                  </a:lnTo>
                  <a:lnTo>
                    <a:pt x="610" y="38"/>
                  </a:lnTo>
                  <a:lnTo>
                    <a:pt x="620" y="38"/>
                  </a:lnTo>
                  <a:lnTo>
                    <a:pt x="620" y="47"/>
                  </a:lnTo>
                  <a:lnTo>
                    <a:pt x="629" y="47"/>
                  </a:lnTo>
                  <a:lnTo>
                    <a:pt x="639" y="38"/>
                  </a:lnTo>
                  <a:lnTo>
                    <a:pt x="629" y="38"/>
                  </a:lnTo>
                  <a:lnTo>
                    <a:pt x="620" y="28"/>
                  </a:lnTo>
                  <a:lnTo>
                    <a:pt x="610" y="28"/>
                  </a:lnTo>
                  <a:lnTo>
                    <a:pt x="620" y="28"/>
                  </a:lnTo>
                  <a:lnTo>
                    <a:pt x="629" y="28"/>
                  </a:lnTo>
                  <a:lnTo>
                    <a:pt x="639" y="28"/>
                  </a:lnTo>
                  <a:lnTo>
                    <a:pt x="649" y="28"/>
                  </a:lnTo>
                  <a:lnTo>
                    <a:pt x="658" y="28"/>
                  </a:lnTo>
                  <a:lnTo>
                    <a:pt x="668" y="38"/>
                  </a:lnTo>
                  <a:lnTo>
                    <a:pt x="687" y="28"/>
                  </a:lnTo>
                  <a:lnTo>
                    <a:pt x="668" y="28"/>
                  </a:lnTo>
                  <a:lnTo>
                    <a:pt x="658" y="28"/>
                  </a:lnTo>
                  <a:lnTo>
                    <a:pt x="649" y="28"/>
                  </a:lnTo>
                  <a:lnTo>
                    <a:pt x="649" y="19"/>
                  </a:lnTo>
                  <a:lnTo>
                    <a:pt x="639" y="19"/>
                  </a:lnTo>
                  <a:lnTo>
                    <a:pt x="649" y="19"/>
                  </a:lnTo>
                  <a:lnTo>
                    <a:pt x="649" y="9"/>
                  </a:lnTo>
                  <a:lnTo>
                    <a:pt x="668" y="0"/>
                  </a:lnTo>
                  <a:lnTo>
                    <a:pt x="687" y="0"/>
                  </a:lnTo>
                  <a:lnTo>
                    <a:pt x="706" y="0"/>
                  </a:lnTo>
                  <a:lnTo>
                    <a:pt x="715" y="0"/>
                  </a:lnTo>
                  <a:lnTo>
                    <a:pt x="715" y="9"/>
                  </a:lnTo>
                  <a:lnTo>
                    <a:pt x="696" y="9"/>
                  </a:lnTo>
                  <a:lnTo>
                    <a:pt x="715" y="19"/>
                  </a:lnTo>
                  <a:lnTo>
                    <a:pt x="725" y="19"/>
                  </a:lnTo>
                  <a:lnTo>
                    <a:pt x="734" y="19"/>
                  </a:lnTo>
                  <a:lnTo>
                    <a:pt x="725" y="28"/>
                  </a:lnTo>
                  <a:lnTo>
                    <a:pt x="744" y="28"/>
                  </a:lnTo>
                  <a:lnTo>
                    <a:pt x="792" y="19"/>
                  </a:lnTo>
                  <a:lnTo>
                    <a:pt x="792" y="28"/>
                  </a:lnTo>
                  <a:lnTo>
                    <a:pt x="801" y="28"/>
                  </a:lnTo>
                  <a:lnTo>
                    <a:pt x="820" y="38"/>
                  </a:lnTo>
                  <a:lnTo>
                    <a:pt x="811" y="38"/>
                  </a:lnTo>
                  <a:lnTo>
                    <a:pt x="820" y="38"/>
                  </a:lnTo>
                  <a:lnTo>
                    <a:pt x="830" y="38"/>
                  </a:lnTo>
                  <a:lnTo>
                    <a:pt x="830" y="47"/>
                  </a:lnTo>
                  <a:lnTo>
                    <a:pt x="820" y="47"/>
                  </a:lnTo>
                  <a:lnTo>
                    <a:pt x="811" y="47"/>
                  </a:lnTo>
                  <a:lnTo>
                    <a:pt x="820" y="47"/>
                  </a:lnTo>
                  <a:lnTo>
                    <a:pt x="830" y="57"/>
                  </a:lnTo>
                  <a:lnTo>
                    <a:pt x="820" y="66"/>
                  </a:lnTo>
                  <a:lnTo>
                    <a:pt x="811" y="66"/>
                  </a:lnTo>
                  <a:lnTo>
                    <a:pt x="811" y="76"/>
                  </a:lnTo>
                  <a:lnTo>
                    <a:pt x="792" y="76"/>
                  </a:lnTo>
                  <a:lnTo>
                    <a:pt x="772" y="85"/>
                  </a:lnTo>
                  <a:lnTo>
                    <a:pt x="772" y="95"/>
                  </a:lnTo>
                  <a:lnTo>
                    <a:pt x="753" y="95"/>
                  </a:lnTo>
                  <a:lnTo>
                    <a:pt x="744" y="105"/>
                  </a:lnTo>
                  <a:lnTo>
                    <a:pt x="734" y="105"/>
                  </a:lnTo>
                  <a:lnTo>
                    <a:pt x="725" y="114"/>
                  </a:lnTo>
                  <a:lnTo>
                    <a:pt x="715" y="114"/>
                  </a:lnTo>
                  <a:lnTo>
                    <a:pt x="715" y="124"/>
                  </a:lnTo>
                  <a:lnTo>
                    <a:pt x="706" y="133"/>
                  </a:lnTo>
                  <a:lnTo>
                    <a:pt x="715" y="133"/>
                  </a:lnTo>
                  <a:lnTo>
                    <a:pt x="725" y="124"/>
                  </a:lnTo>
                  <a:lnTo>
                    <a:pt x="744" y="124"/>
                  </a:lnTo>
                  <a:lnTo>
                    <a:pt x="753" y="114"/>
                  </a:lnTo>
                  <a:lnTo>
                    <a:pt x="763" y="114"/>
                  </a:lnTo>
                  <a:lnTo>
                    <a:pt x="772" y="114"/>
                  </a:lnTo>
                  <a:lnTo>
                    <a:pt x="792" y="105"/>
                  </a:lnTo>
                  <a:lnTo>
                    <a:pt x="782" y="105"/>
                  </a:lnTo>
                  <a:lnTo>
                    <a:pt x="772" y="105"/>
                  </a:lnTo>
                  <a:lnTo>
                    <a:pt x="782" y="95"/>
                  </a:lnTo>
                  <a:lnTo>
                    <a:pt x="792" y="95"/>
                  </a:lnTo>
                  <a:lnTo>
                    <a:pt x="801" y="95"/>
                  </a:lnTo>
                  <a:lnTo>
                    <a:pt x="801" y="105"/>
                  </a:lnTo>
                  <a:lnTo>
                    <a:pt x="811" y="105"/>
                  </a:lnTo>
                  <a:lnTo>
                    <a:pt x="820" y="105"/>
                  </a:lnTo>
                  <a:lnTo>
                    <a:pt x="820" y="95"/>
                  </a:lnTo>
                  <a:lnTo>
                    <a:pt x="830" y="95"/>
                  </a:lnTo>
                  <a:lnTo>
                    <a:pt x="830" y="105"/>
                  </a:lnTo>
                  <a:lnTo>
                    <a:pt x="820" y="114"/>
                  </a:lnTo>
                  <a:lnTo>
                    <a:pt x="830" y="114"/>
                  </a:lnTo>
                  <a:lnTo>
                    <a:pt x="839" y="105"/>
                  </a:lnTo>
                  <a:lnTo>
                    <a:pt x="858" y="105"/>
                  </a:lnTo>
                  <a:lnTo>
                    <a:pt x="868" y="105"/>
                  </a:lnTo>
                  <a:lnTo>
                    <a:pt x="896" y="105"/>
                  </a:lnTo>
                  <a:lnTo>
                    <a:pt x="906" y="105"/>
                  </a:lnTo>
                  <a:lnTo>
                    <a:pt x="915" y="114"/>
                  </a:lnTo>
                  <a:lnTo>
                    <a:pt x="906" y="114"/>
                  </a:lnTo>
                  <a:lnTo>
                    <a:pt x="896" y="114"/>
                  </a:lnTo>
                  <a:lnTo>
                    <a:pt x="925" y="124"/>
                  </a:lnTo>
                  <a:lnTo>
                    <a:pt x="934" y="124"/>
                  </a:lnTo>
                  <a:lnTo>
                    <a:pt x="944" y="124"/>
                  </a:lnTo>
                  <a:lnTo>
                    <a:pt x="954" y="124"/>
                  </a:lnTo>
                  <a:lnTo>
                    <a:pt x="963" y="124"/>
                  </a:lnTo>
                  <a:lnTo>
                    <a:pt x="973" y="124"/>
                  </a:lnTo>
                  <a:lnTo>
                    <a:pt x="982" y="124"/>
                  </a:lnTo>
                  <a:lnTo>
                    <a:pt x="982" y="114"/>
                  </a:lnTo>
                  <a:lnTo>
                    <a:pt x="973" y="114"/>
                  </a:lnTo>
                  <a:lnTo>
                    <a:pt x="973" y="105"/>
                  </a:lnTo>
                  <a:lnTo>
                    <a:pt x="982" y="105"/>
                  </a:lnTo>
                  <a:lnTo>
                    <a:pt x="992" y="105"/>
                  </a:lnTo>
                  <a:lnTo>
                    <a:pt x="1001" y="105"/>
                  </a:lnTo>
                  <a:lnTo>
                    <a:pt x="1011" y="114"/>
                  </a:lnTo>
                  <a:lnTo>
                    <a:pt x="1020" y="105"/>
                  </a:lnTo>
                  <a:lnTo>
                    <a:pt x="1030" y="114"/>
                  </a:lnTo>
                  <a:lnTo>
                    <a:pt x="1039" y="114"/>
                  </a:lnTo>
                  <a:lnTo>
                    <a:pt x="1049" y="114"/>
                  </a:lnTo>
                  <a:lnTo>
                    <a:pt x="1058" y="124"/>
                  </a:lnTo>
                  <a:lnTo>
                    <a:pt x="1068" y="133"/>
                  </a:lnTo>
                  <a:lnTo>
                    <a:pt x="1058" y="133"/>
                  </a:lnTo>
                  <a:lnTo>
                    <a:pt x="1049" y="133"/>
                  </a:lnTo>
                  <a:lnTo>
                    <a:pt x="1058" y="143"/>
                  </a:lnTo>
                  <a:lnTo>
                    <a:pt x="1068" y="143"/>
                  </a:lnTo>
                  <a:lnTo>
                    <a:pt x="1068" y="152"/>
                  </a:lnTo>
                  <a:lnTo>
                    <a:pt x="1058" y="152"/>
                  </a:lnTo>
                  <a:lnTo>
                    <a:pt x="1049" y="143"/>
                  </a:lnTo>
                  <a:lnTo>
                    <a:pt x="1049" y="152"/>
                  </a:lnTo>
                  <a:lnTo>
                    <a:pt x="1058" y="152"/>
                  </a:lnTo>
                  <a:lnTo>
                    <a:pt x="1068" y="152"/>
                  </a:lnTo>
                  <a:lnTo>
                    <a:pt x="1058" y="162"/>
                  </a:lnTo>
                  <a:lnTo>
                    <a:pt x="1097" y="181"/>
                  </a:lnTo>
                  <a:lnTo>
                    <a:pt x="1097" y="171"/>
                  </a:lnTo>
                  <a:lnTo>
                    <a:pt x="1106" y="162"/>
                  </a:lnTo>
                  <a:lnTo>
                    <a:pt x="1116" y="152"/>
                  </a:lnTo>
                  <a:lnTo>
                    <a:pt x="1135" y="162"/>
                  </a:lnTo>
                  <a:lnTo>
                    <a:pt x="1144" y="162"/>
                  </a:lnTo>
                  <a:lnTo>
                    <a:pt x="1154" y="162"/>
                  </a:lnTo>
                  <a:lnTo>
                    <a:pt x="1173" y="162"/>
                  </a:lnTo>
                  <a:lnTo>
                    <a:pt x="1192" y="171"/>
                  </a:lnTo>
                  <a:lnTo>
                    <a:pt x="1192" y="162"/>
                  </a:lnTo>
                  <a:lnTo>
                    <a:pt x="1201" y="162"/>
                  </a:lnTo>
                  <a:lnTo>
                    <a:pt x="1211" y="162"/>
                  </a:lnTo>
                  <a:lnTo>
                    <a:pt x="1220" y="162"/>
                  </a:lnTo>
                  <a:lnTo>
                    <a:pt x="1220" y="152"/>
                  </a:lnTo>
                  <a:lnTo>
                    <a:pt x="1220" y="143"/>
                  </a:lnTo>
                  <a:lnTo>
                    <a:pt x="1211" y="143"/>
                  </a:lnTo>
                  <a:lnTo>
                    <a:pt x="1211" y="133"/>
                  </a:lnTo>
                  <a:lnTo>
                    <a:pt x="1220" y="133"/>
                  </a:lnTo>
                  <a:lnTo>
                    <a:pt x="1230" y="133"/>
                  </a:lnTo>
                  <a:lnTo>
                    <a:pt x="1240" y="133"/>
                  </a:lnTo>
                  <a:lnTo>
                    <a:pt x="1240" y="124"/>
                  </a:lnTo>
                  <a:lnTo>
                    <a:pt x="1240" y="133"/>
                  </a:lnTo>
                  <a:lnTo>
                    <a:pt x="1259" y="133"/>
                  </a:lnTo>
                  <a:lnTo>
                    <a:pt x="1278" y="133"/>
                  </a:lnTo>
                  <a:lnTo>
                    <a:pt x="1287" y="133"/>
                  </a:lnTo>
                  <a:lnTo>
                    <a:pt x="1316" y="143"/>
                  </a:lnTo>
                  <a:lnTo>
                    <a:pt x="1306" y="143"/>
                  </a:lnTo>
                  <a:lnTo>
                    <a:pt x="1287" y="143"/>
                  </a:lnTo>
                  <a:lnTo>
                    <a:pt x="1278" y="143"/>
                  </a:lnTo>
                  <a:lnTo>
                    <a:pt x="1287" y="143"/>
                  </a:lnTo>
                  <a:lnTo>
                    <a:pt x="1306" y="143"/>
                  </a:lnTo>
                  <a:lnTo>
                    <a:pt x="1306" y="152"/>
                  </a:lnTo>
                  <a:lnTo>
                    <a:pt x="1297" y="152"/>
                  </a:lnTo>
                  <a:lnTo>
                    <a:pt x="1297" y="162"/>
                  </a:lnTo>
                  <a:lnTo>
                    <a:pt x="1306" y="152"/>
                  </a:lnTo>
                  <a:lnTo>
                    <a:pt x="1325" y="152"/>
                  </a:lnTo>
                  <a:lnTo>
                    <a:pt x="1325" y="143"/>
                  </a:lnTo>
                  <a:lnTo>
                    <a:pt x="1354" y="143"/>
                  </a:lnTo>
                  <a:lnTo>
                    <a:pt x="1363" y="143"/>
                  </a:lnTo>
                  <a:lnTo>
                    <a:pt x="1373" y="152"/>
                  </a:lnTo>
                  <a:lnTo>
                    <a:pt x="1363" y="152"/>
                  </a:lnTo>
                  <a:lnTo>
                    <a:pt x="1354" y="152"/>
                  </a:lnTo>
                  <a:lnTo>
                    <a:pt x="1354" y="162"/>
                  </a:lnTo>
                  <a:lnTo>
                    <a:pt x="1373" y="162"/>
                  </a:lnTo>
                  <a:lnTo>
                    <a:pt x="1382" y="162"/>
                  </a:lnTo>
                  <a:lnTo>
                    <a:pt x="1402" y="171"/>
                  </a:lnTo>
                  <a:lnTo>
                    <a:pt x="1402" y="181"/>
                  </a:lnTo>
                  <a:lnTo>
                    <a:pt x="1411" y="181"/>
                  </a:lnTo>
                  <a:lnTo>
                    <a:pt x="1430" y="181"/>
                  </a:lnTo>
                  <a:lnTo>
                    <a:pt x="1459" y="171"/>
                  </a:lnTo>
                  <a:lnTo>
                    <a:pt x="1468" y="171"/>
                  </a:lnTo>
                  <a:lnTo>
                    <a:pt x="1487" y="171"/>
                  </a:lnTo>
                  <a:lnTo>
                    <a:pt x="1497" y="171"/>
                  </a:lnTo>
                  <a:lnTo>
                    <a:pt x="1516" y="181"/>
                  </a:lnTo>
                  <a:lnTo>
                    <a:pt x="1516" y="190"/>
                  </a:lnTo>
                  <a:lnTo>
                    <a:pt x="1516" y="200"/>
                  </a:lnTo>
                  <a:lnTo>
                    <a:pt x="1525" y="210"/>
                  </a:lnTo>
                  <a:lnTo>
                    <a:pt x="1535" y="210"/>
                  </a:lnTo>
                  <a:lnTo>
                    <a:pt x="1545" y="210"/>
                  </a:lnTo>
                  <a:lnTo>
                    <a:pt x="1554" y="210"/>
                  </a:lnTo>
                  <a:lnTo>
                    <a:pt x="1564" y="210"/>
                  </a:lnTo>
                  <a:lnTo>
                    <a:pt x="1573" y="200"/>
                  </a:lnTo>
                  <a:lnTo>
                    <a:pt x="1592" y="210"/>
                  </a:lnTo>
                  <a:lnTo>
                    <a:pt x="1621" y="210"/>
                  </a:lnTo>
                  <a:lnTo>
                    <a:pt x="1630" y="210"/>
                  </a:lnTo>
                  <a:lnTo>
                    <a:pt x="1640" y="219"/>
                  </a:lnTo>
                  <a:lnTo>
                    <a:pt x="1649" y="219"/>
                  </a:lnTo>
                  <a:lnTo>
                    <a:pt x="1659" y="229"/>
                  </a:lnTo>
                  <a:lnTo>
                    <a:pt x="1678" y="229"/>
                  </a:lnTo>
                  <a:lnTo>
                    <a:pt x="1678" y="219"/>
                  </a:lnTo>
                  <a:lnTo>
                    <a:pt x="1659" y="210"/>
                  </a:lnTo>
                  <a:lnTo>
                    <a:pt x="1668" y="210"/>
                  </a:lnTo>
                  <a:lnTo>
                    <a:pt x="1668" y="200"/>
                  </a:lnTo>
                  <a:lnTo>
                    <a:pt x="1668" y="190"/>
                  </a:lnTo>
                  <a:lnTo>
                    <a:pt x="1707" y="200"/>
                  </a:lnTo>
                  <a:lnTo>
                    <a:pt x="1716" y="200"/>
                  </a:lnTo>
                  <a:lnTo>
                    <a:pt x="1726" y="200"/>
                  </a:lnTo>
                  <a:lnTo>
                    <a:pt x="1745" y="200"/>
                  </a:lnTo>
                  <a:lnTo>
                    <a:pt x="1754" y="200"/>
                  </a:lnTo>
                  <a:lnTo>
                    <a:pt x="1764" y="210"/>
                  </a:lnTo>
                  <a:lnTo>
                    <a:pt x="1773" y="210"/>
                  </a:lnTo>
                  <a:lnTo>
                    <a:pt x="1783" y="210"/>
                  </a:lnTo>
                  <a:lnTo>
                    <a:pt x="1792" y="219"/>
                  </a:lnTo>
                  <a:lnTo>
                    <a:pt x="1811" y="219"/>
                  </a:lnTo>
                  <a:lnTo>
                    <a:pt x="1811" y="229"/>
                  </a:lnTo>
                  <a:lnTo>
                    <a:pt x="1821" y="229"/>
                  </a:lnTo>
                  <a:lnTo>
                    <a:pt x="1830" y="229"/>
                  </a:lnTo>
                  <a:lnTo>
                    <a:pt x="1850" y="238"/>
                  </a:lnTo>
                  <a:lnTo>
                    <a:pt x="1859" y="248"/>
                  </a:lnTo>
                  <a:lnTo>
                    <a:pt x="1869" y="248"/>
                  </a:lnTo>
                  <a:lnTo>
                    <a:pt x="1888" y="257"/>
                  </a:lnTo>
                  <a:lnTo>
                    <a:pt x="1888" y="267"/>
                  </a:lnTo>
                  <a:lnTo>
                    <a:pt x="1878" y="276"/>
                  </a:lnTo>
                  <a:lnTo>
                    <a:pt x="1897" y="276"/>
                  </a:lnTo>
                  <a:lnTo>
                    <a:pt x="1897" y="267"/>
                  </a:lnTo>
                  <a:lnTo>
                    <a:pt x="1888" y="267"/>
                  </a:lnTo>
                  <a:lnTo>
                    <a:pt x="1907" y="267"/>
                  </a:lnTo>
                  <a:lnTo>
                    <a:pt x="1916" y="267"/>
                  </a:lnTo>
                  <a:lnTo>
                    <a:pt x="1926" y="267"/>
                  </a:lnTo>
                  <a:lnTo>
                    <a:pt x="1945" y="276"/>
                  </a:lnTo>
                  <a:lnTo>
                    <a:pt x="1954" y="286"/>
                  </a:lnTo>
                  <a:lnTo>
                    <a:pt x="1954" y="295"/>
                  </a:lnTo>
                  <a:lnTo>
                    <a:pt x="1945" y="295"/>
                  </a:lnTo>
                  <a:lnTo>
                    <a:pt x="1945" y="305"/>
                  </a:lnTo>
                  <a:lnTo>
                    <a:pt x="1926" y="305"/>
                  </a:lnTo>
                  <a:lnTo>
                    <a:pt x="1916" y="315"/>
                  </a:lnTo>
                  <a:lnTo>
                    <a:pt x="1926" y="324"/>
                  </a:lnTo>
                  <a:lnTo>
                    <a:pt x="1916" y="334"/>
                  </a:lnTo>
                  <a:lnTo>
                    <a:pt x="1916" y="343"/>
                  </a:lnTo>
                  <a:lnTo>
                    <a:pt x="1907" y="343"/>
                  </a:lnTo>
                  <a:lnTo>
                    <a:pt x="1897" y="343"/>
                  </a:lnTo>
                  <a:lnTo>
                    <a:pt x="1888" y="334"/>
                  </a:lnTo>
                  <a:lnTo>
                    <a:pt x="1878" y="334"/>
                  </a:lnTo>
                  <a:lnTo>
                    <a:pt x="1869" y="334"/>
                  </a:lnTo>
                  <a:lnTo>
                    <a:pt x="1869" y="315"/>
                  </a:lnTo>
                  <a:lnTo>
                    <a:pt x="1859" y="305"/>
                  </a:lnTo>
                  <a:lnTo>
                    <a:pt x="1850" y="305"/>
                  </a:lnTo>
                  <a:lnTo>
                    <a:pt x="1830" y="305"/>
                  </a:lnTo>
                  <a:lnTo>
                    <a:pt x="1830" y="295"/>
                  </a:lnTo>
                  <a:lnTo>
                    <a:pt x="1830" y="286"/>
                  </a:lnTo>
                  <a:lnTo>
                    <a:pt x="1821" y="286"/>
                  </a:lnTo>
                  <a:lnTo>
                    <a:pt x="1811" y="286"/>
                  </a:lnTo>
                  <a:lnTo>
                    <a:pt x="1821" y="305"/>
                  </a:lnTo>
                  <a:lnTo>
                    <a:pt x="1821" y="315"/>
                  </a:lnTo>
                  <a:lnTo>
                    <a:pt x="1811" y="324"/>
                  </a:lnTo>
                  <a:lnTo>
                    <a:pt x="1802" y="324"/>
                  </a:lnTo>
                  <a:lnTo>
                    <a:pt x="1802" y="334"/>
                  </a:lnTo>
                  <a:lnTo>
                    <a:pt x="1783" y="334"/>
                  </a:lnTo>
                  <a:lnTo>
                    <a:pt x="1773" y="324"/>
                  </a:lnTo>
                  <a:lnTo>
                    <a:pt x="1764" y="324"/>
                  </a:lnTo>
                  <a:lnTo>
                    <a:pt x="1764" y="334"/>
                  </a:lnTo>
                  <a:lnTo>
                    <a:pt x="1764" y="324"/>
                  </a:lnTo>
                  <a:lnTo>
                    <a:pt x="1754" y="324"/>
                  </a:lnTo>
                  <a:lnTo>
                    <a:pt x="1754" y="334"/>
                  </a:lnTo>
                  <a:lnTo>
                    <a:pt x="1764" y="334"/>
                  </a:lnTo>
                  <a:lnTo>
                    <a:pt x="1773" y="343"/>
                  </a:lnTo>
                  <a:lnTo>
                    <a:pt x="1783" y="343"/>
                  </a:lnTo>
                  <a:lnTo>
                    <a:pt x="1792" y="343"/>
                  </a:lnTo>
                  <a:lnTo>
                    <a:pt x="1783" y="353"/>
                  </a:lnTo>
                  <a:lnTo>
                    <a:pt x="1792" y="353"/>
                  </a:lnTo>
                  <a:lnTo>
                    <a:pt x="1792" y="372"/>
                  </a:lnTo>
                  <a:lnTo>
                    <a:pt x="1802" y="372"/>
                  </a:lnTo>
                  <a:lnTo>
                    <a:pt x="1802" y="391"/>
                  </a:lnTo>
                  <a:lnTo>
                    <a:pt x="1802" y="400"/>
                  </a:lnTo>
                  <a:lnTo>
                    <a:pt x="1783" y="400"/>
                  </a:lnTo>
                  <a:lnTo>
                    <a:pt x="1773" y="400"/>
                  </a:lnTo>
                  <a:lnTo>
                    <a:pt x="1764" y="400"/>
                  </a:lnTo>
                  <a:lnTo>
                    <a:pt x="1754" y="410"/>
                  </a:lnTo>
                  <a:lnTo>
                    <a:pt x="1735" y="410"/>
                  </a:lnTo>
                  <a:lnTo>
                    <a:pt x="1726" y="420"/>
                  </a:lnTo>
                  <a:lnTo>
                    <a:pt x="1716" y="420"/>
                  </a:lnTo>
                  <a:lnTo>
                    <a:pt x="1716" y="429"/>
                  </a:lnTo>
                  <a:lnTo>
                    <a:pt x="1707" y="429"/>
                  </a:lnTo>
                  <a:lnTo>
                    <a:pt x="1697" y="439"/>
                  </a:lnTo>
                  <a:lnTo>
                    <a:pt x="1678" y="448"/>
                  </a:lnTo>
                  <a:lnTo>
                    <a:pt x="1668" y="458"/>
                  </a:lnTo>
                  <a:lnTo>
                    <a:pt x="1668" y="467"/>
                  </a:lnTo>
                  <a:lnTo>
                    <a:pt x="1659" y="467"/>
                  </a:lnTo>
                  <a:lnTo>
                    <a:pt x="1659" y="458"/>
                  </a:lnTo>
                  <a:lnTo>
                    <a:pt x="1649" y="448"/>
                  </a:lnTo>
                  <a:lnTo>
                    <a:pt x="1621" y="458"/>
                  </a:lnTo>
                  <a:lnTo>
                    <a:pt x="1611" y="477"/>
                  </a:lnTo>
                  <a:lnTo>
                    <a:pt x="1602" y="477"/>
                  </a:lnTo>
                  <a:lnTo>
                    <a:pt x="1602" y="467"/>
                  </a:lnTo>
                  <a:lnTo>
                    <a:pt x="1611" y="458"/>
                  </a:lnTo>
                  <a:lnTo>
                    <a:pt x="1602" y="458"/>
                  </a:lnTo>
                  <a:lnTo>
                    <a:pt x="1592" y="467"/>
                  </a:lnTo>
                  <a:lnTo>
                    <a:pt x="1592" y="477"/>
                  </a:lnTo>
                  <a:lnTo>
                    <a:pt x="1583" y="467"/>
                  </a:lnTo>
                  <a:lnTo>
                    <a:pt x="1573" y="467"/>
                  </a:lnTo>
                  <a:lnTo>
                    <a:pt x="1564" y="477"/>
                  </a:lnTo>
                  <a:lnTo>
                    <a:pt x="1564" y="496"/>
                  </a:lnTo>
                  <a:lnTo>
                    <a:pt x="1554" y="505"/>
                  </a:lnTo>
                  <a:lnTo>
                    <a:pt x="1545" y="524"/>
                  </a:lnTo>
                  <a:lnTo>
                    <a:pt x="1554" y="524"/>
                  </a:lnTo>
                  <a:lnTo>
                    <a:pt x="1564" y="524"/>
                  </a:lnTo>
                  <a:lnTo>
                    <a:pt x="1564" y="534"/>
                  </a:lnTo>
                  <a:lnTo>
                    <a:pt x="1554" y="544"/>
                  </a:lnTo>
                  <a:lnTo>
                    <a:pt x="1554" y="553"/>
                  </a:lnTo>
                  <a:lnTo>
                    <a:pt x="1564" y="553"/>
                  </a:lnTo>
                  <a:lnTo>
                    <a:pt x="1573" y="572"/>
                  </a:lnTo>
                  <a:lnTo>
                    <a:pt x="1564" y="572"/>
                  </a:lnTo>
                  <a:lnTo>
                    <a:pt x="1554" y="572"/>
                  </a:lnTo>
                  <a:lnTo>
                    <a:pt x="1554" y="563"/>
                  </a:lnTo>
                  <a:lnTo>
                    <a:pt x="1545" y="572"/>
                  </a:lnTo>
                  <a:lnTo>
                    <a:pt x="1545" y="582"/>
                  </a:lnTo>
                  <a:lnTo>
                    <a:pt x="1545" y="591"/>
                  </a:lnTo>
                  <a:lnTo>
                    <a:pt x="1545" y="601"/>
                  </a:lnTo>
                  <a:lnTo>
                    <a:pt x="1545" y="610"/>
                  </a:lnTo>
                  <a:lnTo>
                    <a:pt x="1535" y="610"/>
                  </a:lnTo>
                  <a:lnTo>
                    <a:pt x="1535" y="601"/>
                  </a:lnTo>
                  <a:lnTo>
                    <a:pt x="1516" y="620"/>
                  </a:lnTo>
                  <a:lnTo>
                    <a:pt x="1516" y="639"/>
                  </a:lnTo>
                  <a:lnTo>
                    <a:pt x="1506" y="639"/>
                  </a:lnTo>
                  <a:lnTo>
                    <a:pt x="1497" y="639"/>
                  </a:lnTo>
                  <a:lnTo>
                    <a:pt x="1497" y="649"/>
                  </a:lnTo>
                  <a:lnTo>
                    <a:pt x="1497" y="658"/>
                  </a:lnTo>
                  <a:lnTo>
                    <a:pt x="1468" y="687"/>
                  </a:lnTo>
                  <a:lnTo>
                    <a:pt x="1468" y="677"/>
                  </a:lnTo>
                  <a:lnTo>
                    <a:pt x="1468" y="668"/>
                  </a:lnTo>
                  <a:lnTo>
                    <a:pt x="1468" y="649"/>
                  </a:lnTo>
                  <a:lnTo>
                    <a:pt x="1459" y="629"/>
                  </a:lnTo>
                  <a:lnTo>
                    <a:pt x="1459" y="620"/>
                  </a:lnTo>
                  <a:lnTo>
                    <a:pt x="1449" y="610"/>
                  </a:lnTo>
                  <a:lnTo>
                    <a:pt x="1449" y="591"/>
                  </a:lnTo>
                  <a:lnTo>
                    <a:pt x="1449" y="563"/>
                  </a:lnTo>
                  <a:lnTo>
                    <a:pt x="1468" y="553"/>
                  </a:lnTo>
                  <a:lnTo>
                    <a:pt x="1468" y="544"/>
                  </a:lnTo>
                  <a:lnTo>
                    <a:pt x="1468" y="524"/>
                  </a:lnTo>
                  <a:lnTo>
                    <a:pt x="1478" y="524"/>
                  </a:lnTo>
                  <a:lnTo>
                    <a:pt x="1487" y="515"/>
                  </a:lnTo>
                  <a:lnTo>
                    <a:pt x="1497" y="505"/>
                  </a:lnTo>
                  <a:lnTo>
                    <a:pt x="1506" y="505"/>
                  </a:lnTo>
                  <a:lnTo>
                    <a:pt x="1516" y="496"/>
                  </a:lnTo>
                  <a:lnTo>
                    <a:pt x="1516" y="477"/>
                  </a:lnTo>
                  <a:lnTo>
                    <a:pt x="1525" y="477"/>
                  </a:lnTo>
                  <a:lnTo>
                    <a:pt x="1545" y="467"/>
                  </a:lnTo>
                  <a:lnTo>
                    <a:pt x="1545" y="458"/>
                  </a:lnTo>
                  <a:lnTo>
                    <a:pt x="1573" y="448"/>
                  </a:lnTo>
                  <a:lnTo>
                    <a:pt x="1573" y="439"/>
                  </a:lnTo>
                  <a:lnTo>
                    <a:pt x="1573" y="429"/>
                  </a:lnTo>
                  <a:lnTo>
                    <a:pt x="1573" y="420"/>
                  </a:lnTo>
                  <a:lnTo>
                    <a:pt x="1573" y="410"/>
                  </a:lnTo>
                  <a:lnTo>
                    <a:pt x="1583" y="400"/>
                  </a:lnTo>
                  <a:lnTo>
                    <a:pt x="1592" y="400"/>
                  </a:lnTo>
                  <a:lnTo>
                    <a:pt x="1583" y="391"/>
                  </a:lnTo>
                  <a:lnTo>
                    <a:pt x="1564" y="400"/>
                  </a:lnTo>
                  <a:lnTo>
                    <a:pt x="1564" y="420"/>
                  </a:lnTo>
                  <a:lnTo>
                    <a:pt x="1564" y="429"/>
                  </a:lnTo>
                  <a:lnTo>
                    <a:pt x="1545" y="42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86" name="Freeform 164">
              <a:extLst>
                <a:ext uri="{FF2B5EF4-FFF2-40B4-BE49-F238E27FC236}">
                  <a16:creationId xmlns:a16="http://schemas.microsoft.com/office/drawing/2014/main" id="{52FA1FF8-EFAC-4F18-BB82-4802F7BE4E7A}"/>
                </a:ext>
              </a:extLst>
            </p:cNvPr>
            <p:cNvSpPr>
              <a:spLocks/>
            </p:cNvSpPr>
            <p:nvPr/>
          </p:nvSpPr>
          <p:spPr bwMode="gray">
            <a:xfrm>
              <a:off x="3304" y="2691"/>
              <a:ext cx="28" cy="28"/>
            </a:xfrm>
            <a:custGeom>
              <a:avLst/>
              <a:gdLst>
                <a:gd name="T0" fmla="*/ 0 w 28"/>
                <a:gd name="T1" fmla="*/ 9 h 28"/>
                <a:gd name="T2" fmla="*/ 0 w 28"/>
                <a:gd name="T3" fmla="*/ 19 h 28"/>
                <a:gd name="T4" fmla="*/ 0 w 28"/>
                <a:gd name="T5" fmla="*/ 28 h 28"/>
                <a:gd name="T6" fmla="*/ 9 w 28"/>
                <a:gd name="T7" fmla="*/ 28 h 28"/>
                <a:gd name="T8" fmla="*/ 19 w 28"/>
                <a:gd name="T9" fmla="*/ 19 h 28"/>
                <a:gd name="T10" fmla="*/ 9 w 28"/>
                <a:gd name="T11" fmla="*/ 19 h 28"/>
                <a:gd name="T12" fmla="*/ 28 w 28"/>
                <a:gd name="T13" fmla="*/ 9 h 28"/>
                <a:gd name="T14" fmla="*/ 19 w 28"/>
                <a:gd name="T15" fmla="*/ 0 h 28"/>
                <a:gd name="T16" fmla="*/ 19 w 28"/>
                <a:gd name="T17" fmla="*/ 0 h 28"/>
                <a:gd name="T18" fmla="*/ 9 w 28"/>
                <a:gd name="T19" fmla="*/ 0 h 28"/>
                <a:gd name="T20" fmla="*/ 9 w 28"/>
                <a:gd name="T21" fmla="*/ 9 h 28"/>
                <a:gd name="T22" fmla="*/ 0 w 28"/>
                <a:gd name="T23" fmla="*/ 9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28"/>
                <a:gd name="T38" fmla="*/ 28 w 28"/>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28">
                  <a:moveTo>
                    <a:pt x="0" y="9"/>
                  </a:moveTo>
                  <a:lnTo>
                    <a:pt x="0" y="19"/>
                  </a:lnTo>
                  <a:lnTo>
                    <a:pt x="0" y="28"/>
                  </a:lnTo>
                  <a:lnTo>
                    <a:pt x="9" y="28"/>
                  </a:lnTo>
                  <a:lnTo>
                    <a:pt x="19" y="19"/>
                  </a:lnTo>
                  <a:lnTo>
                    <a:pt x="9" y="19"/>
                  </a:lnTo>
                  <a:lnTo>
                    <a:pt x="28" y="9"/>
                  </a:lnTo>
                  <a:lnTo>
                    <a:pt x="19" y="0"/>
                  </a:lnTo>
                  <a:lnTo>
                    <a:pt x="9" y="0"/>
                  </a:lnTo>
                  <a:lnTo>
                    <a:pt x="9" y="9"/>
                  </a:lnTo>
                  <a:lnTo>
                    <a:pt x="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87" name="Freeform 165">
              <a:extLst>
                <a:ext uri="{FF2B5EF4-FFF2-40B4-BE49-F238E27FC236}">
                  <a16:creationId xmlns:a16="http://schemas.microsoft.com/office/drawing/2014/main" id="{0E5C18FC-3F98-41D0-97E7-9AECDEFB1D90}"/>
                </a:ext>
              </a:extLst>
            </p:cNvPr>
            <p:cNvSpPr>
              <a:spLocks/>
            </p:cNvSpPr>
            <p:nvPr/>
          </p:nvSpPr>
          <p:spPr bwMode="gray">
            <a:xfrm>
              <a:off x="3304" y="2691"/>
              <a:ext cx="28" cy="28"/>
            </a:xfrm>
            <a:custGeom>
              <a:avLst/>
              <a:gdLst>
                <a:gd name="T0" fmla="*/ 0 w 28"/>
                <a:gd name="T1" fmla="*/ 9 h 28"/>
                <a:gd name="T2" fmla="*/ 0 w 28"/>
                <a:gd name="T3" fmla="*/ 19 h 28"/>
                <a:gd name="T4" fmla="*/ 0 w 28"/>
                <a:gd name="T5" fmla="*/ 28 h 28"/>
                <a:gd name="T6" fmla="*/ 9 w 28"/>
                <a:gd name="T7" fmla="*/ 28 h 28"/>
                <a:gd name="T8" fmla="*/ 19 w 28"/>
                <a:gd name="T9" fmla="*/ 19 h 28"/>
                <a:gd name="T10" fmla="*/ 9 w 28"/>
                <a:gd name="T11" fmla="*/ 19 h 28"/>
                <a:gd name="T12" fmla="*/ 28 w 28"/>
                <a:gd name="T13" fmla="*/ 9 h 28"/>
                <a:gd name="T14" fmla="*/ 19 w 28"/>
                <a:gd name="T15" fmla="*/ 0 h 28"/>
                <a:gd name="T16" fmla="*/ 19 w 28"/>
                <a:gd name="T17" fmla="*/ 0 h 28"/>
                <a:gd name="T18" fmla="*/ 9 w 28"/>
                <a:gd name="T19" fmla="*/ 0 h 28"/>
                <a:gd name="T20" fmla="*/ 9 w 28"/>
                <a:gd name="T21" fmla="*/ 9 h 28"/>
                <a:gd name="T22" fmla="*/ 0 w 28"/>
                <a:gd name="T23" fmla="*/ 9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28"/>
                <a:gd name="T38" fmla="*/ 28 w 28"/>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28">
                  <a:moveTo>
                    <a:pt x="0" y="9"/>
                  </a:moveTo>
                  <a:lnTo>
                    <a:pt x="0" y="19"/>
                  </a:lnTo>
                  <a:lnTo>
                    <a:pt x="0" y="28"/>
                  </a:lnTo>
                  <a:lnTo>
                    <a:pt x="9" y="28"/>
                  </a:lnTo>
                  <a:lnTo>
                    <a:pt x="19" y="19"/>
                  </a:lnTo>
                  <a:lnTo>
                    <a:pt x="9" y="19"/>
                  </a:lnTo>
                  <a:lnTo>
                    <a:pt x="28" y="9"/>
                  </a:lnTo>
                  <a:lnTo>
                    <a:pt x="19" y="0"/>
                  </a:lnTo>
                  <a:lnTo>
                    <a:pt x="9" y="0"/>
                  </a:lnTo>
                  <a:lnTo>
                    <a:pt x="9" y="9"/>
                  </a:lnTo>
                  <a:lnTo>
                    <a:pt x="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88" name="Freeform 166">
              <a:extLst>
                <a:ext uri="{FF2B5EF4-FFF2-40B4-BE49-F238E27FC236}">
                  <a16:creationId xmlns:a16="http://schemas.microsoft.com/office/drawing/2014/main" id="{271238B9-6239-409A-839B-9ED10324E556}"/>
                </a:ext>
              </a:extLst>
            </p:cNvPr>
            <p:cNvSpPr>
              <a:spLocks/>
            </p:cNvSpPr>
            <p:nvPr/>
          </p:nvSpPr>
          <p:spPr bwMode="gray">
            <a:xfrm>
              <a:off x="3056" y="2423"/>
              <a:ext cx="152" cy="144"/>
            </a:xfrm>
            <a:custGeom>
              <a:avLst/>
              <a:gdLst>
                <a:gd name="T0" fmla="*/ 9 w 152"/>
                <a:gd name="T1" fmla="*/ 0 h 144"/>
                <a:gd name="T2" fmla="*/ 9 w 152"/>
                <a:gd name="T3" fmla="*/ 0 h 144"/>
                <a:gd name="T4" fmla="*/ 28 w 152"/>
                <a:gd name="T5" fmla="*/ 0 h 144"/>
                <a:gd name="T6" fmla="*/ 38 w 152"/>
                <a:gd name="T7" fmla="*/ 0 h 144"/>
                <a:gd name="T8" fmla="*/ 57 w 152"/>
                <a:gd name="T9" fmla="*/ 10 h 144"/>
                <a:gd name="T10" fmla="*/ 66 w 152"/>
                <a:gd name="T11" fmla="*/ 10 h 144"/>
                <a:gd name="T12" fmla="*/ 76 w 152"/>
                <a:gd name="T13" fmla="*/ 0 h 144"/>
                <a:gd name="T14" fmla="*/ 76 w 152"/>
                <a:gd name="T15" fmla="*/ 0 h 144"/>
                <a:gd name="T16" fmla="*/ 86 w 152"/>
                <a:gd name="T17" fmla="*/ 0 h 144"/>
                <a:gd name="T18" fmla="*/ 95 w 152"/>
                <a:gd name="T19" fmla="*/ 0 h 144"/>
                <a:gd name="T20" fmla="*/ 105 w 152"/>
                <a:gd name="T21" fmla="*/ 0 h 144"/>
                <a:gd name="T22" fmla="*/ 105 w 152"/>
                <a:gd name="T23" fmla="*/ 0 h 144"/>
                <a:gd name="T24" fmla="*/ 105 w 152"/>
                <a:gd name="T25" fmla="*/ 0 h 144"/>
                <a:gd name="T26" fmla="*/ 105 w 152"/>
                <a:gd name="T27" fmla="*/ 0 h 144"/>
                <a:gd name="T28" fmla="*/ 114 w 152"/>
                <a:gd name="T29" fmla="*/ 0 h 144"/>
                <a:gd name="T30" fmla="*/ 114 w 152"/>
                <a:gd name="T31" fmla="*/ 0 h 144"/>
                <a:gd name="T32" fmla="*/ 133 w 152"/>
                <a:gd name="T33" fmla="*/ 0 h 144"/>
                <a:gd name="T34" fmla="*/ 133 w 152"/>
                <a:gd name="T35" fmla="*/ 0 h 144"/>
                <a:gd name="T36" fmla="*/ 143 w 152"/>
                <a:gd name="T37" fmla="*/ 10 h 144"/>
                <a:gd name="T38" fmla="*/ 143 w 152"/>
                <a:gd name="T39" fmla="*/ 29 h 144"/>
                <a:gd name="T40" fmla="*/ 143 w 152"/>
                <a:gd name="T41" fmla="*/ 48 h 144"/>
                <a:gd name="T42" fmla="*/ 143 w 152"/>
                <a:gd name="T43" fmla="*/ 48 h 144"/>
                <a:gd name="T44" fmla="*/ 133 w 152"/>
                <a:gd name="T45" fmla="*/ 48 h 144"/>
                <a:gd name="T46" fmla="*/ 124 w 152"/>
                <a:gd name="T47" fmla="*/ 48 h 144"/>
                <a:gd name="T48" fmla="*/ 114 w 152"/>
                <a:gd name="T49" fmla="*/ 39 h 144"/>
                <a:gd name="T50" fmla="*/ 114 w 152"/>
                <a:gd name="T51" fmla="*/ 19 h 144"/>
                <a:gd name="T52" fmla="*/ 114 w 152"/>
                <a:gd name="T53" fmla="*/ 19 h 144"/>
                <a:gd name="T54" fmla="*/ 114 w 152"/>
                <a:gd name="T55" fmla="*/ 19 h 144"/>
                <a:gd name="T56" fmla="*/ 105 w 152"/>
                <a:gd name="T57" fmla="*/ 19 h 144"/>
                <a:gd name="T58" fmla="*/ 114 w 152"/>
                <a:gd name="T59" fmla="*/ 39 h 144"/>
                <a:gd name="T60" fmla="*/ 124 w 152"/>
                <a:gd name="T61" fmla="*/ 48 h 144"/>
                <a:gd name="T62" fmla="*/ 124 w 152"/>
                <a:gd name="T63" fmla="*/ 58 h 144"/>
                <a:gd name="T64" fmla="*/ 133 w 152"/>
                <a:gd name="T65" fmla="*/ 67 h 144"/>
                <a:gd name="T66" fmla="*/ 143 w 152"/>
                <a:gd name="T67" fmla="*/ 86 h 144"/>
                <a:gd name="T68" fmla="*/ 152 w 152"/>
                <a:gd name="T69" fmla="*/ 105 h 144"/>
                <a:gd name="T70" fmla="*/ 152 w 152"/>
                <a:gd name="T71" fmla="*/ 124 h 144"/>
                <a:gd name="T72" fmla="*/ 143 w 152"/>
                <a:gd name="T73" fmla="*/ 134 h 144"/>
                <a:gd name="T74" fmla="*/ 133 w 152"/>
                <a:gd name="T75" fmla="*/ 134 h 144"/>
                <a:gd name="T76" fmla="*/ 133 w 152"/>
                <a:gd name="T77" fmla="*/ 144 h 144"/>
                <a:gd name="T78" fmla="*/ 124 w 152"/>
                <a:gd name="T79" fmla="*/ 144 h 144"/>
                <a:gd name="T80" fmla="*/ 114 w 152"/>
                <a:gd name="T81" fmla="*/ 134 h 144"/>
                <a:gd name="T82" fmla="*/ 47 w 152"/>
                <a:gd name="T83" fmla="*/ 144 h 144"/>
                <a:gd name="T84" fmla="*/ 9 w 152"/>
                <a:gd name="T85" fmla="*/ 134 h 144"/>
                <a:gd name="T86" fmla="*/ 9 w 152"/>
                <a:gd name="T87" fmla="*/ 105 h 144"/>
                <a:gd name="T88" fmla="*/ 9 w 152"/>
                <a:gd name="T89" fmla="*/ 48 h 144"/>
                <a:gd name="T90" fmla="*/ 0 w 152"/>
                <a:gd name="T91" fmla="*/ 19 h 144"/>
                <a:gd name="T92" fmla="*/ 9 w 152"/>
                <a:gd name="T93" fmla="*/ 10 h 144"/>
                <a:gd name="T94" fmla="*/ 9 w 152"/>
                <a:gd name="T95" fmla="*/ 0 h 14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2"/>
                <a:gd name="T145" fmla="*/ 0 h 144"/>
                <a:gd name="T146" fmla="*/ 152 w 152"/>
                <a:gd name="T147" fmla="*/ 144 h 14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2" h="144">
                  <a:moveTo>
                    <a:pt x="9" y="0"/>
                  </a:moveTo>
                  <a:lnTo>
                    <a:pt x="9" y="0"/>
                  </a:lnTo>
                  <a:lnTo>
                    <a:pt x="28" y="0"/>
                  </a:lnTo>
                  <a:lnTo>
                    <a:pt x="38" y="0"/>
                  </a:lnTo>
                  <a:lnTo>
                    <a:pt x="57" y="10"/>
                  </a:lnTo>
                  <a:lnTo>
                    <a:pt x="66" y="10"/>
                  </a:lnTo>
                  <a:lnTo>
                    <a:pt x="76" y="0"/>
                  </a:lnTo>
                  <a:lnTo>
                    <a:pt x="86" y="0"/>
                  </a:lnTo>
                  <a:lnTo>
                    <a:pt x="95" y="0"/>
                  </a:lnTo>
                  <a:lnTo>
                    <a:pt x="105" y="0"/>
                  </a:lnTo>
                  <a:lnTo>
                    <a:pt x="114" y="0"/>
                  </a:lnTo>
                  <a:lnTo>
                    <a:pt x="133" y="0"/>
                  </a:lnTo>
                  <a:lnTo>
                    <a:pt x="143" y="10"/>
                  </a:lnTo>
                  <a:lnTo>
                    <a:pt x="143" y="29"/>
                  </a:lnTo>
                  <a:lnTo>
                    <a:pt x="143" y="48"/>
                  </a:lnTo>
                  <a:lnTo>
                    <a:pt x="133" y="48"/>
                  </a:lnTo>
                  <a:lnTo>
                    <a:pt x="124" y="48"/>
                  </a:lnTo>
                  <a:lnTo>
                    <a:pt x="114" y="39"/>
                  </a:lnTo>
                  <a:lnTo>
                    <a:pt x="114" y="19"/>
                  </a:lnTo>
                  <a:lnTo>
                    <a:pt x="105" y="19"/>
                  </a:lnTo>
                  <a:lnTo>
                    <a:pt x="114" y="39"/>
                  </a:lnTo>
                  <a:lnTo>
                    <a:pt x="124" y="48"/>
                  </a:lnTo>
                  <a:lnTo>
                    <a:pt x="124" y="58"/>
                  </a:lnTo>
                  <a:lnTo>
                    <a:pt x="133" y="67"/>
                  </a:lnTo>
                  <a:lnTo>
                    <a:pt x="143" y="86"/>
                  </a:lnTo>
                  <a:lnTo>
                    <a:pt x="152" y="105"/>
                  </a:lnTo>
                  <a:lnTo>
                    <a:pt x="152" y="124"/>
                  </a:lnTo>
                  <a:lnTo>
                    <a:pt x="143" y="134"/>
                  </a:lnTo>
                  <a:lnTo>
                    <a:pt x="133" y="134"/>
                  </a:lnTo>
                  <a:lnTo>
                    <a:pt x="133" y="144"/>
                  </a:lnTo>
                  <a:lnTo>
                    <a:pt x="124" y="144"/>
                  </a:lnTo>
                  <a:lnTo>
                    <a:pt x="114" y="134"/>
                  </a:lnTo>
                  <a:lnTo>
                    <a:pt x="47" y="144"/>
                  </a:lnTo>
                  <a:lnTo>
                    <a:pt x="9" y="134"/>
                  </a:lnTo>
                  <a:lnTo>
                    <a:pt x="9" y="105"/>
                  </a:lnTo>
                  <a:lnTo>
                    <a:pt x="9" y="48"/>
                  </a:lnTo>
                  <a:lnTo>
                    <a:pt x="0" y="19"/>
                  </a:lnTo>
                  <a:lnTo>
                    <a:pt x="9" y="10"/>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89" name="Freeform 167">
              <a:extLst>
                <a:ext uri="{FF2B5EF4-FFF2-40B4-BE49-F238E27FC236}">
                  <a16:creationId xmlns:a16="http://schemas.microsoft.com/office/drawing/2014/main" id="{1E9EE112-045E-40D5-9049-A50BEA8DB980}"/>
                </a:ext>
              </a:extLst>
            </p:cNvPr>
            <p:cNvSpPr>
              <a:spLocks/>
            </p:cNvSpPr>
            <p:nvPr/>
          </p:nvSpPr>
          <p:spPr bwMode="gray">
            <a:xfrm>
              <a:off x="2827" y="2395"/>
              <a:ext cx="238" cy="200"/>
            </a:xfrm>
            <a:custGeom>
              <a:avLst/>
              <a:gdLst>
                <a:gd name="T0" fmla="*/ 238 w 238"/>
                <a:gd name="T1" fmla="*/ 162 h 200"/>
                <a:gd name="T2" fmla="*/ 229 w 238"/>
                <a:gd name="T3" fmla="*/ 191 h 200"/>
                <a:gd name="T4" fmla="*/ 219 w 238"/>
                <a:gd name="T5" fmla="*/ 200 h 200"/>
                <a:gd name="T6" fmla="*/ 105 w 238"/>
                <a:gd name="T7" fmla="*/ 143 h 200"/>
                <a:gd name="T8" fmla="*/ 86 w 238"/>
                <a:gd name="T9" fmla="*/ 152 h 200"/>
                <a:gd name="T10" fmla="*/ 48 w 238"/>
                <a:gd name="T11" fmla="*/ 143 h 200"/>
                <a:gd name="T12" fmla="*/ 38 w 238"/>
                <a:gd name="T13" fmla="*/ 133 h 200"/>
                <a:gd name="T14" fmla="*/ 19 w 238"/>
                <a:gd name="T15" fmla="*/ 133 h 200"/>
                <a:gd name="T16" fmla="*/ 10 w 238"/>
                <a:gd name="T17" fmla="*/ 114 h 200"/>
                <a:gd name="T18" fmla="*/ 0 w 238"/>
                <a:gd name="T19" fmla="*/ 105 h 200"/>
                <a:gd name="T20" fmla="*/ 10 w 238"/>
                <a:gd name="T21" fmla="*/ 95 h 200"/>
                <a:gd name="T22" fmla="*/ 10 w 238"/>
                <a:gd name="T23" fmla="*/ 76 h 200"/>
                <a:gd name="T24" fmla="*/ 10 w 238"/>
                <a:gd name="T25" fmla="*/ 67 h 200"/>
                <a:gd name="T26" fmla="*/ 10 w 238"/>
                <a:gd name="T27" fmla="*/ 67 h 200"/>
                <a:gd name="T28" fmla="*/ 10 w 238"/>
                <a:gd name="T29" fmla="*/ 38 h 200"/>
                <a:gd name="T30" fmla="*/ 10 w 238"/>
                <a:gd name="T31" fmla="*/ 38 h 200"/>
                <a:gd name="T32" fmla="*/ 19 w 238"/>
                <a:gd name="T33" fmla="*/ 38 h 200"/>
                <a:gd name="T34" fmla="*/ 19 w 238"/>
                <a:gd name="T35" fmla="*/ 19 h 200"/>
                <a:gd name="T36" fmla="*/ 29 w 238"/>
                <a:gd name="T37" fmla="*/ 19 h 200"/>
                <a:gd name="T38" fmla="*/ 38 w 238"/>
                <a:gd name="T39" fmla="*/ 9 h 200"/>
                <a:gd name="T40" fmla="*/ 38 w 238"/>
                <a:gd name="T41" fmla="*/ 0 h 200"/>
                <a:gd name="T42" fmla="*/ 48 w 238"/>
                <a:gd name="T43" fmla="*/ 9 h 200"/>
                <a:gd name="T44" fmla="*/ 67 w 238"/>
                <a:gd name="T45" fmla="*/ 9 h 200"/>
                <a:gd name="T46" fmla="*/ 76 w 238"/>
                <a:gd name="T47" fmla="*/ 9 h 200"/>
                <a:gd name="T48" fmla="*/ 86 w 238"/>
                <a:gd name="T49" fmla="*/ 9 h 200"/>
                <a:gd name="T50" fmla="*/ 95 w 238"/>
                <a:gd name="T51" fmla="*/ 28 h 200"/>
                <a:gd name="T52" fmla="*/ 124 w 238"/>
                <a:gd name="T53" fmla="*/ 38 h 200"/>
                <a:gd name="T54" fmla="*/ 143 w 238"/>
                <a:gd name="T55" fmla="*/ 47 h 200"/>
                <a:gd name="T56" fmla="*/ 162 w 238"/>
                <a:gd name="T57" fmla="*/ 38 h 200"/>
                <a:gd name="T58" fmla="*/ 162 w 238"/>
                <a:gd name="T59" fmla="*/ 38 h 200"/>
                <a:gd name="T60" fmla="*/ 162 w 238"/>
                <a:gd name="T61" fmla="*/ 28 h 200"/>
                <a:gd name="T62" fmla="*/ 162 w 238"/>
                <a:gd name="T63" fmla="*/ 19 h 200"/>
                <a:gd name="T64" fmla="*/ 181 w 238"/>
                <a:gd name="T65" fmla="*/ 9 h 200"/>
                <a:gd name="T66" fmla="*/ 191 w 238"/>
                <a:gd name="T67" fmla="*/ 0 h 200"/>
                <a:gd name="T68" fmla="*/ 210 w 238"/>
                <a:gd name="T69" fmla="*/ 9 h 200"/>
                <a:gd name="T70" fmla="*/ 210 w 238"/>
                <a:gd name="T71" fmla="*/ 19 h 200"/>
                <a:gd name="T72" fmla="*/ 219 w 238"/>
                <a:gd name="T73" fmla="*/ 19 h 200"/>
                <a:gd name="T74" fmla="*/ 229 w 238"/>
                <a:gd name="T75" fmla="*/ 19 h 200"/>
                <a:gd name="T76" fmla="*/ 238 w 238"/>
                <a:gd name="T77" fmla="*/ 28 h 200"/>
                <a:gd name="T78" fmla="*/ 238 w 238"/>
                <a:gd name="T79" fmla="*/ 38 h 200"/>
                <a:gd name="T80" fmla="*/ 229 w 238"/>
                <a:gd name="T81" fmla="*/ 47 h 200"/>
                <a:gd name="T82" fmla="*/ 238 w 238"/>
                <a:gd name="T83" fmla="*/ 76 h 200"/>
                <a:gd name="T84" fmla="*/ 238 w 238"/>
                <a:gd name="T85" fmla="*/ 133 h 200"/>
                <a:gd name="T86" fmla="*/ 238 w 238"/>
                <a:gd name="T87" fmla="*/ 162 h 2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8"/>
                <a:gd name="T133" fmla="*/ 0 h 200"/>
                <a:gd name="T134" fmla="*/ 238 w 238"/>
                <a:gd name="T135" fmla="*/ 200 h 2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8" h="200">
                  <a:moveTo>
                    <a:pt x="238" y="162"/>
                  </a:moveTo>
                  <a:lnTo>
                    <a:pt x="229" y="191"/>
                  </a:lnTo>
                  <a:lnTo>
                    <a:pt x="219" y="200"/>
                  </a:lnTo>
                  <a:lnTo>
                    <a:pt x="105" y="143"/>
                  </a:lnTo>
                  <a:lnTo>
                    <a:pt x="86" y="152"/>
                  </a:lnTo>
                  <a:lnTo>
                    <a:pt x="48" y="143"/>
                  </a:lnTo>
                  <a:lnTo>
                    <a:pt x="38" y="133"/>
                  </a:lnTo>
                  <a:lnTo>
                    <a:pt x="19" y="133"/>
                  </a:lnTo>
                  <a:lnTo>
                    <a:pt x="10" y="114"/>
                  </a:lnTo>
                  <a:lnTo>
                    <a:pt x="0" y="105"/>
                  </a:lnTo>
                  <a:lnTo>
                    <a:pt x="10" y="95"/>
                  </a:lnTo>
                  <a:lnTo>
                    <a:pt x="10" y="76"/>
                  </a:lnTo>
                  <a:lnTo>
                    <a:pt x="10" y="67"/>
                  </a:lnTo>
                  <a:lnTo>
                    <a:pt x="10" y="38"/>
                  </a:lnTo>
                  <a:lnTo>
                    <a:pt x="19" y="38"/>
                  </a:lnTo>
                  <a:lnTo>
                    <a:pt x="19" y="19"/>
                  </a:lnTo>
                  <a:lnTo>
                    <a:pt x="29" y="19"/>
                  </a:lnTo>
                  <a:lnTo>
                    <a:pt x="38" y="9"/>
                  </a:lnTo>
                  <a:lnTo>
                    <a:pt x="38" y="0"/>
                  </a:lnTo>
                  <a:lnTo>
                    <a:pt x="48" y="9"/>
                  </a:lnTo>
                  <a:lnTo>
                    <a:pt x="67" y="9"/>
                  </a:lnTo>
                  <a:lnTo>
                    <a:pt x="76" y="9"/>
                  </a:lnTo>
                  <a:lnTo>
                    <a:pt x="86" y="9"/>
                  </a:lnTo>
                  <a:lnTo>
                    <a:pt x="95" y="28"/>
                  </a:lnTo>
                  <a:lnTo>
                    <a:pt x="124" y="38"/>
                  </a:lnTo>
                  <a:lnTo>
                    <a:pt x="143" y="47"/>
                  </a:lnTo>
                  <a:lnTo>
                    <a:pt x="162" y="38"/>
                  </a:lnTo>
                  <a:lnTo>
                    <a:pt x="162" y="28"/>
                  </a:lnTo>
                  <a:lnTo>
                    <a:pt x="162" y="19"/>
                  </a:lnTo>
                  <a:lnTo>
                    <a:pt x="181" y="9"/>
                  </a:lnTo>
                  <a:lnTo>
                    <a:pt x="191" y="0"/>
                  </a:lnTo>
                  <a:lnTo>
                    <a:pt x="210" y="9"/>
                  </a:lnTo>
                  <a:lnTo>
                    <a:pt x="210" y="19"/>
                  </a:lnTo>
                  <a:lnTo>
                    <a:pt x="219" y="19"/>
                  </a:lnTo>
                  <a:lnTo>
                    <a:pt x="229" y="19"/>
                  </a:lnTo>
                  <a:lnTo>
                    <a:pt x="238" y="28"/>
                  </a:lnTo>
                  <a:lnTo>
                    <a:pt x="238" y="38"/>
                  </a:lnTo>
                  <a:lnTo>
                    <a:pt x="229" y="47"/>
                  </a:lnTo>
                  <a:lnTo>
                    <a:pt x="238" y="76"/>
                  </a:lnTo>
                  <a:lnTo>
                    <a:pt x="238" y="133"/>
                  </a:lnTo>
                  <a:lnTo>
                    <a:pt x="238" y="162"/>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90" name="Freeform 168">
              <a:extLst>
                <a:ext uri="{FF2B5EF4-FFF2-40B4-BE49-F238E27FC236}">
                  <a16:creationId xmlns:a16="http://schemas.microsoft.com/office/drawing/2014/main" id="{5FCFDE71-61D4-4AC1-A9CC-BCEAD7740737}"/>
                </a:ext>
              </a:extLst>
            </p:cNvPr>
            <p:cNvSpPr>
              <a:spLocks/>
            </p:cNvSpPr>
            <p:nvPr/>
          </p:nvSpPr>
          <p:spPr bwMode="gray">
            <a:xfrm>
              <a:off x="3018" y="2547"/>
              <a:ext cx="238" cy="268"/>
            </a:xfrm>
            <a:custGeom>
              <a:avLst/>
              <a:gdLst>
                <a:gd name="T0" fmla="*/ 28 w 238"/>
                <a:gd name="T1" fmla="*/ 48 h 268"/>
                <a:gd name="T2" fmla="*/ 38 w 238"/>
                <a:gd name="T3" fmla="*/ 39 h 268"/>
                <a:gd name="T4" fmla="*/ 47 w 238"/>
                <a:gd name="T5" fmla="*/ 10 h 268"/>
                <a:gd name="T6" fmla="*/ 85 w 238"/>
                <a:gd name="T7" fmla="*/ 20 h 268"/>
                <a:gd name="T8" fmla="*/ 152 w 238"/>
                <a:gd name="T9" fmla="*/ 10 h 268"/>
                <a:gd name="T10" fmla="*/ 162 w 238"/>
                <a:gd name="T11" fmla="*/ 20 h 268"/>
                <a:gd name="T12" fmla="*/ 171 w 238"/>
                <a:gd name="T13" fmla="*/ 20 h 268"/>
                <a:gd name="T14" fmla="*/ 171 w 238"/>
                <a:gd name="T15" fmla="*/ 10 h 268"/>
                <a:gd name="T16" fmla="*/ 181 w 238"/>
                <a:gd name="T17" fmla="*/ 10 h 268"/>
                <a:gd name="T18" fmla="*/ 190 w 238"/>
                <a:gd name="T19" fmla="*/ 0 h 268"/>
                <a:gd name="T20" fmla="*/ 209 w 238"/>
                <a:gd name="T21" fmla="*/ 10 h 268"/>
                <a:gd name="T22" fmla="*/ 209 w 238"/>
                <a:gd name="T23" fmla="*/ 20 h 268"/>
                <a:gd name="T24" fmla="*/ 209 w 238"/>
                <a:gd name="T25" fmla="*/ 48 h 268"/>
                <a:gd name="T26" fmla="*/ 209 w 238"/>
                <a:gd name="T27" fmla="*/ 58 h 268"/>
                <a:gd name="T28" fmla="*/ 238 w 238"/>
                <a:gd name="T29" fmla="*/ 77 h 268"/>
                <a:gd name="T30" fmla="*/ 209 w 238"/>
                <a:gd name="T31" fmla="*/ 86 h 268"/>
                <a:gd name="T32" fmla="*/ 200 w 238"/>
                <a:gd name="T33" fmla="*/ 105 h 268"/>
                <a:gd name="T34" fmla="*/ 200 w 238"/>
                <a:gd name="T35" fmla="*/ 125 h 268"/>
                <a:gd name="T36" fmla="*/ 200 w 238"/>
                <a:gd name="T37" fmla="*/ 153 h 268"/>
                <a:gd name="T38" fmla="*/ 190 w 238"/>
                <a:gd name="T39" fmla="*/ 153 h 268"/>
                <a:gd name="T40" fmla="*/ 181 w 238"/>
                <a:gd name="T41" fmla="*/ 172 h 268"/>
                <a:gd name="T42" fmla="*/ 171 w 238"/>
                <a:gd name="T43" fmla="*/ 172 h 268"/>
                <a:gd name="T44" fmla="*/ 171 w 238"/>
                <a:gd name="T45" fmla="*/ 191 h 268"/>
                <a:gd name="T46" fmla="*/ 162 w 238"/>
                <a:gd name="T47" fmla="*/ 210 h 268"/>
                <a:gd name="T48" fmla="*/ 181 w 238"/>
                <a:gd name="T49" fmla="*/ 229 h 268"/>
                <a:gd name="T50" fmla="*/ 181 w 238"/>
                <a:gd name="T51" fmla="*/ 239 h 268"/>
                <a:gd name="T52" fmla="*/ 190 w 238"/>
                <a:gd name="T53" fmla="*/ 258 h 268"/>
                <a:gd name="T54" fmla="*/ 171 w 238"/>
                <a:gd name="T55" fmla="*/ 258 h 268"/>
                <a:gd name="T56" fmla="*/ 162 w 238"/>
                <a:gd name="T57" fmla="*/ 268 h 268"/>
                <a:gd name="T58" fmla="*/ 133 w 238"/>
                <a:gd name="T59" fmla="*/ 268 h 268"/>
                <a:gd name="T60" fmla="*/ 124 w 238"/>
                <a:gd name="T61" fmla="*/ 268 h 268"/>
                <a:gd name="T62" fmla="*/ 124 w 238"/>
                <a:gd name="T63" fmla="*/ 268 h 268"/>
                <a:gd name="T64" fmla="*/ 114 w 238"/>
                <a:gd name="T65" fmla="*/ 258 h 268"/>
                <a:gd name="T66" fmla="*/ 104 w 238"/>
                <a:gd name="T67" fmla="*/ 258 h 268"/>
                <a:gd name="T68" fmla="*/ 95 w 238"/>
                <a:gd name="T69" fmla="*/ 258 h 268"/>
                <a:gd name="T70" fmla="*/ 85 w 238"/>
                <a:gd name="T71" fmla="*/ 258 h 268"/>
                <a:gd name="T72" fmla="*/ 85 w 238"/>
                <a:gd name="T73" fmla="*/ 258 h 268"/>
                <a:gd name="T74" fmla="*/ 76 w 238"/>
                <a:gd name="T75" fmla="*/ 249 h 268"/>
                <a:gd name="T76" fmla="*/ 76 w 238"/>
                <a:gd name="T77" fmla="*/ 239 h 268"/>
                <a:gd name="T78" fmla="*/ 57 w 238"/>
                <a:gd name="T79" fmla="*/ 239 h 268"/>
                <a:gd name="T80" fmla="*/ 57 w 238"/>
                <a:gd name="T81" fmla="*/ 229 h 268"/>
                <a:gd name="T82" fmla="*/ 47 w 238"/>
                <a:gd name="T83" fmla="*/ 210 h 268"/>
                <a:gd name="T84" fmla="*/ 38 w 238"/>
                <a:gd name="T85" fmla="*/ 210 h 268"/>
                <a:gd name="T86" fmla="*/ 28 w 238"/>
                <a:gd name="T87" fmla="*/ 201 h 268"/>
                <a:gd name="T88" fmla="*/ 19 w 238"/>
                <a:gd name="T89" fmla="*/ 201 h 268"/>
                <a:gd name="T90" fmla="*/ 28 w 238"/>
                <a:gd name="T91" fmla="*/ 182 h 268"/>
                <a:gd name="T92" fmla="*/ 19 w 238"/>
                <a:gd name="T93" fmla="*/ 172 h 268"/>
                <a:gd name="T94" fmla="*/ 19 w 238"/>
                <a:gd name="T95" fmla="*/ 172 h 268"/>
                <a:gd name="T96" fmla="*/ 19 w 238"/>
                <a:gd name="T97" fmla="*/ 163 h 268"/>
                <a:gd name="T98" fmla="*/ 9 w 238"/>
                <a:gd name="T99" fmla="*/ 163 h 268"/>
                <a:gd name="T100" fmla="*/ 9 w 238"/>
                <a:gd name="T101" fmla="*/ 153 h 268"/>
                <a:gd name="T102" fmla="*/ 0 w 238"/>
                <a:gd name="T103" fmla="*/ 144 h 268"/>
                <a:gd name="T104" fmla="*/ 0 w 238"/>
                <a:gd name="T105" fmla="*/ 144 h 268"/>
                <a:gd name="T106" fmla="*/ 9 w 238"/>
                <a:gd name="T107" fmla="*/ 125 h 268"/>
                <a:gd name="T108" fmla="*/ 9 w 238"/>
                <a:gd name="T109" fmla="*/ 115 h 268"/>
                <a:gd name="T110" fmla="*/ 9 w 238"/>
                <a:gd name="T111" fmla="*/ 105 h 268"/>
                <a:gd name="T112" fmla="*/ 28 w 238"/>
                <a:gd name="T113" fmla="*/ 105 h 268"/>
                <a:gd name="T114" fmla="*/ 28 w 238"/>
                <a:gd name="T115" fmla="*/ 48 h 2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8"/>
                <a:gd name="T175" fmla="*/ 0 h 268"/>
                <a:gd name="T176" fmla="*/ 238 w 238"/>
                <a:gd name="T177" fmla="*/ 268 h 2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8" h="268">
                  <a:moveTo>
                    <a:pt x="28" y="48"/>
                  </a:moveTo>
                  <a:lnTo>
                    <a:pt x="38" y="39"/>
                  </a:lnTo>
                  <a:lnTo>
                    <a:pt x="47" y="10"/>
                  </a:lnTo>
                  <a:lnTo>
                    <a:pt x="85" y="20"/>
                  </a:lnTo>
                  <a:lnTo>
                    <a:pt x="152" y="10"/>
                  </a:lnTo>
                  <a:lnTo>
                    <a:pt x="162" y="20"/>
                  </a:lnTo>
                  <a:lnTo>
                    <a:pt x="171" y="20"/>
                  </a:lnTo>
                  <a:lnTo>
                    <a:pt x="171" y="10"/>
                  </a:lnTo>
                  <a:lnTo>
                    <a:pt x="181" y="10"/>
                  </a:lnTo>
                  <a:lnTo>
                    <a:pt x="190" y="0"/>
                  </a:lnTo>
                  <a:lnTo>
                    <a:pt x="209" y="10"/>
                  </a:lnTo>
                  <a:lnTo>
                    <a:pt x="209" y="20"/>
                  </a:lnTo>
                  <a:lnTo>
                    <a:pt x="209" y="48"/>
                  </a:lnTo>
                  <a:lnTo>
                    <a:pt x="209" y="58"/>
                  </a:lnTo>
                  <a:lnTo>
                    <a:pt x="238" y="77"/>
                  </a:lnTo>
                  <a:lnTo>
                    <a:pt x="209" y="86"/>
                  </a:lnTo>
                  <a:lnTo>
                    <a:pt x="200" y="105"/>
                  </a:lnTo>
                  <a:lnTo>
                    <a:pt x="200" y="125"/>
                  </a:lnTo>
                  <a:lnTo>
                    <a:pt x="200" y="153"/>
                  </a:lnTo>
                  <a:lnTo>
                    <a:pt x="190" y="153"/>
                  </a:lnTo>
                  <a:lnTo>
                    <a:pt x="181" y="172"/>
                  </a:lnTo>
                  <a:lnTo>
                    <a:pt x="171" y="172"/>
                  </a:lnTo>
                  <a:lnTo>
                    <a:pt x="171" y="191"/>
                  </a:lnTo>
                  <a:lnTo>
                    <a:pt x="162" y="210"/>
                  </a:lnTo>
                  <a:lnTo>
                    <a:pt x="181" y="229"/>
                  </a:lnTo>
                  <a:lnTo>
                    <a:pt x="181" y="239"/>
                  </a:lnTo>
                  <a:lnTo>
                    <a:pt x="190" y="258"/>
                  </a:lnTo>
                  <a:lnTo>
                    <a:pt x="171" y="258"/>
                  </a:lnTo>
                  <a:lnTo>
                    <a:pt x="162" y="268"/>
                  </a:lnTo>
                  <a:lnTo>
                    <a:pt x="133" y="268"/>
                  </a:lnTo>
                  <a:lnTo>
                    <a:pt x="124" y="268"/>
                  </a:lnTo>
                  <a:lnTo>
                    <a:pt x="114" y="258"/>
                  </a:lnTo>
                  <a:lnTo>
                    <a:pt x="104" y="258"/>
                  </a:lnTo>
                  <a:lnTo>
                    <a:pt x="95" y="258"/>
                  </a:lnTo>
                  <a:lnTo>
                    <a:pt x="85" y="258"/>
                  </a:lnTo>
                  <a:lnTo>
                    <a:pt x="76" y="249"/>
                  </a:lnTo>
                  <a:lnTo>
                    <a:pt x="76" y="239"/>
                  </a:lnTo>
                  <a:lnTo>
                    <a:pt x="57" y="239"/>
                  </a:lnTo>
                  <a:lnTo>
                    <a:pt x="57" y="229"/>
                  </a:lnTo>
                  <a:lnTo>
                    <a:pt x="47" y="210"/>
                  </a:lnTo>
                  <a:lnTo>
                    <a:pt x="38" y="210"/>
                  </a:lnTo>
                  <a:lnTo>
                    <a:pt x="28" y="201"/>
                  </a:lnTo>
                  <a:lnTo>
                    <a:pt x="19" y="201"/>
                  </a:lnTo>
                  <a:lnTo>
                    <a:pt x="28" y="182"/>
                  </a:lnTo>
                  <a:lnTo>
                    <a:pt x="19" y="172"/>
                  </a:lnTo>
                  <a:lnTo>
                    <a:pt x="19" y="163"/>
                  </a:lnTo>
                  <a:lnTo>
                    <a:pt x="9" y="163"/>
                  </a:lnTo>
                  <a:lnTo>
                    <a:pt x="9" y="153"/>
                  </a:lnTo>
                  <a:lnTo>
                    <a:pt x="0" y="144"/>
                  </a:lnTo>
                  <a:lnTo>
                    <a:pt x="9" y="125"/>
                  </a:lnTo>
                  <a:lnTo>
                    <a:pt x="9" y="115"/>
                  </a:lnTo>
                  <a:lnTo>
                    <a:pt x="9" y="105"/>
                  </a:lnTo>
                  <a:lnTo>
                    <a:pt x="28" y="105"/>
                  </a:lnTo>
                  <a:lnTo>
                    <a:pt x="28" y="4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91" name="Freeform 169">
              <a:extLst>
                <a:ext uri="{FF2B5EF4-FFF2-40B4-BE49-F238E27FC236}">
                  <a16:creationId xmlns:a16="http://schemas.microsoft.com/office/drawing/2014/main" id="{6CD1A8B9-272C-47E0-95D5-388E9CC50E8C}"/>
                </a:ext>
              </a:extLst>
            </p:cNvPr>
            <p:cNvSpPr>
              <a:spLocks/>
            </p:cNvSpPr>
            <p:nvPr/>
          </p:nvSpPr>
          <p:spPr bwMode="gray">
            <a:xfrm>
              <a:off x="3218" y="2624"/>
              <a:ext cx="95" cy="76"/>
            </a:xfrm>
            <a:custGeom>
              <a:avLst/>
              <a:gdLst>
                <a:gd name="T0" fmla="*/ 95 w 95"/>
                <a:gd name="T1" fmla="*/ 67 h 76"/>
                <a:gd name="T2" fmla="*/ 95 w 95"/>
                <a:gd name="T3" fmla="*/ 76 h 76"/>
                <a:gd name="T4" fmla="*/ 86 w 95"/>
                <a:gd name="T5" fmla="*/ 76 h 76"/>
                <a:gd name="T6" fmla="*/ 76 w 95"/>
                <a:gd name="T7" fmla="*/ 57 h 76"/>
                <a:gd name="T8" fmla="*/ 57 w 95"/>
                <a:gd name="T9" fmla="*/ 48 h 76"/>
                <a:gd name="T10" fmla="*/ 38 w 95"/>
                <a:gd name="T11" fmla="*/ 48 h 76"/>
                <a:gd name="T12" fmla="*/ 0 w 95"/>
                <a:gd name="T13" fmla="*/ 48 h 76"/>
                <a:gd name="T14" fmla="*/ 9 w 95"/>
                <a:gd name="T15" fmla="*/ 28 h 76"/>
                <a:gd name="T16" fmla="*/ 19 w 95"/>
                <a:gd name="T17" fmla="*/ 9 h 76"/>
                <a:gd name="T18" fmla="*/ 38 w 95"/>
                <a:gd name="T19" fmla="*/ 0 h 76"/>
                <a:gd name="T20" fmla="*/ 38 w 95"/>
                <a:gd name="T21" fmla="*/ 9 h 76"/>
                <a:gd name="T22" fmla="*/ 57 w 95"/>
                <a:gd name="T23" fmla="*/ 28 h 76"/>
                <a:gd name="T24" fmla="*/ 57 w 95"/>
                <a:gd name="T25" fmla="*/ 38 h 76"/>
                <a:gd name="T26" fmla="*/ 76 w 95"/>
                <a:gd name="T27" fmla="*/ 48 h 76"/>
                <a:gd name="T28" fmla="*/ 95 w 95"/>
                <a:gd name="T29" fmla="*/ 67 h 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5"/>
                <a:gd name="T46" fmla="*/ 0 h 76"/>
                <a:gd name="T47" fmla="*/ 95 w 95"/>
                <a:gd name="T48" fmla="*/ 76 h 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5" h="76">
                  <a:moveTo>
                    <a:pt x="95" y="67"/>
                  </a:moveTo>
                  <a:lnTo>
                    <a:pt x="95" y="76"/>
                  </a:lnTo>
                  <a:lnTo>
                    <a:pt x="86" y="76"/>
                  </a:lnTo>
                  <a:lnTo>
                    <a:pt x="76" y="57"/>
                  </a:lnTo>
                  <a:lnTo>
                    <a:pt x="57" y="48"/>
                  </a:lnTo>
                  <a:lnTo>
                    <a:pt x="38" y="48"/>
                  </a:lnTo>
                  <a:lnTo>
                    <a:pt x="0" y="48"/>
                  </a:lnTo>
                  <a:lnTo>
                    <a:pt x="9" y="28"/>
                  </a:lnTo>
                  <a:lnTo>
                    <a:pt x="19" y="9"/>
                  </a:lnTo>
                  <a:lnTo>
                    <a:pt x="38" y="0"/>
                  </a:lnTo>
                  <a:lnTo>
                    <a:pt x="38" y="9"/>
                  </a:lnTo>
                  <a:lnTo>
                    <a:pt x="57" y="28"/>
                  </a:lnTo>
                  <a:lnTo>
                    <a:pt x="57" y="38"/>
                  </a:lnTo>
                  <a:lnTo>
                    <a:pt x="76" y="48"/>
                  </a:lnTo>
                  <a:lnTo>
                    <a:pt x="95" y="6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92" name="Freeform 170">
              <a:extLst>
                <a:ext uri="{FF2B5EF4-FFF2-40B4-BE49-F238E27FC236}">
                  <a16:creationId xmlns:a16="http://schemas.microsoft.com/office/drawing/2014/main" id="{90C5B937-DAA2-46B2-B49B-CC8F6E8098D4}"/>
                </a:ext>
              </a:extLst>
            </p:cNvPr>
            <p:cNvSpPr>
              <a:spLocks/>
            </p:cNvSpPr>
            <p:nvPr/>
          </p:nvSpPr>
          <p:spPr bwMode="gray">
            <a:xfrm>
              <a:off x="3180" y="2672"/>
              <a:ext cx="219" cy="143"/>
            </a:xfrm>
            <a:custGeom>
              <a:avLst/>
              <a:gdLst>
                <a:gd name="T0" fmla="*/ 38 w 219"/>
                <a:gd name="T1" fmla="*/ 133 h 143"/>
                <a:gd name="T2" fmla="*/ 19 w 219"/>
                <a:gd name="T3" fmla="*/ 114 h 143"/>
                <a:gd name="T4" fmla="*/ 19 w 219"/>
                <a:gd name="T5" fmla="*/ 104 h 143"/>
                <a:gd name="T6" fmla="*/ 0 w 219"/>
                <a:gd name="T7" fmla="*/ 76 h 143"/>
                <a:gd name="T8" fmla="*/ 9 w 219"/>
                <a:gd name="T9" fmla="*/ 66 h 143"/>
                <a:gd name="T10" fmla="*/ 9 w 219"/>
                <a:gd name="T11" fmla="*/ 47 h 143"/>
                <a:gd name="T12" fmla="*/ 19 w 219"/>
                <a:gd name="T13" fmla="*/ 47 h 143"/>
                <a:gd name="T14" fmla="*/ 28 w 219"/>
                <a:gd name="T15" fmla="*/ 28 h 143"/>
                <a:gd name="T16" fmla="*/ 38 w 219"/>
                <a:gd name="T17" fmla="*/ 28 h 143"/>
                <a:gd name="T18" fmla="*/ 38 w 219"/>
                <a:gd name="T19" fmla="*/ 0 h 143"/>
                <a:gd name="T20" fmla="*/ 76 w 219"/>
                <a:gd name="T21" fmla="*/ 0 h 143"/>
                <a:gd name="T22" fmla="*/ 95 w 219"/>
                <a:gd name="T23" fmla="*/ 0 h 143"/>
                <a:gd name="T24" fmla="*/ 114 w 219"/>
                <a:gd name="T25" fmla="*/ 9 h 143"/>
                <a:gd name="T26" fmla="*/ 124 w 219"/>
                <a:gd name="T27" fmla="*/ 28 h 143"/>
                <a:gd name="T28" fmla="*/ 124 w 219"/>
                <a:gd name="T29" fmla="*/ 38 h 143"/>
                <a:gd name="T30" fmla="*/ 124 w 219"/>
                <a:gd name="T31" fmla="*/ 47 h 143"/>
                <a:gd name="T32" fmla="*/ 133 w 219"/>
                <a:gd name="T33" fmla="*/ 47 h 143"/>
                <a:gd name="T34" fmla="*/ 133 w 219"/>
                <a:gd name="T35" fmla="*/ 57 h 143"/>
                <a:gd name="T36" fmla="*/ 143 w 219"/>
                <a:gd name="T37" fmla="*/ 66 h 143"/>
                <a:gd name="T38" fmla="*/ 152 w 219"/>
                <a:gd name="T39" fmla="*/ 66 h 143"/>
                <a:gd name="T40" fmla="*/ 171 w 219"/>
                <a:gd name="T41" fmla="*/ 76 h 143"/>
                <a:gd name="T42" fmla="*/ 209 w 219"/>
                <a:gd name="T43" fmla="*/ 85 h 143"/>
                <a:gd name="T44" fmla="*/ 219 w 219"/>
                <a:gd name="T45" fmla="*/ 76 h 143"/>
                <a:gd name="T46" fmla="*/ 209 w 219"/>
                <a:gd name="T47" fmla="*/ 95 h 143"/>
                <a:gd name="T48" fmla="*/ 162 w 219"/>
                <a:gd name="T49" fmla="*/ 124 h 143"/>
                <a:gd name="T50" fmla="*/ 133 w 219"/>
                <a:gd name="T51" fmla="*/ 133 h 143"/>
                <a:gd name="T52" fmla="*/ 124 w 219"/>
                <a:gd name="T53" fmla="*/ 143 h 143"/>
                <a:gd name="T54" fmla="*/ 95 w 219"/>
                <a:gd name="T55" fmla="*/ 133 h 143"/>
                <a:gd name="T56" fmla="*/ 85 w 219"/>
                <a:gd name="T57" fmla="*/ 143 h 143"/>
                <a:gd name="T58" fmla="*/ 66 w 219"/>
                <a:gd name="T59" fmla="*/ 143 h 143"/>
                <a:gd name="T60" fmla="*/ 38 w 219"/>
                <a:gd name="T61" fmla="*/ 133 h 143"/>
                <a:gd name="T62" fmla="*/ 38 w 219"/>
                <a:gd name="T63" fmla="*/ 133 h 14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9"/>
                <a:gd name="T97" fmla="*/ 0 h 143"/>
                <a:gd name="T98" fmla="*/ 219 w 219"/>
                <a:gd name="T99" fmla="*/ 143 h 14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9" h="143">
                  <a:moveTo>
                    <a:pt x="38" y="133"/>
                  </a:moveTo>
                  <a:lnTo>
                    <a:pt x="19" y="114"/>
                  </a:lnTo>
                  <a:lnTo>
                    <a:pt x="19" y="104"/>
                  </a:lnTo>
                  <a:lnTo>
                    <a:pt x="0" y="76"/>
                  </a:lnTo>
                  <a:lnTo>
                    <a:pt x="9" y="66"/>
                  </a:lnTo>
                  <a:lnTo>
                    <a:pt x="9" y="47"/>
                  </a:lnTo>
                  <a:lnTo>
                    <a:pt x="19" y="47"/>
                  </a:lnTo>
                  <a:lnTo>
                    <a:pt x="28" y="28"/>
                  </a:lnTo>
                  <a:lnTo>
                    <a:pt x="38" y="28"/>
                  </a:lnTo>
                  <a:lnTo>
                    <a:pt x="38" y="0"/>
                  </a:lnTo>
                  <a:lnTo>
                    <a:pt x="76" y="0"/>
                  </a:lnTo>
                  <a:lnTo>
                    <a:pt x="95" y="0"/>
                  </a:lnTo>
                  <a:lnTo>
                    <a:pt x="114" y="9"/>
                  </a:lnTo>
                  <a:lnTo>
                    <a:pt x="124" y="28"/>
                  </a:lnTo>
                  <a:lnTo>
                    <a:pt x="124" y="38"/>
                  </a:lnTo>
                  <a:lnTo>
                    <a:pt x="124" y="47"/>
                  </a:lnTo>
                  <a:lnTo>
                    <a:pt x="133" y="47"/>
                  </a:lnTo>
                  <a:lnTo>
                    <a:pt x="133" y="57"/>
                  </a:lnTo>
                  <a:lnTo>
                    <a:pt x="143" y="66"/>
                  </a:lnTo>
                  <a:lnTo>
                    <a:pt x="152" y="66"/>
                  </a:lnTo>
                  <a:lnTo>
                    <a:pt x="171" y="76"/>
                  </a:lnTo>
                  <a:lnTo>
                    <a:pt x="209" y="85"/>
                  </a:lnTo>
                  <a:lnTo>
                    <a:pt x="219" y="76"/>
                  </a:lnTo>
                  <a:lnTo>
                    <a:pt x="209" y="95"/>
                  </a:lnTo>
                  <a:lnTo>
                    <a:pt x="162" y="124"/>
                  </a:lnTo>
                  <a:lnTo>
                    <a:pt x="133" y="133"/>
                  </a:lnTo>
                  <a:lnTo>
                    <a:pt x="124" y="143"/>
                  </a:lnTo>
                  <a:lnTo>
                    <a:pt x="95" y="133"/>
                  </a:lnTo>
                  <a:lnTo>
                    <a:pt x="85" y="143"/>
                  </a:lnTo>
                  <a:lnTo>
                    <a:pt x="66" y="143"/>
                  </a:lnTo>
                  <a:lnTo>
                    <a:pt x="38" y="133"/>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93" name="Freeform 171">
              <a:extLst>
                <a:ext uri="{FF2B5EF4-FFF2-40B4-BE49-F238E27FC236}">
                  <a16:creationId xmlns:a16="http://schemas.microsoft.com/office/drawing/2014/main" id="{70F17B24-BB70-4EA1-9EA4-328D8AB0971D}"/>
                </a:ext>
              </a:extLst>
            </p:cNvPr>
            <p:cNvSpPr>
              <a:spLocks/>
            </p:cNvSpPr>
            <p:nvPr/>
          </p:nvSpPr>
          <p:spPr bwMode="gray">
            <a:xfrm>
              <a:off x="3294" y="2700"/>
              <a:ext cx="143" cy="181"/>
            </a:xfrm>
            <a:custGeom>
              <a:avLst/>
              <a:gdLst>
                <a:gd name="T0" fmla="*/ 10 w 143"/>
                <a:gd name="T1" fmla="*/ 181 h 181"/>
                <a:gd name="T2" fmla="*/ 19 w 143"/>
                <a:gd name="T3" fmla="*/ 162 h 181"/>
                <a:gd name="T4" fmla="*/ 29 w 143"/>
                <a:gd name="T5" fmla="*/ 153 h 181"/>
                <a:gd name="T6" fmla="*/ 48 w 143"/>
                <a:gd name="T7" fmla="*/ 143 h 181"/>
                <a:gd name="T8" fmla="*/ 67 w 143"/>
                <a:gd name="T9" fmla="*/ 134 h 181"/>
                <a:gd name="T10" fmla="*/ 76 w 143"/>
                <a:gd name="T11" fmla="*/ 124 h 181"/>
                <a:gd name="T12" fmla="*/ 86 w 143"/>
                <a:gd name="T13" fmla="*/ 115 h 181"/>
                <a:gd name="T14" fmla="*/ 105 w 143"/>
                <a:gd name="T15" fmla="*/ 96 h 181"/>
                <a:gd name="T16" fmla="*/ 114 w 143"/>
                <a:gd name="T17" fmla="*/ 86 h 181"/>
                <a:gd name="T18" fmla="*/ 114 w 143"/>
                <a:gd name="T19" fmla="*/ 76 h 181"/>
                <a:gd name="T20" fmla="*/ 124 w 143"/>
                <a:gd name="T21" fmla="*/ 67 h 181"/>
                <a:gd name="T22" fmla="*/ 143 w 143"/>
                <a:gd name="T23" fmla="*/ 48 h 181"/>
                <a:gd name="T24" fmla="*/ 143 w 143"/>
                <a:gd name="T25" fmla="*/ 29 h 181"/>
                <a:gd name="T26" fmla="*/ 143 w 143"/>
                <a:gd name="T27" fmla="*/ 10 h 181"/>
                <a:gd name="T28" fmla="*/ 143 w 143"/>
                <a:gd name="T29" fmla="*/ 0 h 181"/>
                <a:gd name="T30" fmla="*/ 134 w 143"/>
                <a:gd name="T31" fmla="*/ 0 h 181"/>
                <a:gd name="T32" fmla="*/ 124 w 143"/>
                <a:gd name="T33" fmla="*/ 10 h 181"/>
                <a:gd name="T34" fmla="*/ 105 w 143"/>
                <a:gd name="T35" fmla="*/ 10 h 181"/>
                <a:gd name="T36" fmla="*/ 105 w 143"/>
                <a:gd name="T37" fmla="*/ 10 h 181"/>
                <a:gd name="T38" fmla="*/ 95 w 143"/>
                <a:gd name="T39" fmla="*/ 10 h 181"/>
                <a:gd name="T40" fmla="*/ 76 w 143"/>
                <a:gd name="T41" fmla="*/ 19 h 181"/>
                <a:gd name="T42" fmla="*/ 57 w 143"/>
                <a:gd name="T43" fmla="*/ 19 h 181"/>
                <a:gd name="T44" fmla="*/ 48 w 143"/>
                <a:gd name="T45" fmla="*/ 29 h 181"/>
                <a:gd name="T46" fmla="*/ 48 w 143"/>
                <a:gd name="T47" fmla="*/ 29 h 181"/>
                <a:gd name="T48" fmla="*/ 29 w 143"/>
                <a:gd name="T49" fmla="*/ 10 h 181"/>
                <a:gd name="T50" fmla="*/ 19 w 143"/>
                <a:gd name="T51" fmla="*/ 19 h 181"/>
                <a:gd name="T52" fmla="*/ 19 w 143"/>
                <a:gd name="T53" fmla="*/ 29 h 181"/>
                <a:gd name="T54" fmla="*/ 29 w 143"/>
                <a:gd name="T55" fmla="*/ 38 h 181"/>
                <a:gd name="T56" fmla="*/ 38 w 143"/>
                <a:gd name="T57" fmla="*/ 38 h 181"/>
                <a:gd name="T58" fmla="*/ 57 w 143"/>
                <a:gd name="T59" fmla="*/ 48 h 181"/>
                <a:gd name="T60" fmla="*/ 95 w 143"/>
                <a:gd name="T61" fmla="*/ 57 h 181"/>
                <a:gd name="T62" fmla="*/ 105 w 143"/>
                <a:gd name="T63" fmla="*/ 57 h 181"/>
                <a:gd name="T64" fmla="*/ 95 w 143"/>
                <a:gd name="T65" fmla="*/ 67 h 181"/>
                <a:gd name="T66" fmla="*/ 48 w 143"/>
                <a:gd name="T67" fmla="*/ 96 h 181"/>
                <a:gd name="T68" fmla="*/ 19 w 143"/>
                <a:gd name="T69" fmla="*/ 105 h 181"/>
                <a:gd name="T70" fmla="*/ 10 w 143"/>
                <a:gd name="T71" fmla="*/ 115 h 181"/>
                <a:gd name="T72" fmla="*/ 0 w 143"/>
                <a:gd name="T73" fmla="*/ 115 h 181"/>
                <a:gd name="T74" fmla="*/ 0 w 143"/>
                <a:gd name="T75" fmla="*/ 181 h 181"/>
                <a:gd name="T76" fmla="*/ 10 w 143"/>
                <a:gd name="T77" fmla="*/ 181 h 18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3"/>
                <a:gd name="T118" fmla="*/ 0 h 181"/>
                <a:gd name="T119" fmla="*/ 143 w 143"/>
                <a:gd name="T120" fmla="*/ 181 h 18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3" h="181">
                  <a:moveTo>
                    <a:pt x="10" y="181"/>
                  </a:moveTo>
                  <a:lnTo>
                    <a:pt x="19" y="162"/>
                  </a:lnTo>
                  <a:lnTo>
                    <a:pt x="29" y="153"/>
                  </a:lnTo>
                  <a:lnTo>
                    <a:pt x="48" y="143"/>
                  </a:lnTo>
                  <a:lnTo>
                    <a:pt x="67" y="134"/>
                  </a:lnTo>
                  <a:lnTo>
                    <a:pt x="76" y="124"/>
                  </a:lnTo>
                  <a:lnTo>
                    <a:pt x="86" y="115"/>
                  </a:lnTo>
                  <a:lnTo>
                    <a:pt x="105" y="96"/>
                  </a:lnTo>
                  <a:lnTo>
                    <a:pt x="114" y="86"/>
                  </a:lnTo>
                  <a:lnTo>
                    <a:pt x="114" y="76"/>
                  </a:lnTo>
                  <a:lnTo>
                    <a:pt x="124" y="67"/>
                  </a:lnTo>
                  <a:lnTo>
                    <a:pt x="143" y="48"/>
                  </a:lnTo>
                  <a:lnTo>
                    <a:pt x="143" y="29"/>
                  </a:lnTo>
                  <a:lnTo>
                    <a:pt x="143" y="10"/>
                  </a:lnTo>
                  <a:lnTo>
                    <a:pt x="143" y="0"/>
                  </a:lnTo>
                  <a:lnTo>
                    <a:pt x="134" y="0"/>
                  </a:lnTo>
                  <a:lnTo>
                    <a:pt x="124" y="10"/>
                  </a:lnTo>
                  <a:lnTo>
                    <a:pt x="105" y="10"/>
                  </a:lnTo>
                  <a:lnTo>
                    <a:pt x="95" y="10"/>
                  </a:lnTo>
                  <a:lnTo>
                    <a:pt x="76" y="19"/>
                  </a:lnTo>
                  <a:lnTo>
                    <a:pt x="57" y="19"/>
                  </a:lnTo>
                  <a:lnTo>
                    <a:pt x="48" y="29"/>
                  </a:lnTo>
                  <a:lnTo>
                    <a:pt x="29" y="10"/>
                  </a:lnTo>
                  <a:lnTo>
                    <a:pt x="19" y="19"/>
                  </a:lnTo>
                  <a:lnTo>
                    <a:pt x="19" y="29"/>
                  </a:lnTo>
                  <a:lnTo>
                    <a:pt x="29" y="38"/>
                  </a:lnTo>
                  <a:lnTo>
                    <a:pt x="38" y="38"/>
                  </a:lnTo>
                  <a:lnTo>
                    <a:pt x="57" y="48"/>
                  </a:lnTo>
                  <a:lnTo>
                    <a:pt x="95" y="57"/>
                  </a:lnTo>
                  <a:lnTo>
                    <a:pt x="105" y="57"/>
                  </a:lnTo>
                  <a:lnTo>
                    <a:pt x="95" y="67"/>
                  </a:lnTo>
                  <a:lnTo>
                    <a:pt x="48" y="96"/>
                  </a:lnTo>
                  <a:lnTo>
                    <a:pt x="19" y="105"/>
                  </a:lnTo>
                  <a:lnTo>
                    <a:pt x="10" y="115"/>
                  </a:lnTo>
                  <a:lnTo>
                    <a:pt x="0" y="115"/>
                  </a:lnTo>
                  <a:lnTo>
                    <a:pt x="0" y="181"/>
                  </a:lnTo>
                  <a:lnTo>
                    <a:pt x="10" y="181"/>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94" name="Freeform 172">
              <a:extLst>
                <a:ext uri="{FF2B5EF4-FFF2-40B4-BE49-F238E27FC236}">
                  <a16:creationId xmlns:a16="http://schemas.microsoft.com/office/drawing/2014/main" id="{2BF4C594-EBCE-4B74-9ABF-5FE5FCF84FED}"/>
                </a:ext>
              </a:extLst>
            </p:cNvPr>
            <p:cNvSpPr>
              <a:spLocks/>
            </p:cNvSpPr>
            <p:nvPr/>
          </p:nvSpPr>
          <p:spPr bwMode="gray">
            <a:xfrm>
              <a:off x="2798" y="2328"/>
              <a:ext cx="67" cy="105"/>
            </a:xfrm>
            <a:custGeom>
              <a:avLst/>
              <a:gdLst>
                <a:gd name="T0" fmla="*/ 10 w 67"/>
                <a:gd name="T1" fmla="*/ 9 h 105"/>
                <a:gd name="T2" fmla="*/ 10 w 67"/>
                <a:gd name="T3" fmla="*/ 19 h 105"/>
                <a:gd name="T4" fmla="*/ 19 w 67"/>
                <a:gd name="T5" fmla="*/ 29 h 105"/>
                <a:gd name="T6" fmla="*/ 10 w 67"/>
                <a:gd name="T7" fmla="*/ 38 h 105"/>
                <a:gd name="T8" fmla="*/ 0 w 67"/>
                <a:gd name="T9" fmla="*/ 57 h 105"/>
                <a:gd name="T10" fmla="*/ 0 w 67"/>
                <a:gd name="T11" fmla="*/ 67 h 105"/>
                <a:gd name="T12" fmla="*/ 10 w 67"/>
                <a:gd name="T13" fmla="*/ 76 h 105"/>
                <a:gd name="T14" fmla="*/ 19 w 67"/>
                <a:gd name="T15" fmla="*/ 86 h 105"/>
                <a:gd name="T16" fmla="*/ 29 w 67"/>
                <a:gd name="T17" fmla="*/ 105 h 105"/>
                <a:gd name="T18" fmla="*/ 39 w 67"/>
                <a:gd name="T19" fmla="*/ 105 h 105"/>
                <a:gd name="T20" fmla="*/ 48 w 67"/>
                <a:gd name="T21" fmla="*/ 105 h 105"/>
                <a:gd name="T22" fmla="*/ 48 w 67"/>
                <a:gd name="T23" fmla="*/ 86 h 105"/>
                <a:gd name="T24" fmla="*/ 58 w 67"/>
                <a:gd name="T25" fmla="*/ 86 h 105"/>
                <a:gd name="T26" fmla="*/ 67 w 67"/>
                <a:gd name="T27" fmla="*/ 76 h 105"/>
                <a:gd name="T28" fmla="*/ 58 w 67"/>
                <a:gd name="T29" fmla="*/ 67 h 105"/>
                <a:gd name="T30" fmla="*/ 48 w 67"/>
                <a:gd name="T31" fmla="*/ 67 h 105"/>
                <a:gd name="T32" fmla="*/ 48 w 67"/>
                <a:gd name="T33" fmla="*/ 57 h 105"/>
                <a:gd name="T34" fmla="*/ 39 w 67"/>
                <a:gd name="T35" fmla="*/ 48 h 105"/>
                <a:gd name="T36" fmla="*/ 58 w 67"/>
                <a:gd name="T37" fmla="*/ 38 h 105"/>
                <a:gd name="T38" fmla="*/ 58 w 67"/>
                <a:gd name="T39" fmla="*/ 29 h 105"/>
                <a:gd name="T40" fmla="*/ 48 w 67"/>
                <a:gd name="T41" fmla="*/ 19 h 105"/>
                <a:gd name="T42" fmla="*/ 48 w 67"/>
                <a:gd name="T43" fmla="*/ 19 h 105"/>
                <a:gd name="T44" fmla="*/ 58 w 67"/>
                <a:gd name="T45" fmla="*/ 9 h 105"/>
                <a:gd name="T46" fmla="*/ 48 w 67"/>
                <a:gd name="T47" fmla="*/ 9 h 105"/>
                <a:gd name="T48" fmla="*/ 48 w 67"/>
                <a:gd name="T49" fmla="*/ 9 h 105"/>
                <a:gd name="T50" fmla="*/ 39 w 67"/>
                <a:gd name="T51" fmla="*/ 0 h 105"/>
                <a:gd name="T52" fmla="*/ 29 w 67"/>
                <a:gd name="T53" fmla="*/ 0 h 105"/>
                <a:gd name="T54" fmla="*/ 19 w 67"/>
                <a:gd name="T55" fmla="*/ 9 h 105"/>
                <a:gd name="T56" fmla="*/ 10 w 67"/>
                <a:gd name="T57" fmla="*/ 9 h 10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105"/>
                <a:gd name="T89" fmla="*/ 67 w 67"/>
                <a:gd name="T90" fmla="*/ 105 h 10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105">
                  <a:moveTo>
                    <a:pt x="10" y="9"/>
                  </a:moveTo>
                  <a:lnTo>
                    <a:pt x="10" y="19"/>
                  </a:lnTo>
                  <a:lnTo>
                    <a:pt x="19" y="29"/>
                  </a:lnTo>
                  <a:lnTo>
                    <a:pt x="10" y="38"/>
                  </a:lnTo>
                  <a:lnTo>
                    <a:pt x="0" y="57"/>
                  </a:lnTo>
                  <a:lnTo>
                    <a:pt x="0" y="67"/>
                  </a:lnTo>
                  <a:lnTo>
                    <a:pt x="10" y="76"/>
                  </a:lnTo>
                  <a:lnTo>
                    <a:pt x="19" y="86"/>
                  </a:lnTo>
                  <a:lnTo>
                    <a:pt x="29" y="105"/>
                  </a:lnTo>
                  <a:lnTo>
                    <a:pt x="39" y="105"/>
                  </a:lnTo>
                  <a:lnTo>
                    <a:pt x="48" y="105"/>
                  </a:lnTo>
                  <a:lnTo>
                    <a:pt x="48" y="86"/>
                  </a:lnTo>
                  <a:lnTo>
                    <a:pt x="58" y="86"/>
                  </a:lnTo>
                  <a:lnTo>
                    <a:pt x="67" y="76"/>
                  </a:lnTo>
                  <a:lnTo>
                    <a:pt x="58" y="67"/>
                  </a:lnTo>
                  <a:lnTo>
                    <a:pt x="48" y="67"/>
                  </a:lnTo>
                  <a:lnTo>
                    <a:pt x="48" y="57"/>
                  </a:lnTo>
                  <a:lnTo>
                    <a:pt x="39" y="48"/>
                  </a:lnTo>
                  <a:lnTo>
                    <a:pt x="58" y="38"/>
                  </a:lnTo>
                  <a:lnTo>
                    <a:pt x="58" y="29"/>
                  </a:lnTo>
                  <a:lnTo>
                    <a:pt x="48" y="19"/>
                  </a:lnTo>
                  <a:lnTo>
                    <a:pt x="58" y="9"/>
                  </a:lnTo>
                  <a:lnTo>
                    <a:pt x="48" y="9"/>
                  </a:lnTo>
                  <a:lnTo>
                    <a:pt x="39" y="0"/>
                  </a:lnTo>
                  <a:lnTo>
                    <a:pt x="29" y="0"/>
                  </a:lnTo>
                  <a:lnTo>
                    <a:pt x="19" y="9"/>
                  </a:lnTo>
                  <a:lnTo>
                    <a:pt x="1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95" name="Freeform 173">
              <a:extLst>
                <a:ext uri="{FF2B5EF4-FFF2-40B4-BE49-F238E27FC236}">
                  <a16:creationId xmlns:a16="http://schemas.microsoft.com/office/drawing/2014/main" id="{FC4D2B3C-F4EA-4757-9A51-99CEB61CB920}"/>
                </a:ext>
              </a:extLst>
            </p:cNvPr>
            <p:cNvSpPr>
              <a:spLocks/>
            </p:cNvSpPr>
            <p:nvPr/>
          </p:nvSpPr>
          <p:spPr bwMode="gray">
            <a:xfrm>
              <a:off x="2798" y="2328"/>
              <a:ext cx="67" cy="105"/>
            </a:xfrm>
            <a:custGeom>
              <a:avLst/>
              <a:gdLst>
                <a:gd name="T0" fmla="*/ 10 w 67"/>
                <a:gd name="T1" fmla="*/ 9 h 105"/>
                <a:gd name="T2" fmla="*/ 10 w 67"/>
                <a:gd name="T3" fmla="*/ 19 h 105"/>
                <a:gd name="T4" fmla="*/ 19 w 67"/>
                <a:gd name="T5" fmla="*/ 29 h 105"/>
                <a:gd name="T6" fmla="*/ 10 w 67"/>
                <a:gd name="T7" fmla="*/ 38 h 105"/>
                <a:gd name="T8" fmla="*/ 0 w 67"/>
                <a:gd name="T9" fmla="*/ 57 h 105"/>
                <a:gd name="T10" fmla="*/ 0 w 67"/>
                <a:gd name="T11" fmla="*/ 67 h 105"/>
                <a:gd name="T12" fmla="*/ 10 w 67"/>
                <a:gd name="T13" fmla="*/ 76 h 105"/>
                <a:gd name="T14" fmla="*/ 19 w 67"/>
                <a:gd name="T15" fmla="*/ 86 h 105"/>
                <a:gd name="T16" fmla="*/ 29 w 67"/>
                <a:gd name="T17" fmla="*/ 105 h 105"/>
                <a:gd name="T18" fmla="*/ 39 w 67"/>
                <a:gd name="T19" fmla="*/ 105 h 105"/>
                <a:gd name="T20" fmla="*/ 48 w 67"/>
                <a:gd name="T21" fmla="*/ 105 h 105"/>
                <a:gd name="T22" fmla="*/ 48 w 67"/>
                <a:gd name="T23" fmla="*/ 86 h 105"/>
                <a:gd name="T24" fmla="*/ 58 w 67"/>
                <a:gd name="T25" fmla="*/ 86 h 105"/>
                <a:gd name="T26" fmla="*/ 67 w 67"/>
                <a:gd name="T27" fmla="*/ 76 h 105"/>
                <a:gd name="T28" fmla="*/ 58 w 67"/>
                <a:gd name="T29" fmla="*/ 67 h 105"/>
                <a:gd name="T30" fmla="*/ 48 w 67"/>
                <a:gd name="T31" fmla="*/ 67 h 105"/>
                <a:gd name="T32" fmla="*/ 48 w 67"/>
                <a:gd name="T33" fmla="*/ 57 h 105"/>
                <a:gd name="T34" fmla="*/ 39 w 67"/>
                <a:gd name="T35" fmla="*/ 48 h 105"/>
                <a:gd name="T36" fmla="*/ 58 w 67"/>
                <a:gd name="T37" fmla="*/ 38 h 105"/>
                <a:gd name="T38" fmla="*/ 58 w 67"/>
                <a:gd name="T39" fmla="*/ 29 h 105"/>
                <a:gd name="T40" fmla="*/ 48 w 67"/>
                <a:gd name="T41" fmla="*/ 19 h 105"/>
                <a:gd name="T42" fmla="*/ 48 w 67"/>
                <a:gd name="T43" fmla="*/ 19 h 105"/>
                <a:gd name="T44" fmla="*/ 58 w 67"/>
                <a:gd name="T45" fmla="*/ 9 h 105"/>
                <a:gd name="T46" fmla="*/ 48 w 67"/>
                <a:gd name="T47" fmla="*/ 9 h 105"/>
                <a:gd name="T48" fmla="*/ 48 w 67"/>
                <a:gd name="T49" fmla="*/ 9 h 105"/>
                <a:gd name="T50" fmla="*/ 39 w 67"/>
                <a:gd name="T51" fmla="*/ 0 h 105"/>
                <a:gd name="T52" fmla="*/ 29 w 67"/>
                <a:gd name="T53" fmla="*/ 0 h 105"/>
                <a:gd name="T54" fmla="*/ 19 w 67"/>
                <a:gd name="T55" fmla="*/ 9 h 105"/>
                <a:gd name="T56" fmla="*/ 10 w 67"/>
                <a:gd name="T57" fmla="*/ 9 h 10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105"/>
                <a:gd name="T89" fmla="*/ 67 w 67"/>
                <a:gd name="T90" fmla="*/ 105 h 10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105">
                  <a:moveTo>
                    <a:pt x="10" y="9"/>
                  </a:moveTo>
                  <a:lnTo>
                    <a:pt x="10" y="19"/>
                  </a:lnTo>
                  <a:lnTo>
                    <a:pt x="19" y="29"/>
                  </a:lnTo>
                  <a:lnTo>
                    <a:pt x="10" y="38"/>
                  </a:lnTo>
                  <a:lnTo>
                    <a:pt x="0" y="57"/>
                  </a:lnTo>
                  <a:lnTo>
                    <a:pt x="0" y="67"/>
                  </a:lnTo>
                  <a:lnTo>
                    <a:pt x="10" y="76"/>
                  </a:lnTo>
                  <a:lnTo>
                    <a:pt x="19" y="86"/>
                  </a:lnTo>
                  <a:lnTo>
                    <a:pt x="29" y="105"/>
                  </a:lnTo>
                  <a:lnTo>
                    <a:pt x="39" y="105"/>
                  </a:lnTo>
                  <a:lnTo>
                    <a:pt x="48" y="105"/>
                  </a:lnTo>
                  <a:lnTo>
                    <a:pt x="48" y="86"/>
                  </a:lnTo>
                  <a:lnTo>
                    <a:pt x="58" y="86"/>
                  </a:lnTo>
                  <a:lnTo>
                    <a:pt x="67" y="76"/>
                  </a:lnTo>
                  <a:lnTo>
                    <a:pt x="58" y="67"/>
                  </a:lnTo>
                  <a:lnTo>
                    <a:pt x="48" y="67"/>
                  </a:lnTo>
                  <a:lnTo>
                    <a:pt x="48" y="57"/>
                  </a:lnTo>
                  <a:lnTo>
                    <a:pt x="39" y="48"/>
                  </a:lnTo>
                  <a:lnTo>
                    <a:pt x="58" y="38"/>
                  </a:lnTo>
                  <a:lnTo>
                    <a:pt x="58" y="29"/>
                  </a:lnTo>
                  <a:lnTo>
                    <a:pt x="48" y="19"/>
                  </a:lnTo>
                  <a:lnTo>
                    <a:pt x="58" y="9"/>
                  </a:lnTo>
                  <a:lnTo>
                    <a:pt x="48" y="9"/>
                  </a:lnTo>
                  <a:lnTo>
                    <a:pt x="39" y="0"/>
                  </a:lnTo>
                  <a:lnTo>
                    <a:pt x="29" y="0"/>
                  </a:lnTo>
                  <a:lnTo>
                    <a:pt x="19" y="9"/>
                  </a:lnTo>
                  <a:lnTo>
                    <a:pt x="1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96" name="Freeform 174">
              <a:extLst>
                <a:ext uri="{FF2B5EF4-FFF2-40B4-BE49-F238E27FC236}">
                  <a16:creationId xmlns:a16="http://schemas.microsoft.com/office/drawing/2014/main" id="{732B6D5A-BBBB-48DC-A685-C77C4FBF65A8}"/>
                </a:ext>
              </a:extLst>
            </p:cNvPr>
            <p:cNvSpPr>
              <a:spLocks/>
            </p:cNvSpPr>
            <p:nvPr/>
          </p:nvSpPr>
          <p:spPr bwMode="gray">
            <a:xfrm>
              <a:off x="2522" y="2357"/>
              <a:ext cx="152" cy="114"/>
            </a:xfrm>
            <a:custGeom>
              <a:avLst/>
              <a:gdLst>
                <a:gd name="T0" fmla="*/ 0 w 152"/>
                <a:gd name="T1" fmla="*/ 114 h 114"/>
                <a:gd name="T2" fmla="*/ 10 w 152"/>
                <a:gd name="T3" fmla="*/ 114 h 114"/>
                <a:gd name="T4" fmla="*/ 19 w 152"/>
                <a:gd name="T5" fmla="*/ 105 h 114"/>
                <a:gd name="T6" fmla="*/ 19 w 152"/>
                <a:gd name="T7" fmla="*/ 95 h 114"/>
                <a:gd name="T8" fmla="*/ 29 w 152"/>
                <a:gd name="T9" fmla="*/ 85 h 114"/>
                <a:gd name="T10" fmla="*/ 29 w 152"/>
                <a:gd name="T11" fmla="*/ 66 h 114"/>
                <a:gd name="T12" fmla="*/ 29 w 152"/>
                <a:gd name="T13" fmla="*/ 57 h 114"/>
                <a:gd name="T14" fmla="*/ 38 w 152"/>
                <a:gd name="T15" fmla="*/ 47 h 114"/>
                <a:gd name="T16" fmla="*/ 38 w 152"/>
                <a:gd name="T17" fmla="*/ 47 h 114"/>
                <a:gd name="T18" fmla="*/ 57 w 152"/>
                <a:gd name="T19" fmla="*/ 38 h 114"/>
                <a:gd name="T20" fmla="*/ 67 w 152"/>
                <a:gd name="T21" fmla="*/ 28 h 114"/>
                <a:gd name="T22" fmla="*/ 76 w 152"/>
                <a:gd name="T23" fmla="*/ 28 h 114"/>
                <a:gd name="T24" fmla="*/ 76 w 152"/>
                <a:gd name="T25" fmla="*/ 19 h 114"/>
                <a:gd name="T26" fmla="*/ 86 w 152"/>
                <a:gd name="T27" fmla="*/ 9 h 114"/>
                <a:gd name="T28" fmla="*/ 86 w 152"/>
                <a:gd name="T29" fmla="*/ 0 h 114"/>
                <a:gd name="T30" fmla="*/ 86 w 152"/>
                <a:gd name="T31" fmla="*/ 0 h 114"/>
                <a:gd name="T32" fmla="*/ 95 w 152"/>
                <a:gd name="T33" fmla="*/ 0 h 114"/>
                <a:gd name="T34" fmla="*/ 95 w 152"/>
                <a:gd name="T35" fmla="*/ 0 h 114"/>
                <a:gd name="T36" fmla="*/ 105 w 152"/>
                <a:gd name="T37" fmla="*/ 9 h 114"/>
                <a:gd name="T38" fmla="*/ 105 w 152"/>
                <a:gd name="T39" fmla="*/ 9 h 114"/>
                <a:gd name="T40" fmla="*/ 114 w 152"/>
                <a:gd name="T41" fmla="*/ 9 h 114"/>
                <a:gd name="T42" fmla="*/ 133 w 152"/>
                <a:gd name="T43" fmla="*/ 9 h 114"/>
                <a:gd name="T44" fmla="*/ 133 w 152"/>
                <a:gd name="T45" fmla="*/ 9 h 114"/>
                <a:gd name="T46" fmla="*/ 143 w 152"/>
                <a:gd name="T47" fmla="*/ 9 h 114"/>
                <a:gd name="T48" fmla="*/ 152 w 152"/>
                <a:gd name="T49" fmla="*/ 38 h 114"/>
                <a:gd name="T50" fmla="*/ 152 w 152"/>
                <a:gd name="T51" fmla="*/ 47 h 114"/>
                <a:gd name="T52" fmla="*/ 152 w 152"/>
                <a:gd name="T53" fmla="*/ 57 h 114"/>
                <a:gd name="T54" fmla="*/ 133 w 152"/>
                <a:gd name="T55" fmla="*/ 57 h 114"/>
                <a:gd name="T56" fmla="*/ 124 w 152"/>
                <a:gd name="T57" fmla="*/ 57 h 114"/>
                <a:gd name="T58" fmla="*/ 124 w 152"/>
                <a:gd name="T59" fmla="*/ 76 h 114"/>
                <a:gd name="T60" fmla="*/ 114 w 152"/>
                <a:gd name="T61" fmla="*/ 76 h 114"/>
                <a:gd name="T62" fmla="*/ 105 w 152"/>
                <a:gd name="T63" fmla="*/ 76 h 114"/>
                <a:gd name="T64" fmla="*/ 105 w 152"/>
                <a:gd name="T65" fmla="*/ 76 h 114"/>
                <a:gd name="T66" fmla="*/ 95 w 152"/>
                <a:gd name="T67" fmla="*/ 85 h 114"/>
                <a:gd name="T68" fmla="*/ 95 w 152"/>
                <a:gd name="T69" fmla="*/ 85 h 114"/>
                <a:gd name="T70" fmla="*/ 57 w 152"/>
                <a:gd name="T71" fmla="*/ 95 h 114"/>
                <a:gd name="T72" fmla="*/ 48 w 152"/>
                <a:gd name="T73" fmla="*/ 105 h 114"/>
                <a:gd name="T74" fmla="*/ 48 w 152"/>
                <a:gd name="T75" fmla="*/ 114 h 114"/>
                <a:gd name="T76" fmla="*/ 0 w 152"/>
                <a:gd name="T77" fmla="*/ 114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2"/>
                <a:gd name="T118" fmla="*/ 0 h 114"/>
                <a:gd name="T119" fmla="*/ 152 w 152"/>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2" h="114">
                  <a:moveTo>
                    <a:pt x="0" y="114"/>
                  </a:moveTo>
                  <a:lnTo>
                    <a:pt x="10" y="114"/>
                  </a:lnTo>
                  <a:lnTo>
                    <a:pt x="19" y="105"/>
                  </a:lnTo>
                  <a:lnTo>
                    <a:pt x="19" y="95"/>
                  </a:lnTo>
                  <a:lnTo>
                    <a:pt x="29" y="85"/>
                  </a:lnTo>
                  <a:lnTo>
                    <a:pt x="29" y="66"/>
                  </a:lnTo>
                  <a:lnTo>
                    <a:pt x="29" y="57"/>
                  </a:lnTo>
                  <a:lnTo>
                    <a:pt x="38" y="47"/>
                  </a:lnTo>
                  <a:lnTo>
                    <a:pt x="57" y="38"/>
                  </a:lnTo>
                  <a:lnTo>
                    <a:pt x="67" y="28"/>
                  </a:lnTo>
                  <a:lnTo>
                    <a:pt x="76" y="28"/>
                  </a:lnTo>
                  <a:lnTo>
                    <a:pt x="76" y="19"/>
                  </a:lnTo>
                  <a:lnTo>
                    <a:pt x="86" y="9"/>
                  </a:lnTo>
                  <a:lnTo>
                    <a:pt x="86" y="0"/>
                  </a:lnTo>
                  <a:lnTo>
                    <a:pt x="95" y="0"/>
                  </a:lnTo>
                  <a:lnTo>
                    <a:pt x="105" y="9"/>
                  </a:lnTo>
                  <a:lnTo>
                    <a:pt x="114" y="9"/>
                  </a:lnTo>
                  <a:lnTo>
                    <a:pt x="133" y="9"/>
                  </a:lnTo>
                  <a:lnTo>
                    <a:pt x="143" y="9"/>
                  </a:lnTo>
                  <a:lnTo>
                    <a:pt x="152" y="38"/>
                  </a:lnTo>
                  <a:lnTo>
                    <a:pt x="152" y="47"/>
                  </a:lnTo>
                  <a:lnTo>
                    <a:pt x="152" y="57"/>
                  </a:lnTo>
                  <a:lnTo>
                    <a:pt x="133" y="57"/>
                  </a:lnTo>
                  <a:lnTo>
                    <a:pt x="124" y="57"/>
                  </a:lnTo>
                  <a:lnTo>
                    <a:pt x="124" y="76"/>
                  </a:lnTo>
                  <a:lnTo>
                    <a:pt x="114" y="76"/>
                  </a:lnTo>
                  <a:lnTo>
                    <a:pt x="105" y="76"/>
                  </a:lnTo>
                  <a:lnTo>
                    <a:pt x="95" y="85"/>
                  </a:lnTo>
                  <a:lnTo>
                    <a:pt x="57" y="95"/>
                  </a:lnTo>
                  <a:lnTo>
                    <a:pt x="48" y="105"/>
                  </a:lnTo>
                  <a:lnTo>
                    <a:pt x="48" y="114"/>
                  </a:lnTo>
                  <a:lnTo>
                    <a:pt x="0" y="11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97" name="Freeform 175">
              <a:extLst>
                <a:ext uri="{FF2B5EF4-FFF2-40B4-BE49-F238E27FC236}">
                  <a16:creationId xmlns:a16="http://schemas.microsoft.com/office/drawing/2014/main" id="{4C64C5D8-78C1-4727-BA53-13488FE11E35}"/>
                </a:ext>
              </a:extLst>
            </p:cNvPr>
            <p:cNvSpPr>
              <a:spLocks/>
            </p:cNvSpPr>
            <p:nvPr/>
          </p:nvSpPr>
          <p:spPr bwMode="gray">
            <a:xfrm>
              <a:off x="2522" y="2357"/>
              <a:ext cx="152" cy="114"/>
            </a:xfrm>
            <a:custGeom>
              <a:avLst/>
              <a:gdLst>
                <a:gd name="T0" fmla="*/ 0 w 152"/>
                <a:gd name="T1" fmla="*/ 114 h 114"/>
                <a:gd name="T2" fmla="*/ 10 w 152"/>
                <a:gd name="T3" fmla="*/ 114 h 114"/>
                <a:gd name="T4" fmla="*/ 19 w 152"/>
                <a:gd name="T5" fmla="*/ 105 h 114"/>
                <a:gd name="T6" fmla="*/ 19 w 152"/>
                <a:gd name="T7" fmla="*/ 95 h 114"/>
                <a:gd name="T8" fmla="*/ 29 w 152"/>
                <a:gd name="T9" fmla="*/ 85 h 114"/>
                <a:gd name="T10" fmla="*/ 29 w 152"/>
                <a:gd name="T11" fmla="*/ 66 h 114"/>
                <a:gd name="T12" fmla="*/ 29 w 152"/>
                <a:gd name="T13" fmla="*/ 57 h 114"/>
                <a:gd name="T14" fmla="*/ 38 w 152"/>
                <a:gd name="T15" fmla="*/ 47 h 114"/>
                <a:gd name="T16" fmla="*/ 38 w 152"/>
                <a:gd name="T17" fmla="*/ 47 h 114"/>
                <a:gd name="T18" fmla="*/ 57 w 152"/>
                <a:gd name="T19" fmla="*/ 38 h 114"/>
                <a:gd name="T20" fmla="*/ 67 w 152"/>
                <a:gd name="T21" fmla="*/ 28 h 114"/>
                <a:gd name="T22" fmla="*/ 76 w 152"/>
                <a:gd name="T23" fmla="*/ 28 h 114"/>
                <a:gd name="T24" fmla="*/ 76 w 152"/>
                <a:gd name="T25" fmla="*/ 19 h 114"/>
                <a:gd name="T26" fmla="*/ 86 w 152"/>
                <a:gd name="T27" fmla="*/ 9 h 114"/>
                <a:gd name="T28" fmla="*/ 86 w 152"/>
                <a:gd name="T29" fmla="*/ 0 h 114"/>
                <a:gd name="T30" fmla="*/ 86 w 152"/>
                <a:gd name="T31" fmla="*/ 0 h 114"/>
                <a:gd name="T32" fmla="*/ 95 w 152"/>
                <a:gd name="T33" fmla="*/ 0 h 114"/>
                <a:gd name="T34" fmla="*/ 95 w 152"/>
                <a:gd name="T35" fmla="*/ 0 h 114"/>
                <a:gd name="T36" fmla="*/ 105 w 152"/>
                <a:gd name="T37" fmla="*/ 9 h 114"/>
                <a:gd name="T38" fmla="*/ 105 w 152"/>
                <a:gd name="T39" fmla="*/ 9 h 114"/>
                <a:gd name="T40" fmla="*/ 114 w 152"/>
                <a:gd name="T41" fmla="*/ 9 h 114"/>
                <a:gd name="T42" fmla="*/ 133 w 152"/>
                <a:gd name="T43" fmla="*/ 9 h 114"/>
                <a:gd name="T44" fmla="*/ 133 w 152"/>
                <a:gd name="T45" fmla="*/ 9 h 114"/>
                <a:gd name="T46" fmla="*/ 143 w 152"/>
                <a:gd name="T47" fmla="*/ 9 h 114"/>
                <a:gd name="T48" fmla="*/ 152 w 152"/>
                <a:gd name="T49" fmla="*/ 38 h 114"/>
                <a:gd name="T50" fmla="*/ 152 w 152"/>
                <a:gd name="T51" fmla="*/ 47 h 114"/>
                <a:gd name="T52" fmla="*/ 152 w 152"/>
                <a:gd name="T53" fmla="*/ 57 h 114"/>
                <a:gd name="T54" fmla="*/ 133 w 152"/>
                <a:gd name="T55" fmla="*/ 57 h 114"/>
                <a:gd name="T56" fmla="*/ 124 w 152"/>
                <a:gd name="T57" fmla="*/ 57 h 114"/>
                <a:gd name="T58" fmla="*/ 124 w 152"/>
                <a:gd name="T59" fmla="*/ 76 h 114"/>
                <a:gd name="T60" fmla="*/ 114 w 152"/>
                <a:gd name="T61" fmla="*/ 76 h 114"/>
                <a:gd name="T62" fmla="*/ 105 w 152"/>
                <a:gd name="T63" fmla="*/ 76 h 114"/>
                <a:gd name="T64" fmla="*/ 105 w 152"/>
                <a:gd name="T65" fmla="*/ 76 h 114"/>
                <a:gd name="T66" fmla="*/ 95 w 152"/>
                <a:gd name="T67" fmla="*/ 85 h 114"/>
                <a:gd name="T68" fmla="*/ 95 w 152"/>
                <a:gd name="T69" fmla="*/ 85 h 114"/>
                <a:gd name="T70" fmla="*/ 57 w 152"/>
                <a:gd name="T71" fmla="*/ 95 h 114"/>
                <a:gd name="T72" fmla="*/ 48 w 152"/>
                <a:gd name="T73" fmla="*/ 105 h 114"/>
                <a:gd name="T74" fmla="*/ 48 w 152"/>
                <a:gd name="T75" fmla="*/ 114 h 114"/>
                <a:gd name="T76" fmla="*/ 0 w 152"/>
                <a:gd name="T77" fmla="*/ 114 h 11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2"/>
                <a:gd name="T118" fmla="*/ 0 h 114"/>
                <a:gd name="T119" fmla="*/ 152 w 152"/>
                <a:gd name="T120" fmla="*/ 114 h 11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2" h="114">
                  <a:moveTo>
                    <a:pt x="0" y="114"/>
                  </a:moveTo>
                  <a:lnTo>
                    <a:pt x="10" y="114"/>
                  </a:lnTo>
                  <a:lnTo>
                    <a:pt x="19" y="105"/>
                  </a:lnTo>
                  <a:lnTo>
                    <a:pt x="19" y="95"/>
                  </a:lnTo>
                  <a:lnTo>
                    <a:pt x="29" y="85"/>
                  </a:lnTo>
                  <a:lnTo>
                    <a:pt x="29" y="66"/>
                  </a:lnTo>
                  <a:lnTo>
                    <a:pt x="29" y="57"/>
                  </a:lnTo>
                  <a:lnTo>
                    <a:pt x="38" y="47"/>
                  </a:lnTo>
                  <a:lnTo>
                    <a:pt x="57" y="38"/>
                  </a:lnTo>
                  <a:lnTo>
                    <a:pt x="67" y="28"/>
                  </a:lnTo>
                  <a:lnTo>
                    <a:pt x="76" y="28"/>
                  </a:lnTo>
                  <a:lnTo>
                    <a:pt x="76" y="19"/>
                  </a:lnTo>
                  <a:lnTo>
                    <a:pt x="86" y="9"/>
                  </a:lnTo>
                  <a:lnTo>
                    <a:pt x="86" y="0"/>
                  </a:lnTo>
                  <a:lnTo>
                    <a:pt x="95" y="0"/>
                  </a:lnTo>
                  <a:lnTo>
                    <a:pt x="105" y="9"/>
                  </a:lnTo>
                  <a:lnTo>
                    <a:pt x="114" y="9"/>
                  </a:lnTo>
                  <a:lnTo>
                    <a:pt x="133" y="9"/>
                  </a:lnTo>
                  <a:lnTo>
                    <a:pt x="143" y="9"/>
                  </a:lnTo>
                  <a:lnTo>
                    <a:pt x="152" y="38"/>
                  </a:lnTo>
                  <a:lnTo>
                    <a:pt x="152" y="47"/>
                  </a:lnTo>
                  <a:lnTo>
                    <a:pt x="152" y="57"/>
                  </a:lnTo>
                  <a:lnTo>
                    <a:pt x="133" y="57"/>
                  </a:lnTo>
                  <a:lnTo>
                    <a:pt x="124" y="57"/>
                  </a:lnTo>
                  <a:lnTo>
                    <a:pt x="124" y="76"/>
                  </a:lnTo>
                  <a:lnTo>
                    <a:pt x="114" y="76"/>
                  </a:lnTo>
                  <a:lnTo>
                    <a:pt x="105" y="76"/>
                  </a:lnTo>
                  <a:lnTo>
                    <a:pt x="95" y="85"/>
                  </a:lnTo>
                  <a:lnTo>
                    <a:pt x="57" y="95"/>
                  </a:lnTo>
                  <a:lnTo>
                    <a:pt x="48" y="105"/>
                  </a:lnTo>
                  <a:lnTo>
                    <a:pt x="48" y="114"/>
                  </a:lnTo>
                  <a:lnTo>
                    <a:pt x="0" y="11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98" name="Freeform 176">
              <a:extLst>
                <a:ext uri="{FF2B5EF4-FFF2-40B4-BE49-F238E27FC236}">
                  <a16:creationId xmlns:a16="http://schemas.microsoft.com/office/drawing/2014/main" id="{F14A9065-6AFF-4A1B-9E59-AC9E360EC1BF}"/>
                </a:ext>
              </a:extLst>
            </p:cNvPr>
            <p:cNvSpPr>
              <a:spLocks/>
            </p:cNvSpPr>
            <p:nvPr/>
          </p:nvSpPr>
          <p:spPr bwMode="gray">
            <a:xfrm>
              <a:off x="2446" y="2681"/>
              <a:ext cx="47" cy="10"/>
            </a:xfrm>
            <a:custGeom>
              <a:avLst/>
              <a:gdLst>
                <a:gd name="T0" fmla="*/ 0 w 47"/>
                <a:gd name="T1" fmla="*/ 10 h 10"/>
                <a:gd name="T2" fmla="*/ 9 w 47"/>
                <a:gd name="T3" fmla="*/ 0 h 10"/>
                <a:gd name="T4" fmla="*/ 0 w 47"/>
                <a:gd name="T5" fmla="*/ 0 h 10"/>
                <a:gd name="T6" fmla="*/ 28 w 47"/>
                <a:gd name="T7" fmla="*/ 0 h 10"/>
                <a:gd name="T8" fmla="*/ 47 w 47"/>
                <a:gd name="T9" fmla="*/ 0 h 10"/>
                <a:gd name="T10" fmla="*/ 47 w 47"/>
                <a:gd name="T11" fmla="*/ 10 h 10"/>
                <a:gd name="T12" fmla="*/ 38 w 47"/>
                <a:gd name="T13" fmla="*/ 10 h 10"/>
                <a:gd name="T14" fmla="*/ 28 w 47"/>
                <a:gd name="T15" fmla="*/ 10 h 10"/>
                <a:gd name="T16" fmla="*/ 0 w 47"/>
                <a:gd name="T17" fmla="*/ 1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0"/>
                <a:gd name="T29" fmla="*/ 47 w 47"/>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0">
                  <a:moveTo>
                    <a:pt x="0" y="10"/>
                  </a:moveTo>
                  <a:lnTo>
                    <a:pt x="9" y="0"/>
                  </a:lnTo>
                  <a:lnTo>
                    <a:pt x="0" y="0"/>
                  </a:lnTo>
                  <a:lnTo>
                    <a:pt x="28" y="0"/>
                  </a:lnTo>
                  <a:lnTo>
                    <a:pt x="47" y="0"/>
                  </a:lnTo>
                  <a:lnTo>
                    <a:pt x="47" y="10"/>
                  </a:lnTo>
                  <a:lnTo>
                    <a:pt x="38" y="10"/>
                  </a:lnTo>
                  <a:lnTo>
                    <a:pt x="28" y="1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199" name="Freeform 177">
              <a:extLst>
                <a:ext uri="{FF2B5EF4-FFF2-40B4-BE49-F238E27FC236}">
                  <a16:creationId xmlns:a16="http://schemas.microsoft.com/office/drawing/2014/main" id="{7509C4E1-46DA-4805-AF10-11E9FC41DE24}"/>
                </a:ext>
              </a:extLst>
            </p:cNvPr>
            <p:cNvSpPr>
              <a:spLocks/>
            </p:cNvSpPr>
            <p:nvPr/>
          </p:nvSpPr>
          <p:spPr bwMode="gray">
            <a:xfrm>
              <a:off x="2446" y="2633"/>
              <a:ext cx="76" cy="67"/>
            </a:xfrm>
            <a:custGeom>
              <a:avLst/>
              <a:gdLst>
                <a:gd name="T0" fmla="*/ 0 w 76"/>
                <a:gd name="T1" fmla="*/ 67 h 67"/>
                <a:gd name="T2" fmla="*/ 0 w 76"/>
                <a:gd name="T3" fmla="*/ 58 h 67"/>
                <a:gd name="T4" fmla="*/ 28 w 76"/>
                <a:gd name="T5" fmla="*/ 58 h 67"/>
                <a:gd name="T6" fmla="*/ 38 w 76"/>
                <a:gd name="T7" fmla="*/ 58 h 67"/>
                <a:gd name="T8" fmla="*/ 47 w 76"/>
                <a:gd name="T9" fmla="*/ 58 h 67"/>
                <a:gd name="T10" fmla="*/ 38 w 76"/>
                <a:gd name="T11" fmla="*/ 48 h 67"/>
                <a:gd name="T12" fmla="*/ 28 w 76"/>
                <a:gd name="T13" fmla="*/ 48 h 67"/>
                <a:gd name="T14" fmla="*/ 0 w 76"/>
                <a:gd name="T15" fmla="*/ 48 h 67"/>
                <a:gd name="T16" fmla="*/ 0 w 76"/>
                <a:gd name="T17" fmla="*/ 39 h 67"/>
                <a:gd name="T18" fmla="*/ 0 w 76"/>
                <a:gd name="T19" fmla="*/ 29 h 67"/>
                <a:gd name="T20" fmla="*/ 0 w 76"/>
                <a:gd name="T21" fmla="*/ 19 h 67"/>
                <a:gd name="T22" fmla="*/ 9 w 76"/>
                <a:gd name="T23" fmla="*/ 10 h 67"/>
                <a:gd name="T24" fmla="*/ 19 w 76"/>
                <a:gd name="T25" fmla="*/ 0 h 67"/>
                <a:gd name="T26" fmla="*/ 28 w 76"/>
                <a:gd name="T27" fmla="*/ 0 h 67"/>
                <a:gd name="T28" fmla="*/ 28 w 76"/>
                <a:gd name="T29" fmla="*/ 0 h 67"/>
                <a:gd name="T30" fmla="*/ 38 w 76"/>
                <a:gd name="T31" fmla="*/ 0 h 67"/>
                <a:gd name="T32" fmla="*/ 38 w 76"/>
                <a:gd name="T33" fmla="*/ 0 h 67"/>
                <a:gd name="T34" fmla="*/ 38 w 76"/>
                <a:gd name="T35" fmla="*/ 10 h 67"/>
                <a:gd name="T36" fmla="*/ 38 w 76"/>
                <a:gd name="T37" fmla="*/ 10 h 67"/>
                <a:gd name="T38" fmla="*/ 47 w 76"/>
                <a:gd name="T39" fmla="*/ 10 h 67"/>
                <a:gd name="T40" fmla="*/ 57 w 76"/>
                <a:gd name="T41" fmla="*/ 19 h 67"/>
                <a:gd name="T42" fmla="*/ 66 w 76"/>
                <a:gd name="T43" fmla="*/ 29 h 67"/>
                <a:gd name="T44" fmla="*/ 76 w 76"/>
                <a:gd name="T45" fmla="*/ 58 h 67"/>
                <a:gd name="T46" fmla="*/ 76 w 76"/>
                <a:gd name="T47" fmla="*/ 58 h 67"/>
                <a:gd name="T48" fmla="*/ 76 w 76"/>
                <a:gd name="T49" fmla="*/ 67 h 67"/>
                <a:gd name="T50" fmla="*/ 57 w 76"/>
                <a:gd name="T51" fmla="*/ 67 h 67"/>
                <a:gd name="T52" fmla="*/ 47 w 76"/>
                <a:gd name="T53" fmla="*/ 67 h 67"/>
                <a:gd name="T54" fmla="*/ 19 w 76"/>
                <a:gd name="T55" fmla="*/ 67 h 67"/>
                <a:gd name="T56" fmla="*/ 9 w 76"/>
                <a:gd name="T57" fmla="*/ 67 h 67"/>
                <a:gd name="T58" fmla="*/ 0 w 76"/>
                <a:gd name="T59" fmla="*/ 67 h 67"/>
                <a:gd name="T60" fmla="*/ 0 w 76"/>
                <a:gd name="T61" fmla="*/ 58 h 67"/>
                <a:gd name="T62" fmla="*/ 0 w 76"/>
                <a:gd name="T63" fmla="*/ 67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6"/>
                <a:gd name="T97" fmla="*/ 0 h 67"/>
                <a:gd name="T98" fmla="*/ 76 w 76"/>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6" h="67">
                  <a:moveTo>
                    <a:pt x="0" y="67"/>
                  </a:moveTo>
                  <a:lnTo>
                    <a:pt x="0" y="58"/>
                  </a:lnTo>
                  <a:lnTo>
                    <a:pt x="28" y="58"/>
                  </a:lnTo>
                  <a:lnTo>
                    <a:pt x="38" y="58"/>
                  </a:lnTo>
                  <a:lnTo>
                    <a:pt x="47" y="58"/>
                  </a:lnTo>
                  <a:lnTo>
                    <a:pt x="38" y="48"/>
                  </a:lnTo>
                  <a:lnTo>
                    <a:pt x="28" y="48"/>
                  </a:lnTo>
                  <a:lnTo>
                    <a:pt x="0" y="48"/>
                  </a:lnTo>
                  <a:lnTo>
                    <a:pt x="0" y="39"/>
                  </a:lnTo>
                  <a:lnTo>
                    <a:pt x="0" y="29"/>
                  </a:lnTo>
                  <a:lnTo>
                    <a:pt x="0" y="19"/>
                  </a:lnTo>
                  <a:lnTo>
                    <a:pt x="9" y="10"/>
                  </a:lnTo>
                  <a:lnTo>
                    <a:pt x="19" y="0"/>
                  </a:lnTo>
                  <a:lnTo>
                    <a:pt x="28" y="0"/>
                  </a:lnTo>
                  <a:lnTo>
                    <a:pt x="38" y="0"/>
                  </a:lnTo>
                  <a:lnTo>
                    <a:pt x="38" y="10"/>
                  </a:lnTo>
                  <a:lnTo>
                    <a:pt x="47" y="10"/>
                  </a:lnTo>
                  <a:lnTo>
                    <a:pt x="57" y="19"/>
                  </a:lnTo>
                  <a:lnTo>
                    <a:pt x="66" y="29"/>
                  </a:lnTo>
                  <a:lnTo>
                    <a:pt x="76" y="58"/>
                  </a:lnTo>
                  <a:lnTo>
                    <a:pt x="76" y="67"/>
                  </a:lnTo>
                  <a:lnTo>
                    <a:pt x="57" y="67"/>
                  </a:lnTo>
                  <a:lnTo>
                    <a:pt x="47" y="67"/>
                  </a:lnTo>
                  <a:lnTo>
                    <a:pt x="19" y="67"/>
                  </a:lnTo>
                  <a:lnTo>
                    <a:pt x="9" y="67"/>
                  </a:lnTo>
                  <a:lnTo>
                    <a:pt x="0" y="67"/>
                  </a:lnTo>
                  <a:lnTo>
                    <a:pt x="0" y="58"/>
                  </a:lnTo>
                  <a:lnTo>
                    <a:pt x="0" y="6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00" name="Freeform 178">
              <a:extLst>
                <a:ext uri="{FF2B5EF4-FFF2-40B4-BE49-F238E27FC236}">
                  <a16:creationId xmlns:a16="http://schemas.microsoft.com/office/drawing/2014/main" id="{C737A066-7533-4A38-8066-8142DB14BBD8}"/>
                </a:ext>
              </a:extLst>
            </p:cNvPr>
            <p:cNvSpPr>
              <a:spLocks/>
            </p:cNvSpPr>
            <p:nvPr/>
          </p:nvSpPr>
          <p:spPr bwMode="gray">
            <a:xfrm>
              <a:off x="2455" y="2700"/>
              <a:ext cx="38" cy="19"/>
            </a:xfrm>
            <a:custGeom>
              <a:avLst/>
              <a:gdLst>
                <a:gd name="T0" fmla="*/ 19 w 38"/>
                <a:gd name="T1" fmla="*/ 19 h 19"/>
                <a:gd name="T2" fmla="*/ 10 w 38"/>
                <a:gd name="T3" fmla="*/ 10 h 19"/>
                <a:gd name="T4" fmla="*/ 0 w 38"/>
                <a:gd name="T5" fmla="*/ 0 h 19"/>
                <a:gd name="T6" fmla="*/ 0 w 38"/>
                <a:gd name="T7" fmla="*/ 0 h 19"/>
                <a:gd name="T8" fmla="*/ 10 w 38"/>
                <a:gd name="T9" fmla="*/ 0 h 19"/>
                <a:gd name="T10" fmla="*/ 38 w 38"/>
                <a:gd name="T11" fmla="*/ 0 h 19"/>
                <a:gd name="T12" fmla="*/ 38 w 38"/>
                <a:gd name="T13" fmla="*/ 10 h 19"/>
                <a:gd name="T14" fmla="*/ 29 w 38"/>
                <a:gd name="T15" fmla="*/ 10 h 19"/>
                <a:gd name="T16" fmla="*/ 19 w 38"/>
                <a:gd name="T17" fmla="*/ 19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19"/>
                <a:gd name="T29" fmla="*/ 38 w 38"/>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19">
                  <a:moveTo>
                    <a:pt x="19" y="19"/>
                  </a:moveTo>
                  <a:lnTo>
                    <a:pt x="10" y="10"/>
                  </a:lnTo>
                  <a:lnTo>
                    <a:pt x="0" y="0"/>
                  </a:lnTo>
                  <a:lnTo>
                    <a:pt x="10" y="0"/>
                  </a:lnTo>
                  <a:lnTo>
                    <a:pt x="38" y="0"/>
                  </a:lnTo>
                  <a:lnTo>
                    <a:pt x="38" y="10"/>
                  </a:lnTo>
                  <a:lnTo>
                    <a:pt x="29" y="10"/>
                  </a:lnTo>
                  <a:lnTo>
                    <a:pt x="19"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01" name="Freeform 179">
              <a:extLst>
                <a:ext uri="{FF2B5EF4-FFF2-40B4-BE49-F238E27FC236}">
                  <a16:creationId xmlns:a16="http://schemas.microsoft.com/office/drawing/2014/main" id="{02616323-C77A-4DC1-B2E3-546B41A8B619}"/>
                </a:ext>
              </a:extLst>
            </p:cNvPr>
            <p:cNvSpPr>
              <a:spLocks/>
            </p:cNvSpPr>
            <p:nvPr/>
          </p:nvSpPr>
          <p:spPr bwMode="gray">
            <a:xfrm>
              <a:off x="2474" y="2700"/>
              <a:ext cx="105" cy="67"/>
            </a:xfrm>
            <a:custGeom>
              <a:avLst/>
              <a:gdLst>
                <a:gd name="T0" fmla="*/ 19 w 105"/>
                <a:gd name="T1" fmla="*/ 38 h 67"/>
                <a:gd name="T2" fmla="*/ 0 w 105"/>
                <a:gd name="T3" fmla="*/ 19 h 67"/>
                <a:gd name="T4" fmla="*/ 0 w 105"/>
                <a:gd name="T5" fmla="*/ 19 h 67"/>
                <a:gd name="T6" fmla="*/ 10 w 105"/>
                <a:gd name="T7" fmla="*/ 10 h 67"/>
                <a:gd name="T8" fmla="*/ 19 w 105"/>
                <a:gd name="T9" fmla="*/ 10 h 67"/>
                <a:gd name="T10" fmla="*/ 19 w 105"/>
                <a:gd name="T11" fmla="*/ 0 h 67"/>
                <a:gd name="T12" fmla="*/ 29 w 105"/>
                <a:gd name="T13" fmla="*/ 0 h 67"/>
                <a:gd name="T14" fmla="*/ 58 w 105"/>
                <a:gd name="T15" fmla="*/ 0 h 67"/>
                <a:gd name="T16" fmla="*/ 67 w 105"/>
                <a:gd name="T17" fmla="*/ 10 h 67"/>
                <a:gd name="T18" fmla="*/ 77 w 105"/>
                <a:gd name="T19" fmla="*/ 10 h 67"/>
                <a:gd name="T20" fmla="*/ 86 w 105"/>
                <a:gd name="T21" fmla="*/ 0 h 67"/>
                <a:gd name="T22" fmla="*/ 96 w 105"/>
                <a:gd name="T23" fmla="*/ 10 h 67"/>
                <a:gd name="T24" fmla="*/ 105 w 105"/>
                <a:gd name="T25" fmla="*/ 29 h 67"/>
                <a:gd name="T26" fmla="*/ 105 w 105"/>
                <a:gd name="T27" fmla="*/ 48 h 67"/>
                <a:gd name="T28" fmla="*/ 105 w 105"/>
                <a:gd name="T29" fmla="*/ 67 h 67"/>
                <a:gd name="T30" fmla="*/ 96 w 105"/>
                <a:gd name="T31" fmla="*/ 67 h 67"/>
                <a:gd name="T32" fmla="*/ 86 w 105"/>
                <a:gd name="T33" fmla="*/ 67 h 67"/>
                <a:gd name="T34" fmla="*/ 77 w 105"/>
                <a:gd name="T35" fmla="*/ 57 h 67"/>
                <a:gd name="T36" fmla="*/ 67 w 105"/>
                <a:gd name="T37" fmla="*/ 57 h 67"/>
                <a:gd name="T38" fmla="*/ 67 w 105"/>
                <a:gd name="T39" fmla="*/ 48 h 67"/>
                <a:gd name="T40" fmla="*/ 58 w 105"/>
                <a:gd name="T41" fmla="*/ 57 h 67"/>
                <a:gd name="T42" fmla="*/ 58 w 105"/>
                <a:gd name="T43" fmla="*/ 48 h 67"/>
                <a:gd name="T44" fmla="*/ 58 w 105"/>
                <a:gd name="T45" fmla="*/ 38 h 67"/>
                <a:gd name="T46" fmla="*/ 48 w 105"/>
                <a:gd name="T47" fmla="*/ 38 h 67"/>
                <a:gd name="T48" fmla="*/ 38 w 105"/>
                <a:gd name="T49" fmla="*/ 38 h 67"/>
                <a:gd name="T50" fmla="*/ 19 w 105"/>
                <a:gd name="T51" fmla="*/ 38 h 6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5"/>
                <a:gd name="T79" fmla="*/ 0 h 67"/>
                <a:gd name="T80" fmla="*/ 105 w 105"/>
                <a:gd name="T81" fmla="*/ 67 h 6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5" h="67">
                  <a:moveTo>
                    <a:pt x="19" y="38"/>
                  </a:moveTo>
                  <a:lnTo>
                    <a:pt x="0" y="19"/>
                  </a:lnTo>
                  <a:lnTo>
                    <a:pt x="10" y="10"/>
                  </a:lnTo>
                  <a:lnTo>
                    <a:pt x="19" y="10"/>
                  </a:lnTo>
                  <a:lnTo>
                    <a:pt x="19" y="0"/>
                  </a:lnTo>
                  <a:lnTo>
                    <a:pt x="29" y="0"/>
                  </a:lnTo>
                  <a:lnTo>
                    <a:pt x="58" y="0"/>
                  </a:lnTo>
                  <a:lnTo>
                    <a:pt x="67" y="10"/>
                  </a:lnTo>
                  <a:lnTo>
                    <a:pt x="77" y="10"/>
                  </a:lnTo>
                  <a:lnTo>
                    <a:pt x="86" y="0"/>
                  </a:lnTo>
                  <a:lnTo>
                    <a:pt x="96" y="10"/>
                  </a:lnTo>
                  <a:lnTo>
                    <a:pt x="105" y="29"/>
                  </a:lnTo>
                  <a:lnTo>
                    <a:pt x="105" y="48"/>
                  </a:lnTo>
                  <a:lnTo>
                    <a:pt x="105" y="67"/>
                  </a:lnTo>
                  <a:lnTo>
                    <a:pt x="96" y="67"/>
                  </a:lnTo>
                  <a:lnTo>
                    <a:pt x="86" y="67"/>
                  </a:lnTo>
                  <a:lnTo>
                    <a:pt x="77" y="57"/>
                  </a:lnTo>
                  <a:lnTo>
                    <a:pt x="67" y="57"/>
                  </a:lnTo>
                  <a:lnTo>
                    <a:pt x="67" y="48"/>
                  </a:lnTo>
                  <a:lnTo>
                    <a:pt x="58" y="57"/>
                  </a:lnTo>
                  <a:lnTo>
                    <a:pt x="58" y="48"/>
                  </a:lnTo>
                  <a:lnTo>
                    <a:pt x="58" y="38"/>
                  </a:lnTo>
                  <a:lnTo>
                    <a:pt x="48" y="38"/>
                  </a:lnTo>
                  <a:lnTo>
                    <a:pt x="38" y="38"/>
                  </a:lnTo>
                  <a:lnTo>
                    <a:pt x="19"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02" name="Freeform 180">
              <a:extLst>
                <a:ext uri="{FF2B5EF4-FFF2-40B4-BE49-F238E27FC236}">
                  <a16:creationId xmlns:a16="http://schemas.microsoft.com/office/drawing/2014/main" id="{0F2CDF17-05FE-40E4-BD0C-DE36AB2D152C}"/>
                </a:ext>
              </a:extLst>
            </p:cNvPr>
            <p:cNvSpPr>
              <a:spLocks/>
            </p:cNvSpPr>
            <p:nvPr/>
          </p:nvSpPr>
          <p:spPr bwMode="gray">
            <a:xfrm>
              <a:off x="2474" y="2700"/>
              <a:ext cx="105" cy="67"/>
            </a:xfrm>
            <a:custGeom>
              <a:avLst/>
              <a:gdLst>
                <a:gd name="T0" fmla="*/ 19 w 105"/>
                <a:gd name="T1" fmla="*/ 38 h 67"/>
                <a:gd name="T2" fmla="*/ 0 w 105"/>
                <a:gd name="T3" fmla="*/ 19 h 67"/>
                <a:gd name="T4" fmla="*/ 0 w 105"/>
                <a:gd name="T5" fmla="*/ 19 h 67"/>
                <a:gd name="T6" fmla="*/ 10 w 105"/>
                <a:gd name="T7" fmla="*/ 10 h 67"/>
                <a:gd name="T8" fmla="*/ 19 w 105"/>
                <a:gd name="T9" fmla="*/ 10 h 67"/>
                <a:gd name="T10" fmla="*/ 19 w 105"/>
                <a:gd name="T11" fmla="*/ 0 h 67"/>
                <a:gd name="T12" fmla="*/ 29 w 105"/>
                <a:gd name="T13" fmla="*/ 0 h 67"/>
                <a:gd name="T14" fmla="*/ 58 w 105"/>
                <a:gd name="T15" fmla="*/ 0 h 67"/>
                <a:gd name="T16" fmla="*/ 67 w 105"/>
                <a:gd name="T17" fmla="*/ 10 h 67"/>
                <a:gd name="T18" fmla="*/ 77 w 105"/>
                <a:gd name="T19" fmla="*/ 10 h 67"/>
                <a:gd name="T20" fmla="*/ 86 w 105"/>
                <a:gd name="T21" fmla="*/ 0 h 67"/>
                <a:gd name="T22" fmla="*/ 96 w 105"/>
                <a:gd name="T23" fmla="*/ 10 h 67"/>
                <a:gd name="T24" fmla="*/ 105 w 105"/>
                <a:gd name="T25" fmla="*/ 29 h 67"/>
                <a:gd name="T26" fmla="*/ 105 w 105"/>
                <a:gd name="T27" fmla="*/ 48 h 67"/>
                <a:gd name="T28" fmla="*/ 105 w 105"/>
                <a:gd name="T29" fmla="*/ 67 h 67"/>
                <a:gd name="T30" fmla="*/ 96 w 105"/>
                <a:gd name="T31" fmla="*/ 67 h 67"/>
                <a:gd name="T32" fmla="*/ 86 w 105"/>
                <a:gd name="T33" fmla="*/ 67 h 67"/>
                <a:gd name="T34" fmla="*/ 77 w 105"/>
                <a:gd name="T35" fmla="*/ 57 h 67"/>
                <a:gd name="T36" fmla="*/ 67 w 105"/>
                <a:gd name="T37" fmla="*/ 57 h 67"/>
                <a:gd name="T38" fmla="*/ 67 w 105"/>
                <a:gd name="T39" fmla="*/ 48 h 67"/>
                <a:gd name="T40" fmla="*/ 58 w 105"/>
                <a:gd name="T41" fmla="*/ 57 h 67"/>
                <a:gd name="T42" fmla="*/ 58 w 105"/>
                <a:gd name="T43" fmla="*/ 48 h 67"/>
                <a:gd name="T44" fmla="*/ 58 w 105"/>
                <a:gd name="T45" fmla="*/ 38 h 67"/>
                <a:gd name="T46" fmla="*/ 48 w 105"/>
                <a:gd name="T47" fmla="*/ 38 h 67"/>
                <a:gd name="T48" fmla="*/ 38 w 105"/>
                <a:gd name="T49" fmla="*/ 38 h 67"/>
                <a:gd name="T50" fmla="*/ 19 w 105"/>
                <a:gd name="T51" fmla="*/ 38 h 6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5"/>
                <a:gd name="T79" fmla="*/ 0 h 67"/>
                <a:gd name="T80" fmla="*/ 105 w 105"/>
                <a:gd name="T81" fmla="*/ 67 h 6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5" h="67">
                  <a:moveTo>
                    <a:pt x="19" y="38"/>
                  </a:moveTo>
                  <a:lnTo>
                    <a:pt x="0" y="19"/>
                  </a:lnTo>
                  <a:lnTo>
                    <a:pt x="10" y="10"/>
                  </a:lnTo>
                  <a:lnTo>
                    <a:pt x="19" y="10"/>
                  </a:lnTo>
                  <a:lnTo>
                    <a:pt x="19" y="0"/>
                  </a:lnTo>
                  <a:lnTo>
                    <a:pt x="29" y="0"/>
                  </a:lnTo>
                  <a:lnTo>
                    <a:pt x="58" y="0"/>
                  </a:lnTo>
                  <a:lnTo>
                    <a:pt x="67" y="10"/>
                  </a:lnTo>
                  <a:lnTo>
                    <a:pt x="77" y="10"/>
                  </a:lnTo>
                  <a:lnTo>
                    <a:pt x="86" y="0"/>
                  </a:lnTo>
                  <a:lnTo>
                    <a:pt x="96" y="10"/>
                  </a:lnTo>
                  <a:lnTo>
                    <a:pt x="105" y="29"/>
                  </a:lnTo>
                  <a:lnTo>
                    <a:pt x="105" y="48"/>
                  </a:lnTo>
                  <a:lnTo>
                    <a:pt x="105" y="67"/>
                  </a:lnTo>
                  <a:lnTo>
                    <a:pt x="96" y="67"/>
                  </a:lnTo>
                  <a:lnTo>
                    <a:pt x="86" y="67"/>
                  </a:lnTo>
                  <a:lnTo>
                    <a:pt x="77" y="57"/>
                  </a:lnTo>
                  <a:lnTo>
                    <a:pt x="67" y="57"/>
                  </a:lnTo>
                  <a:lnTo>
                    <a:pt x="67" y="48"/>
                  </a:lnTo>
                  <a:lnTo>
                    <a:pt x="58" y="57"/>
                  </a:lnTo>
                  <a:lnTo>
                    <a:pt x="58" y="48"/>
                  </a:lnTo>
                  <a:lnTo>
                    <a:pt x="58" y="38"/>
                  </a:lnTo>
                  <a:lnTo>
                    <a:pt x="48" y="38"/>
                  </a:lnTo>
                  <a:lnTo>
                    <a:pt x="38" y="38"/>
                  </a:lnTo>
                  <a:lnTo>
                    <a:pt x="19"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03" name="Freeform 181">
              <a:extLst>
                <a:ext uri="{FF2B5EF4-FFF2-40B4-BE49-F238E27FC236}">
                  <a16:creationId xmlns:a16="http://schemas.microsoft.com/office/drawing/2014/main" id="{4FBCC14F-572B-4916-A203-EB4877030FD9}"/>
                </a:ext>
              </a:extLst>
            </p:cNvPr>
            <p:cNvSpPr>
              <a:spLocks/>
            </p:cNvSpPr>
            <p:nvPr/>
          </p:nvSpPr>
          <p:spPr bwMode="gray">
            <a:xfrm>
              <a:off x="2493" y="2738"/>
              <a:ext cx="48" cy="38"/>
            </a:xfrm>
            <a:custGeom>
              <a:avLst/>
              <a:gdLst>
                <a:gd name="T0" fmla="*/ 39 w 48"/>
                <a:gd name="T1" fmla="*/ 38 h 38"/>
                <a:gd name="T2" fmla="*/ 10 w 48"/>
                <a:gd name="T3" fmla="*/ 29 h 38"/>
                <a:gd name="T4" fmla="*/ 10 w 48"/>
                <a:gd name="T5" fmla="*/ 19 h 38"/>
                <a:gd name="T6" fmla="*/ 0 w 48"/>
                <a:gd name="T7" fmla="*/ 0 h 38"/>
                <a:gd name="T8" fmla="*/ 19 w 48"/>
                <a:gd name="T9" fmla="*/ 0 h 38"/>
                <a:gd name="T10" fmla="*/ 29 w 48"/>
                <a:gd name="T11" fmla="*/ 0 h 38"/>
                <a:gd name="T12" fmla="*/ 39 w 48"/>
                <a:gd name="T13" fmla="*/ 0 h 38"/>
                <a:gd name="T14" fmla="*/ 39 w 48"/>
                <a:gd name="T15" fmla="*/ 10 h 38"/>
                <a:gd name="T16" fmla="*/ 39 w 48"/>
                <a:gd name="T17" fmla="*/ 19 h 38"/>
                <a:gd name="T18" fmla="*/ 48 w 48"/>
                <a:gd name="T19" fmla="*/ 10 h 38"/>
                <a:gd name="T20" fmla="*/ 48 w 48"/>
                <a:gd name="T21" fmla="*/ 19 h 38"/>
                <a:gd name="T22" fmla="*/ 39 w 48"/>
                <a:gd name="T23" fmla="*/ 38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38"/>
                <a:gd name="T38" fmla="*/ 48 w 48"/>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38">
                  <a:moveTo>
                    <a:pt x="39" y="38"/>
                  </a:moveTo>
                  <a:lnTo>
                    <a:pt x="10" y="29"/>
                  </a:lnTo>
                  <a:lnTo>
                    <a:pt x="10" y="19"/>
                  </a:lnTo>
                  <a:lnTo>
                    <a:pt x="0" y="0"/>
                  </a:lnTo>
                  <a:lnTo>
                    <a:pt x="19" y="0"/>
                  </a:lnTo>
                  <a:lnTo>
                    <a:pt x="29" y="0"/>
                  </a:lnTo>
                  <a:lnTo>
                    <a:pt x="39" y="0"/>
                  </a:lnTo>
                  <a:lnTo>
                    <a:pt x="39" y="10"/>
                  </a:lnTo>
                  <a:lnTo>
                    <a:pt x="39" y="19"/>
                  </a:lnTo>
                  <a:lnTo>
                    <a:pt x="48" y="10"/>
                  </a:lnTo>
                  <a:lnTo>
                    <a:pt x="48" y="19"/>
                  </a:lnTo>
                  <a:lnTo>
                    <a:pt x="39"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04" name="Freeform 182">
              <a:extLst>
                <a:ext uri="{FF2B5EF4-FFF2-40B4-BE49-F238E27FC236}">
                  <a16:creationId xmlns:a16="http://schemas.microsoft.com/office/drawing/2014/main" id="{AEAEF552-7173-4955-BBFE-6311711CB0F3}"/>
                </a:ext>
              </a:extLst>
            </p:cNvPr>
            <p:cNvSpPr>
              <a:spLocks/>
            </p:cNvSpPr>
            <p:nvPr/>
          </p:nvSpPr>
          <p:spPr bwMode="gray">
            <a:xfrm>
              <a:off x="2493" y="2738"/>
              <a:ext cx="48" cy="38"/>
            </a:xfrm>
            <a:custGeom>
              <a:avLst/>
              <a:gdLst>
                <a:gd name="T0" fmla="*/ 39 w 48"/>
                <a:gd name="T1" fmla="*/ 38 h 38"/>
                <a:gd name="T2" fmla="*/ 10 w 48"/>
                <a:gd name="T3" fmla="*/ 29 h 38"/>
                <a:gd name="T4" fmla="*/ 10 w 48"/>
                <a:gd name="T5" fmla="*/ 19 h 38"/>
                <a:gd name="T6" fmla="*/ 0 w 48"/>
                <a:gd name="T7" fmla="*/ 0 h 38"/>
                <a:gd name="T8" fmla="*/ 19 w 48"/>
                <a:gd name="T9" fmla="*/ 0 h 38"/>
                <a:gd name="T10" fmla="*/ 29 w 48"/>
                <a:gd name="T11" fmla="*/ 0 h 38"/>
                <a:gd name="T12" fmla="*/ 39 w 48"/>
                <a:gd name="T13" fmla="*/ 0 h 38"/>
                <a:gd name="T14" fmla="*/ 39 w 48"/>
                <a:gd name="T15" fmla="*/ 10 h 38"/>
                <a:gd name="T16" fmla="*/ 39 w 48"/>
                <a:gd name="T17" fmla="*/ 19 h 38"/>
                <a:gd name="T18" fmla="*/ 48 w 48"/>
                <a:gd name="T19" fmla="*/ 10 h 38"/>
                <a:gd name="T20" fmla="*/ 48 w 48"/>
                <a:gd name="T21" fmla="*/ 19 h 38"/>
                <a:gd name="T22" fmla="*/ 39 w 48"/>
                <a:gd name="T23" fmla="*/ 38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38"/>
                <a:gd name="T38" fmla="*/ 48 w 48"/>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38">
                  <a:moveTo>
                    <a:pt x="39" y="38"/>
                  </a:moveTo>
                  <a:lnTo>
                    <a:pt x="10" y="29"/>
                  </a:lnTo>
                  <a:lnTo>
                    <a:pt x="10" y="19"/>
                  </a:lnTo>
                  <a:lnTo>
                    <a:pt x="0" y="0"/>
                  </a:lnTo>
                  <a:lnTo>
                    <a:pt x="19" y="0"/>
                  </a:lnTo>
                  <a:lnTo>
                    <a:pt x="29" y="0"/>
                  </a:lnTo>
                  <a:lnTo>
                    <a:pt x="39" y="0"/>
                  </a:lnTo>
                  <a:lnTo>
                    <a:pt x="39" y="10"/>
                  </a:lnTo>
                  <a:lnTo>
                    <a:pt x="39" y="19"/>
                  </a:lnTo>
                  <a:lnTo>
                    <a:pt x="48" y="10"/>
                  </a:lnTo>
                  <a:lnTo>
                    <a:pt x="48" y="19"/>
                  </a:lnTo>
                  <a:lnTo>
                    <a:pt x="39"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05" name="Freeform 183">
              <a:extLst>
                <a:ext uri="{FF2B5EF4-FFF2-40B4-BE49-F238E27FC236}">
                  <a16:creationId xmlns:a16="http://schemas.microsoft.com/office/drawing/2014/main" id="{BFC15AE0-F6A2-4B99-9249-F1FCD1FCA806}"/>
                </a:ext>
              </a:extLst>
            </p:cNvPr>
            <p:cNvSpPr>
              <a:spLocks/>
            </p:cNvSpPr>
            <p:nvPr/>
          </p:nvSpPr>
          <p:spPr bwMode="gray">
            <a:xfrm>
              <a:off x="2732" y="2681"/>
              <a:ext cx="171" cy="124"/>
            </a:xfrm>
            <a:custGeom>
              <a:avLst/>
              <a:gdLst>
                <a:gd name="T0" fmla="*/ 162 w 171"/>
                <a:gd name="T1" fmla="*/ 0 h 124"/>
                <a:gd name="T2" fmla="*/ 171 w 171"/>
                <a:gd name="T3" fmla="*/ 10 h 124"/>
                <a:gd name="T4" fmla="*/ 171 w 171"/>
                <a:gd name="T5" fmla="*/ 10 h 124"/>
                <a:gd name="T6" fmla="*/ 171 w 171"/>
                <a:gd name="T7" fmla="*/ 29 h 124"/>
                <a:gd name="T8" fmla="*/ 162 w 171"/>
                <a:gd name="T9" fmla="*/ 38 h 124"/>
                <a:gd name="T10" fmla="*/ 152 w 171"/>
                <a:gd name="T11" fmla="*/ 57 h 124"/>
                <a:gd name="T12" fmla="*/ 143 w 171"/>
                <a:gd name="T13" fmla="*/ 67 h 124"/>
                <a:gd name="T14" fmla="*/ 133 w 171"/>
                <a:gd name="T15" fmla="*/ 86 h 124"/>
                <a:gd name="T16" fmla="*/ 124 w 171"/>
                <a:gd name="T17" fmla="*/ 95 h 124"/>
                <a:gd name="T18" fmla="*/ 124 w 171"/>
                <a:gd name="T19" fmla="*/ 86 h 124"/>
                <a:gd name="T20" fmla="*/ 105 w 171"/>
                <a:gd name="T21" fmla="*/ 86 h 124"/>
                <a:gd name="T22" fmla="*/ 95 w 171"/>
                <a:gd name="T23" fmla="*/ 105 h 124"/>
                <a:gd name="T24" fmla="*/ 85 w 171"/>
                <a:gd name="T25" fmla="*/ 124 h 124"/>
                <a:gd name="T26" fmla="*/ 57 w 171"/>
                <a:gd name="T27" fmla="*/ 124 h 124"/>
                <a:gd name="T28" fmla="*/ 47 w 171"/>
                <a:gd name="T29" fmla="*/ 124 h 124"/>
                <a:gd name="T30" fmla="*/ 38 w 171"/>
                <a:gd name="T31" fmla="*/ 115 h 124"/>
                <a:gd name="T32" fmla="*/ 19 w 171"/>
                <a:gd name="T33" fmla="*/ 105 h 124"/>
                <a:gd name="T34" fmla="*/ 0 w 171"/>
                <a:gd name="T35" fmla="*/ 105 h 124"/>
                <a:gd name="T36" fmla="*/ 0 w 171"/>
                <a:gd name="T37" fmla="*/ 67 h 124"/>
                <a:gd name="T38" fmla="*/ 9 w 171"/>
                <a:gd name="T39" fmla="*/ 57 h 124"/>
                <a:gd name="T40" fmla="*/ 9 w 171"/>
                <a:gd name="T41" fmla="*/ 38 h 124"/>
                <a:gd name="T42" fmla="*/ 9 w 171"/>
                <a:gd name="T43" fmla="*/ 19 h 124"/>
                <a:gd name="T44" fmla="*/ 9 w 171"/>
                <a:gd name="T45" fmla="*/ 19 h 124"/>
                <a:gd name="T46" fmla="*/ 19 w 171"/>
                <a:gd name="T47" fmla="*/ 0 h 124"/>
                <a:gd name="T48" fmla="*/ 28 w 171"/>
                <a:gd name="T49" fmla="*/ 0 h 124"/>
                <a:gd name="T50" fmla="*/ 57 w 171"/>
                <a:gd name="T51" fmla="*/ 0 h 124"/>
                <a:gd name="T52" fmla="*/ 66 w 171"/>
                <a:gd name="T53" fmla="*/ 10 h 124"/>
                <a:gd name="T54" fmla="*/ 76 w 171"/>
                <a:gd name="T55" fmla="*/ 10 h 124"/>
                <a:gd name="T56" fmla="*/ 95 w 171"/>
                <a:gd name="T57" fmla="*/ 10 h 124"/>
                <a:gd name="T58" fmla="*/ 105 w 171"/>
                <a:gd name="T59" fmla="*/ 10 h 124"/>
                <a:gd name="T60" fmla="*/ 114 w 171"/>
                <a:gd name="T61" fmla="*/ 0 h 124"/>
                <a:gd name="T62" fmla="*/ 143 w 171"/>
                <a:gd name="T63" fmla="*/ 10 h 124"/>
                <a:gd name="T64" fmla="*/ 162 w 171"/>
                <a:gd name="T65" fmla="*/ 0 h 12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1"/>
                <a:gd name="T100" fmla="*/ 0 h 124"/>
                <a:gd name="T101" fmla="*/ 171 w 171"/>
                <a:gd name="T102" fmla="*/ 124 h 12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1" h="124">
                  <a:moveTo>
                    <a:pt x="162" y="0"/>
                  </a:moveTo>
                  <a:lnTo>
                    <a:pt x="171" y="10"/>
                  </a:lnTo>
                  <a:lnTo>
                    <a:pt x="171" y="29"/>
                  </a:lnTo>
                  <a:lnTo>
                    <a:pt x="162" y="38"/>
                  </a:lnTo>
                  <a:lnTo>
                    <a:pt x="152" y="57"/>
                  </a:lnTo>
                  <a:lnTo>
                    <a:pt x="143" y="67"/>
                  </a:lnTo>
                  <a:lnTo>
                    <a:pt x="133" y="86"/>
                  </a:lnTo>
                  <a:lnTo>
                    <a:pt x="124" y="95"/>
                  </a:lnTo>
                  <a:lnTo>
                    <a:pt x="124" y="86"/>
                  </a:lnTo>
                  <a:lnTo>
                    <a:pt x="105" y="86"/>
                  </a:lnTo>
                  <a:lnTo>
                    <a:pt x="95" y="105"/>
                  </a:lnTo>
                  <a:lnTo>
                    <a:pt x="85" y="124"/>
                  </a:lnTo>
                  <a:lnTo>
                    <a:pt x="57" y="124"/>
                  </a:lnTo>
                  <a:lnTo>
                    <a:pt x="47" y="124"/>
                  </a:lnTo>
                  <a:lnTo>
                    <a:pt x="38" y="115"/>
                  </a:lnTo>
                  <a:lnTo>
                    <a:pt x="19" y="105"/>
                  </a:lnTo>
                  <a:lnTo>
                    <a:pt x="0" y="105"/>
                  </a:lnTo>
                  <a:lnTo>
                    <a:pt x="0" y="67"/>
                  </a:lnTo>
                  <a:lnTo>
                    <a:pt x="9" y="57"/>
                  </a:lnTo>
                  <a:lnTo>
                    <a:pt x="9" y="38"/>
                  </a:lnTo>
                  <a:lnTo>
                    <a:pt x="9" y="19"/>
                  </a:lnTo>
                  <a:lnTo>
                    <a:pt x="19" y="0"/>
                  </a:lnTo>
                  <a:lnTo>
                    <a:pt x="28" y="0"/>
                  </a:lnTo>
                  <a:lnTo>
                    <a:pt x="57" y="0"/>
                  </a:lnTo>
                  <a:lnTo>
                    <a:pt x="66" y="10"/>
                  </a:lnTo>
                  <a:lnTo>
                    <a:pt x="76" y="10"/>
                  </a:lnTo>
                  <a:lnTo>
                    <a:pt x="95" y="10"/>
                  </a:lnTo>
                  <a:lnTo>
                    <a:pt x="105" y="10"/>
                  </a:lnTo>
                  <a:lnTo>
                    <a:pt x="114" y="0"/>
                  </a:lnTo>
                  <a:lnTo>
                    <a:pt x="143" y="10"/>
                  </a:lnTo>
                  <a:lnTo>
                    <a:pt x="162"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06" name="Freeform 184">
              <a:extLst>
                <a:ext uri="{FF2B5EF4-FFF2-40B4-BE49-F238E27FC236}">
                  <a16:creationId xmlns:a16="http://schemas.microsoft.com/office/drawing/2014/main" id="{DE20B327-7D97-4947-BEB4-148803508B51}"/>
                </a:ext>
              </a:extLst>
            </p:cNvPr>
            <p:cNvSpPr>
              <a:spLocks/>
            </p:cNvSpPr>
            <p:nvPr/>
          </p:nvSpPr>
          <p:spPr bwMode="gray">
            <a:xfrm>
              <a:off x="2703" y="2700"/>
              <a:ext cx="38" cy="86"/>
            </a:xfrm>
            <a:custGeom>
              <a:avLst/>
              <a:gdLst>
                <a:gd name="T0" fmla="*/ 0 w 38"/>
                <a:gd name="T1" fmla="*/ 19 h 86"/>
                <a:gd name="T2" fmla="*/ 29 w 38"/>
                <a:gd name="T3" fmla="*/ 10 h 86"/>
                <a:gd name="T4" fmla="*/ 29 w 38"/>
                <a:gd name="T5" fmla="*/ 10 h 86"/>
                <a:gd name="T6" fmla="*/ 38 w 38"/>
                <a:gd name="T7" fmla="*/ 0 h 86"/>
                <a:gd name="T8" fmla="*/ 38 w 38"/>
                <a:gd name="T9" fmla="*/ 19 h 86"/>
                <a:gd name="T10" fmla="*/ 38 w 38"/>
                <a:gd name="T11" fmla="*/ 38 h 86"/>
                <a:gd name="T12" fmla="*/ 29 w 38"/>
                <a:gd name="T13" fmla="*/ 48 h 86"/>
                <a:gd name="T14" fmla="*/ 29 w 38"/>
                <a:gd name="T15" fmla="*/ 86 h 86"/>
                <a:gd name="T16" fmla="*/ 19 w 38"/>
                <a:gd name="T17" fmla="*/ 86 h 86"/>
                <a:gd name="T18" fmla="*/ 19 w 38"/>
                <a:gd name="T19" fmla="*/ 48 h 86"/>
                <a:gd name="T20" fmla="*/ 10 w 38"/>
                <a:gd name="T21" fmla="*/ 38 h 86"/>
                <a:gd name="T22" fmla="*/ 0 w 38"/>
                <a:gd name="T23" fmla="*/ 29 h 86"/>
                <a:gd name="T24" fmla="*/ 0 w 38"/>
                <a:gd name="T25" fmla="*/ 19 h 8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86"/>
                <a:gd name="T41" fmla="*/ 38 w 38"/>
                <a:gd name="T42" fmla="*/ 86 h 8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86">
                  <a:moveTo>
                    <a:pt x="0" y="19"/>
                  </a:moveTo>
                  <a:lnTo>
                    <a:pt x="29" y="10"/>
                  </a:lnTo>
                  <a:lnTo>
                    <a:pt x="38" y="0"/>
                  </a:lnTo>
                  <a:lnTo>
                    <a:pt x="38" y="19"/>
                  </a:lnTo>
                  <a:lnTo>
                    <a:pt x="38" y="38"/>
                  </a:lnTo>
                  <a:lnTo>
                    <a:pt x="29" y="48"/>
                  </a:lnTo>
                  <a:lnTo>
                    <a:pt x="29" y="86"/>
                  </a:lnTo>
                  <a:lnTo>
                    <a:pt x="19" y="86"/>
                  </a:lnTo>
                  <a:lnTo>
                    <a:pt x="19" y="48"/>
                  </a:lnTo>
                  <a:lnTo>
                    <a:pt x="10" y="38"/>
                  </a:lnTo>
                  <a:lnTo>
                    <a:pt x="0" y="29"/>
                  </a:lnTo>
                  <a:lnTo>
                    <a:pt x="0"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07" name="Freeform 185">
              <a:extLst>
                <a:ext uri="{FF2B5EF4-FFF2-40B4-BE49-F238E27FC236}">
                  <a16:creationId xmlns:a16="http://schemas.microsoft.com/office/drawing/2014/main" id="{1E9E99FB-FEA1-4C55-A911-6E6BD0A0B843}"/>
                </a:ext>
              </a:extLst>
            </p:cNvPr>
            <p:cNvSpPr>
              <a:spLocks/>
            </p:cNvSpPr>
            <p:nvPr/>
          </p:nvSpPr>
          <p:spPr bwMode="gray">
            <a:xfrm>
              <a:off x="2703" y="2700"/>
              <a:ext cx="38" cy="86"/>
            </a:xfrm>
            <a:custGeom>
              <a:avLst/>
              <a:gdLst>
                <a:gd name="T0" fmla="*/ 0 w 38"/>
                <a:gd name="T1" fmla="*/ 19 h 86"/>
                <a:gd name="T2" fmla="*/ 29 w 38"/>
                <a:gd name="T3" fmla="*/ 10 h 86"/>
                <a:gd name="T4" fmla="*/ 29 w 38"/>
                <a:gd name="T5" fmla="*/ 10 h 86"/>
                <a:gd name="T6" fmla="*/ 38 w 38"/>
                <a:gd name="T7" fmla="*/ 0 h 86"/>
                <a:gd name="T8" fmla="*/ 38 w 38"/>
                <a:gd name="T9" fmla="*/ 19 h 86"/>
                <a:gd name="T10" fmla="*/ 38 w 38"/>
                <a:gd name="T11" fmla="*/ 38 h 86"/>
                <a:gd name="T12" fmla="*/ 29 w 38"/>
                <a:gd name="T13" fmla="*/ 48 h 86"/>
                <a:gd name="T14" fmla="*/ 29 w 38"/>
                <a:gd name="T15" fmla="*/ 86 h 86"/>
                <a:gd name="T16" fmla="*/ 19 w 38"/>
                <a:gd name="T17" fmla="*/ 86 h 86"/>
                <a:gd name="T18" fmla="*/ 19 w 38"/>
                <a:gd name="T19" fmla="*/ 48 h 86"/>
                <a:gd name="T20" fmla="*/ 10 w 38"/>
                <a:gd name="T21" fmla="*/ 38 h 86"/>
                <a:gd name="T22" fmla="*/ 0 w 38"/>
                <a:gd name="T23" fmla="*/ 29 h 86"/>
                <a:gd name="T24" fmla="*/ 0 w 38"/>
                <a:gd name="T25" fmla="*/ 19 h 8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86"/>
                <a:gd name="T41" fmla="*/ 38 w 38"/>
                <a:gd name="T42" fmla="*/ 86 h 8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86">
                  <a:moveTo>
                    <a:pt x="0" y="19"/>
                  </a:moveTo>
                  <a:lnTo>
                    <a:pt x="29" y="10"/>
                  </a:lnTo>
                  <a:lnTo>
                    <a:pt x="38" y="0"/>
                  </a:lnTo>
                  <a:lnTo>
                    <a:pt x="38" y="19"/>
                  </a:lnTo>
                  <a:lnTo>
                    <a:pt x="38" y="38"/>
                  </a:lnTo>
                  <a:lnTo>
                    <a:pt x="29" y="48"/>
                  </a:lnTo>
                  <a:lnTo>
                    <a:pt x="29" y="86"/>
                  </a:lnTo>
                  <a:lnTo>
                    <a:pt x="19" y="86"/>
                  </a:lnTo>
                  <a:lnTo>
                    <a:pt x="19" y="48"/>
                  </a:lnTo>
                  <a:lnTo>
                    <a:pt x="10" y="38"/>
                  </a:lnTo>
                  <a:lnTo>
                    <a:pt x="0" y="29"/>
                  </a:lnTo>
                  <a:lnTo>
                    <a:pt x="0"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08" name="Freeform 186">
              <a:extLst>
                <a:ext uri="{FF2B5EF4-FFF2-40B4-BE49-F238E27FC236}">
                  <a16:creationId xmlns:a16="http://schemas.microsoft.com/office/drawing/2014/main" id="{CEC48365-DCC2-472E-9BF1-A23C06CCBB51}"/>
                </a:ext>
              </a:extLst>
            </p:cNvPr>
            <p:cNvSpPr>
              <a:spLocks/>
            </p:cNvSpPr>
            <p:nvPr/>
          </p:nvSpPr>
          <p:spPr bwMode="gray">
            <a:xfrm>
              <a:off x="2694" y="2719"/>
              <a:ext cx="28" cy="67"/>
            </a:xfrm>
            <a:custGeom>
              <a:avLst/>
              <a:gdLst>
                <a:gd name="T0" fmla="*/ 9 w 28"/>
                <a:gd name="T1" fmla="*/ 0 h 67"/>
                <a:gd name="T2" fmla="*/ 9 w 28"/>
                <a:gd name="T3" fmla="*/ 10 h 67"/>
                <a:gd name="T4" fmla="*/ 19 w 28"/>
                <a:gd name="T5" fmla="*/ 19 h 67"/>
                <a:gd name="T6" fmla="*/ 28 w 28"/>
                <a:gd name="T7" fmla="*/ 29 h 67"/>
                <a:gd name="T8" fmla="*/ 28 w 28"/>
                <a:gd name="T9" fmla="*/ 67 h 67"/>
                <a:gd name="T10" fmla="*/ 9 w 28"/>
                <a:gd name="T11" fmla="*/ 67 h 67"/>
                <a:gd name="T12" fmla="*/ 9 w 28"/>
                <a:gd name="T13" fmla="*/ 57 h 67"/>
                <a:gd name="T14" fmla="*/ 9 w 28"/>
                <a:gd name="T15" fmla="*/ 57 h 67"/>
                <a:gd name="T16" fmla="*/ 9 w 28"/>
                <a:gd name="T17" fmla="*/ 48 h 67"/>
                <a:gd name="T18" fmla="*/ 0 w 28"/>
                <a:gd name="T19" fmla="*/ 38 h 67"/>
                <a:gd name="T20" fmla="*/ 0 w 28"/>
                <a:gd name="T21" fmla="*/ 19 h 67"/>
                <a:gd name="T22" fmla="*/ 0 w 28"/>
                <a:gd name="T23" fmla="*/ 0 h 67"/>
                <a:gd name="T24" fmla="*/ 9 w 28"/>
                <a:gd name="T25" fmla="*/ 0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67"/>
                <a:gd name="T41" fmla="*/ 28 w 28"/>
                <a:gd name="T42" fmla="*/ 67 h 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67">
                  <a:moveTo>
                    <a:pt x="9" y="0"/>
                  </a:moveTo>
                  <a:lnTo>
                    <a:pt x="9" y="10"/>
                  </a:lnTo>
                  <a:lnTo>
                    <a:pt x="19" y="19"/>
                  </a:lnTo>
                  <a:lnTo>
                    <a:pt x="28" y="29"/>
                  </a:lnTo>
                  <a:lnTo>
                    <a:pt x="28" y="67"/>
                  </a:lnTo>
                  <a:lnTo>
                    <a:pt x="9" y="67"/>
                  </a:lnTo>
                  <a:lnTo>
                    <a:pt x="9" y="57"/>
                  </a:lnTo>
                  <a:lnTo>
                    <a:pt x="9" y="48"/>
                  </a:lnTo>
                  <a:lnTo>
                    <a:pt x="0" y="38"/>
                  </a:lnTo>
                  <a:lnTo>
                    <a:pt x="0" y="19"/>
                  </a:lnTo>
                  <a:lnTo>
                    <a:pt x="0" y="0"/>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09" name="Freeform 187">
              <a:extLst>
                <a:ext uri="{FF2B5EF4-FFF2-40B4-BE49-F238E27FC236}">
                  <a16:creationId xmlns:a16="http://schemas.microsoft.com/office/drawing/2014/main" id="{C0F346B2-BFDB-497A-A9FC-29B81CD5248D}"/>
                </a:ext>
              </a:extLst>
            </p:cNvPr>
            <p:cNvSpPr>
              <a:spLocks/>
            </p:cNvSpPr>
            <p:nvPr/>
          </p:nvSpPr>
          <p:spPr bwMode="gray">
            <a:xfrm>
              <a:off x="2694" y="2719"/>
              <a:ext cx="28" cy="67"/>
            </a:xfrm>
            <a:custGeom>
              <a:avLst/>
              <a:gdLst>
                <a:gd name="T0" fmla="*/ 9 w 28"/>
                <a:gd name="T1" fmla="*/ 0 h 67"/>
                <a:gd name="T2" fmla="*/ 9 w 28"/>
                <a:gd name="T3" fmla="*/ 10 h 67"/>
                <a:gd name="T4" fmla="*/ 19 w 28"/>
                <a:gd name="T5" fmla="*/ 19 h 67"/>
                <a:gd name="T6" fmla="*/ 28 w 28"/>
                <a:gd name="T7" fmla="*/ 29 h 67"/>
                <a:gd name="T8" fmla="*/ 28 w 28"/>
                <a:gd name="T9" fmla="*/ 67 h 67"/>
                <a:gd name="T10" fmla="*/ 9 w 28"/>
                <a:gd name="T11" fmla="*/ 67 h 67"/>
                <a:gd name="T12" fmla="*/ 9 w 28"/>
                <a:gd name="T13" fmla="*/ 57 h 67"/>
                <a:gd name="T14" fmla="*/ 9 w 28"/>
                <a:gd name="T15" fmla="*/ 57 h 67"/>
                <a:gd name="T16" fmla="*/ 9 w 28"/>
                <a:gd name="T17" fmla="*/ 48 h 67"/>
                <a:gd name="T18" fmla="*/ 0 w 28"/>
                <a:gd name="T19" fmla="*/ 38 h 67"/>
                <a:gd name="T20" fmla="*/ 0 w 28"/>
                <a:gd name="T21" fmla="*/ 19 h 67"/>
                <a:gd name="T22" fmla="*/ 0 w 28"/>
                <a:gd name="T23" fmla="*/ 0 h 67"/>
                <a:gd name="T24" fmla="*/ 9 w 28"/>
                <a:gd name="T25" fmla="*/ 0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67"/>
                <a:gd name="T41" fmla="*/ 28 w 28"/>
                <a:gd name="T42" fmla="*/ 67 h 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67">
                  <a:moveTo>
                    <a:pt x="9" y="0"/>
                  </a:moveTo>
                  <a:lnTo>
                    <a:pt x="9" y="10"/>
                  </a:lnTo>
                  <a:lnTo>
                    <a:pt x="19" y="19"/>
                  </a:lnTo>
                  <a:lnTo>
                    <a:pt x="28" y="29"/>
                  </a:lnTo>
                  <a:lnTo>
                    <a:pt x="28" y="67"/>
                  </a:lnTo>
                  <a:lnTo>
                    <a:pt x="9" y="67"/>
                  </a:lnTo>
                  <a:lnTo>
                    <a:pt x="9" y="57"/>
                  </a:lnTo>
                  <a:lnTo>
                    <a:pt x="9" y="48"/>
                  </a:lnTo>
                  <a:lnTo>
                    <a:pt x="0" y="38"/>
                  </a:lnTo>
                  <a:lnTo>
                    <a:pt x="0" y="19"/>
                  </a:lnTo>
                  <a:lnTo>
                    <a:pt x="0" y="0"/>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10" name="Freeform 188">
              <a:extLst>
                <a:ext uri="{FF2B5EF4-FFF2-40B4-BE49-F238E27FC236}">
                  <a16:creationId xmlns:a16="http://schemas.microsoft.com/office/drawing/2014/main" id="{09E0C0D5-D7CF-42E2-A419-30712E29DFCB}"/>
                </a:ext>
              </a:extLst>
            </p:cNvPr>
            <p:cNvSpPr>
              <a:spLocks/>
            </p:cNvSpPr>
            <p:nvPr/>
          </p:nvSpPr>
          <p:spPr bwMode="gray">
            <a:xfrm>
              <a:off x="2646" y="2710"/>
              <a:ext cx="57" cy="95"/>
            </a:xfrm>
            <a:custGeom>
              <a:avLst/>
              <a:gdLst>
                <a:gd name="T0" fmla="*/ 48 w 57"/>
                <a:gd name="T1" fmla="*/ 9 h 95"/>
                <a:gd name="T2" fmla="*/ 48 w 57"/>
                <a:gd name="T3" fmla="*/ 28 h 95"/>
                <a:gd name="T4" fmla="*/ 48 w 57"/>
                <a:gd name="T5" fmla="*/ 47 h 95"/>
                <a:gd name="T6" fmla="*/ 57 w 57"/>
                <a:gd name="T7" fmla="*/ 57 h 95"/>
                <a:gd name="T8" fmla="*/ 57 w 57"/>
                <a:gd name="T9" fmla="*/ 66 h 95"/>
                <a:gd name="T10" fmla="*/ 57 w 57"/>
                <a:gd name="T11" fmla="*/ 66 h 95"/>
                <a:gd name="T12" fmla="*/ 57 w 57"/>
                <a:gd name="T13" fmla="*/ 76 h 95"/>
                <a:gd name="T14" fmla="*/ 48 w 57"/>
                <a:gd name="T15" fmla="*/ 86 h 95"/>
                <a:gd name="T16" fmla="*/ 19 w 57"/>
                <a:gd name="T17" fmla="*/ 95 h 95"/>
                <a:gd name="T18" fmla="*/ 9 w 57"/>
                <a:gd name="T19" fmla="*/ 86 h 95"/>
                <a:gd name="T20" fmla="*/ 0 w 57"/>
                <a:gd name="T21" fmla="*/ 76 h 95"/>
                <a:gd name="T22" fmla="*/ 0 w 57"/>
                <a:gd name="T23" fmla="*/ 66 h 95"/>
                <a:gd name="T24" fmla="*/ 9 w 57"/>
                <a:gd name="T25" fmla="*/ 47 h 95"/>
                <a:gd name="T26" fmla="*/ 9 w 57"/>
                <a:gd name="T27" fmla="*/ 38 h 95"/>
                <a:gd name="T28" fmla="*/ 0 w 57"/>
                <a:gd name="T29" fmla="*/ 19 h 95"/>
                <a:gd name="T30" fmla="*/ 9 w 57"/>
                <a:gd name="T31" fmla="*/ 0 h 95"/>
                <a:gd name="T32" fmla="*/ 19 w 57"/>
                <a:gd name="T33" fmla="*/ 0 h 95"/>
                <a:gd name="T34" fmla="*/ 28 w 57"/>
                <a:gd name="T35" fmla="*/ 9 h 95"/>
                <a:gd name="T36" fmla="*/ 38 w 57"/>
                <a:gd name="T37" fmla="*/ 9 h 95"/>
                <a:gd name="T38" fmla="*/ 48 w 57"/>
                <a:gd name="T39" fmla="*/ 9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95"/>
                <a:gd name="T62" fmla="*/ 57 w 57"/>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95">
                  <a:moveTo>
                    <a:pt x="48" y="9"/>
                  </a:moveTo>
                  <a:lnTo>
                    <a:pt x="48" y="28"/>
                  </a:lnTo>
                  <a:lnTo>
                    <a:pt x="48" y="47"/>
                  </a:lnTo>
                  <a:lnTo>
                    <a:pt x="57" y="57"/>
                  </a:lnTo>
                  <a:lnTo>
                    <a:pt x="57" y="66"/>
                  </a:lnTo>
                  <a:lnTo>
                    <a:pt x="57" y="76"/>
                  </a:lnTo>
                  <a:lnTo>
                    <a:pt x="48" y="86"/>
                  </a:lnTo>
                  <a:lnTo>
                    <a:pt x="19" y="95"/>
                  </a:lnTo>
                  <a:lnTo>
                    <a:pt x="9" y="86"/>
                  </a:lnTo>
                  <a:lnTo>
                    <a:pt x="0" y="76"/>
                  </a:lnTo>
                  <a:lnTo>
                    <a:pt x="0" y="66"/>
                  </a:lnTo>
                  <a:lnTo>
                    <a:pt x="9" y="47"/>
                  </a:lnTo>
                  <a:lnTo>
                    <a:pt x="9" y="38"/>
                  </a:lnTo>
                  <a:lnTo>
                    <a:pt x="0" y="19"/>
                  </a:lnTo>
                  <a:lnTo>
                    <a:pt x="9" y="0"/>
                  </a:lnTo>
                  <a:lnTo>
                    <a:pt x="19" y="0"/>
                  </a:lnTo>
                  <a:lnTo>
                    <a:pt x="28" y="9"/>
                  </a:lnTo>
                  <a:lnTo>
                    <a:pt x="38" y="9"/>
                  </a:lnTo>
                  <a:lnTo>
                    <a:pt x="48"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11" name="Freeform 189">
              <a:extLst>
                <a:ext uri="{FF2B5EF4-FFF2-40B4-BE49-F238E27FC236}">
                  <a16:creationId xmlns:a16="http://schemas.microsoft.com/office/drawing/2014/main" id="{126046AA-3EE6-4129-B39A-DBAF2C0308B3}"/>
                </a:ext>
              </a:extLst>
            </p:cNvPr>
            <p:cNvSpPr>
              <a:spLocks/>
            </p:cNvSpPr>
            <p:nvPr/>
          </p:nvSpPr>
          <p:spPr bwMode="gray">
            <a:xfrm>
              <a:off x="2646" y="2710"/>
              <a:ext cx="57" cy="95"/>
            </a:xfrm>
            <a:custGeom>
              <a:avLst/>
              <a:gdLst>
                <a:gd name="T0" fmla="*/ 48 w 57"/>
                <a:gd name="T1" fmla="*/ 9 h 95"/>
                <a:gd name="T2" fmla="*/ 48 w 57"/>
                <a:gd name="T3" fmla="*/ 28 h 95"/>
                <a:gd name="T4" fmla="*/ 48 w 57"/>
                <a:gd name="T5" fmla="*/ 47 h 95"/>
                <a:gd name="T6" fmla="*/ 57 w 57"/>
                <a:gd name="T7" fmla="*/ 57 h 95"/>
                <a:gd name="T8" fmla="*/ 57 w 57"/>
                <a:gd name="T9" fmla="*/ 66 h 95"/>
                <a:gd name="T10" fmla="*/ 57 w 57"/>
                <a:gd name="T11" fmla="*/ 66 h 95"/>
                <a:gd name="T12" fmla="*/ 57 w 57"/>
                <a:gd name="T13" fmla="*/ 76 h 95"/>
                <a:gd name="T14" fmla="*/ 48 w 57"/>
                <a:gd name="T15" fmla="*/ 86 h 95"/>
                <a:gd name="T16" fmla="*/ 19 w 57"/>
                <a:gd name="T17" fmla="*/ 95 h 95"/>
                <a:gd name="T18" fmla="*/ 9 w 57"/>
                <a:gd name="T19" fmla="*/ 86 h 95"/>
                <a:gd name="T20" fmla="*/ 0 w 57"/>
                <a:gd name="T21" fmla="*/ 76 h 95"/>
                <a:gd name="T22" fmla="*/ 0 w 57"/>
                <a:gd name="T23" fmla="*/ 66 h 95"/>
                <a:gd name="T24" fmla="*/ 9 w 57"/>
                <a:gd name="T25" fmla="*/ 47 h 95"/>
                <a:gd name="T26" fmla="*/ 9 w 57"/>
                <a:gd name="T27" fmla="*/ 38 h 95"/>
                <a:gd name="T28" fmla="*/ 0 w 57"/>
                <a:gd name="T29" fmla="*/ 19 h 95"/>
                <a:gd name="T30" fmla="*/ 9 w 57"/>
                <a:gd name="T31" fmla="*/ 0 h 95"/>
                <a:gd name="T32" fmla="*/ 19 w 57"/>
                <a:gd name="T33" fmla="*/ 0 h 95"/>
                <a:gd name="T34" fmla="*/ 28 w 57"/>
                <a:gd name="T35" fmla="*/ 9 h 95"/>
                <a:gd name="T36" fmla="*/ 38 w 57"/>
                <a:gd name="T37" fmla="*/ 9 h 95"/>
                <a:gd name="T38" fmla="*/ 48 w 57"/>
                <a:gd name="T39" fmla="*/ 9 h 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95"/>
                <a:gd name="T62" fmla="*/ 57 w 57"/>
                <a:gd name="T63" fmla="*/ 95 h 9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95">
                  <a:moveTo>
                    <a:pt x="48" y="9"/>
                  </a:moveTo>
                  <a:lnTo>
                    <a:pt x="48" y="28"/>
                  </a:lnTo>
                  <a:lnTo>
                    <a:pt x="48" y="47"/>
                  </a:lnTo>
                  <a:lnTo>
                    <a:pt x="57" y="57"/>
                  </a:lnTo>
                  <a:lnTo>
                    <a:pt x="57" y="66"/>
                  </a:lnTo>
                  <a:lnTo>
                    <a:pt x="57" y="76"/>
                  </a:lnTo>
                  <a:lnTo>
                    <a:pt x="48" y="86"/>
                  </a:lnTo>
                  <a:lnTo>
                    <a:pt x="19" y="95"/>
                  </a:lnTo>
                  <a:lnTo>
                    <a:pt x="9" y="86"/>
                  </a:lnTo>
                  <a:lnTo>
                    <a:pt x="0" y="76"/>
                  </a:lnTo>
                  <a:lnTo>
                    <a:pt x="0" y="66"/>
                  </a:lnTo>
                  <a:lnTo>
                    <a:pt x="9" y="47"/>
                  </a:lnTo>
                  <a:lnTo>
                    <a:pt x="9" y="38"/>
                  </a:lnTo>
                  <a:lnTo>
                    <a:pt x="0" y="19"/>
                  </a:lnTo>
                  <a:lnTo>
                    <a:pt x="9" y="0"/>
                  </a:lnTo>
                  <a:lnTo>
                    <a:pt x="19" y="0"/>
                  </a:lnTo>
                  <a:lnTo>
                    <a:pt x="28" y="9"/>
                  </a:lnTo>
                  <a:lnTo>
                    <a:pt x="38" y="9"/>
                  </a:lnTo>
                  <a:lnTo>
                    <a:pt x="48"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12" name="Freeform 190">
              <a:extLst>
                <a:ext uri="{FF2B5EF4-FFF2-40B4-BE49-F238E27FC236}">
                  <a16:creationId xmlns:a16="http://schemas.microsoft.com/office/drawing/2014/main" id="{C3DC0CAC-929F-4677-A802-E4FD1AED328E}"/>
                </a:ext>
              </a:extLst>
            </p:cNvPr>
            <p:cNvSpPr>
              <a:spLocks/>
            </p:cNvSpPr>
            <p:nvPr/>
          </p:nvSpPr>
          <p:spPr bwMode="gray">
            <a:xfrm>
              <a:off x="2570" y="2719"/>
              <a:ext cx="85" cy="86"/>
            </a:xfrm>
            <a:custGeom>
              <a:avLst/>
              <a:gdLst>
                <a:gd name="T0" fmla="*/ 85 w 85"/>
                <a:gd name="T1" fmla="*/ 77 h 86"/>
                <a:gd name="T2" fmla="*/ 76 w 85"/>
                <a:gd name="T3" fmla="*/ 67 h 86"/>
                <a:gd name="T4" fmla="*/ 76 w 85"/>
                <a:gd name="T5" fmla="*/ 57 h 86"/>
                <a:gd name="T6" fmla="*/ 85 w 85"/>
                <a:gd name="T7" fmla="*/ 38 h 86"/>
                <a:gd name="T8" fmla="*/ 85 w 85"/>
                <a:gd name="T9" fmla="*/ 38 h 86"/>
                <a:gd name="T10" fmla="*/ 85 w 85"/>
                <a:gd name="T11" fmla="*/ 10 h 86"/>
                <a:gd name="T12" fmla="*/ 66 w 85"/>
                <a:gd name="T13" fmla="*/ 10 h 86"/>
                <a:gd name="T14" fmla="*/ 57 w 85"/>
                <a:gd name="T15" fmla="*/ 19 h 86"/>
                <a:gd name="T16" fmla="*/ 47 w 85"/>
                <a:gd name="T17" fmla="*/ 10 h 86"/>
                <a:gd name="T18" fmla="*/ 38 w 85"/>
                <a:gd name="T19" fmla="*/ 10 h 86"/>
                <a:gd name="T20" fmla="*/ 28 w 85"/>
                <a:gd name="T21" fmla="*/ 0 h 86"/>
                <a:gd name="T22" fmla="*/ 19 w 85"/>
                <a:gd name="T23" fmla="*/ 10 h 86"/>
                <a:gd name="T24" fmla="*/ 9 w 85"/>
                <a:gd name="T25" fmla="*/ 10 h 86"/>
                <a:gd name="T26" fmla="*/ 9 w 85"/>
                <a:gd name="T27" fmla="*/ 29 h 86"/>
                <a:gd name="T28" fmla="*/ 9 w 85"/>
                <a:gd name="T29" fmla="*/ 48 h 86"/>
                <a:gd name="T30" fmla="*/ 0 w 85"/>
                <a:gd name="T31" fmla="*/ 48 h 86"/>
                <a:gd name="T32" fmla="*/ 0 w 85"/>
                <a:gd name="T33" fmla="*/ 67 h 86"/>
                <a:gd name="T34" fmla="*/ 9 w 85"/>
                <a:gd name="T35" fmla="*/ 67 h 86"/>
                <a:gd name="T36" fmla="*/ 9 w 85"/>
                <a:gd name="T37" fmla="*/ 77 h 86"/>
                <a:gd name="T38" fmla="*/ 9 w 85"/>
                <a:gd name="T39" fmla="*/ 86 h 86"/>
                <a:gd name="T40" fmla="*/ 28 w 85"/>
                <a:gd name="T41" fmla="*/ 86 h 86"/>
                <a:gd name="T42" fmla="*/ 47 w 85"/>
                <a:gd name="T43" fmla="*/ 86 h 86"/>
                <a:gd name="T44" fmla="*/ 66 w 85"/>
                <a:gd name="T45" fmla="*/ 77 h 86"/>
                <a:gd name="T46" fmla="*/ 85 w 85"/>
                <a:gd name="T47" fmla="*/ 77 h 8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5"/>
                <a:gd name="T73" fmla="*/ 0 h 86"/>
                <a:gd name="T74" fmla="*/ 85 w 85"/>
                <a:gd name="T75" fmla="*/ 86 h 8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5" h="86">
                  <a:moveTo>
                    <a:pt x="85" y="77"/>
                  </a:moveTo>
                  <a:lnTo>
                    <a:pt x="76" y="67"/>
                  </a:lnTo>
                  <a:lnTo>
                    <a:pt x="76" y="57"/>
                  </a:lnTo>
                  <a:lnTo>
                    <a:pt x="85" y="38"/>
                  </a:lnTo>
                  <a:lnTo>
                    <a:pt x="85" y="10"/>
                  </a:lnTo>
                  <a:lnTo>
                    <a:pt x="66" y="10"/>
                  </a:lnTo>
                  <a:lnTo>
                    <a:pt x="57" y="19"/>
                  </a:lnTo>
                  <a:lnTo>
                    <a:pt x="47" y="10"/>
                  </a:lnTo>
                  <a:lnTo>
                    <a:pt x="38" y="10"/>
                  </a:lnTo>
                  <a:lnTo>
                    <a:pt x="28" y="0"/>
                  </a:lnTo>
                  <a:lnTo>
                    <a:pt x="19" y="10"/>
                  </a:lnTo>
                  <a:lnTo>
                    <a:pt x="9" y="10"/>
                  </a:lnTo>
                  <a:lnTo>
                    <a:pt x="9" y="29"/>
                  </a:lnTo>
                  <a:lnTo>
                    <a:pt x="9" y="48"/>
                  </a:lnTo>
                  <a:lnTo>
                    <a:pt x="0" y="48"/>
                  </a:lnTo>
                  <a:lnTo>
                    <a:pt x="0" y="67"/>
                  </a:lnTo>
                  <a:lnTo>
                    <a:pt x="9" y="67"/>
                  </a:lnTo>
                  <a:lnTo>
                    <a:pt x="9" y="77"/>
                  </a:lnTo>
                  <a:lnTo>
                    <a:pt x="9" y="86"/>
                  </a:lnTo>
                  <a:lnTo>
                    <a:pt x="28" y="86"/>
                  </a:lnTo>
                  <a:lnTo>
                    <a:pt x="47" y="86"/>
                  </a:lnTo>
                  <a:lnTo>
                    <a:pt x="66" y="77"/>
                  </a:lnTo>
                  <a:lnTo>
                    <a:pt x="85" y="7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13" name="Freeform 191">
              <a:extLst>
                <a:ext uri="{FF2B5EF4-FFF2-40B4-BE49-F238E27FC236}">
                  <a16:creationId xmlns:a16="http://schemas.microsoft.com/office/drawing/2014/main" id="{2A5EEBDC-25F3-4FC6-B625-40DE63973AA4}"/>
                </a:ext>
              </a:extLst>
            </p:cNvPr>
            <p:cNvSpPr>
              <a:spLocks/>
            </p:cNvSpPr>
            <p:nvPr/>
          </p:nvSpPr>
          <p:spPr bwMode="gray">
            <a:xfrm>
              <a:off x="2817" y="2691"/>
              <a:ext cx="105" cy="152"/>
            </a:xfrm>
            <a:custGeom>
              <a:avLst/>
              <a:gdLst>
                <a:gd name="T0" fmla="*/ 0 w 105"/>
                <a:gd name="T1" fmla="*/ 114 h 152"/>
                <a:gd name="T2" fmla="*/ 10 w 105"/>
                <a:gd name="T3" fmla="*/ 124 h 152"/>
                <a:gd name="T4" fmla="*/ 20 w 105"/>
                <a:gd name="T5" fmla="*/ 133 h 152"/>
                <a:gd name="T6" fmla="*/ 20 w 105"/>
                <a:gd name="T7" fmla="*/ 143 h 152"/>
                <a:gd name="T8" fmla="*/ 39 w 105"/>
                <a:gd name="T9" fmla="*/ 143 h 152"/>
                <a:gd name="T10" fmla="*/ 67 w 105"/>
                <a:gd name="T11" fmla="*/ 143 h 152"/>
                <a:gd name="T12" fmla="*/ 86 w 105"/>
                <a:gd name="T13" fmla="*/ 143 h 152"/>
                <a:gd name="T14" fmla="*/ 96 w 105"/>
                <a:gd name="T15" fmla="*/ 152 h 152"/>
                <a:gd name="T16" fmla="*/ 105 w 105"/>
                <a:gd name="T17" fmla="*/ 143 h 152"/>
                <a:gd name="T18" fmla="*/ 86 w 105"/>
                <a:gd name="T19" fmla="*/ 105 h 152"/>
                <a:gd name="T20" fmla="*/ 86 w 105"/>
                <a:gd name="T21" fmla="*/ 95 h 152"/>
                <a:gd name="T22" fmla="*/ 105 w 105"/>
                <a:gd name="T23" fmla="*/ 76 h 152"/>
                <a:gd name="T24" fmla="*/ 96 w 105"/>
                <a:gd name="T25" fmla="*/ 57 h 152"/>
                <a:gd name="T26" fmla="*/ 86 w 105"/>
                <a:gd name="T27" fmla="*/ 47 h 152"/>
                <a:gd name="T28" fmla="*/ 86 w 105"/>
                <a:gd name="T29" fmla="*/ 47 h 152"/>
                <a:gd name="T30" fmla="*/ 96 w 105"/>
                <a:gd name="T31" fmla="*/ 38 h 152"/>
                <a:gd name="T32" fmla="*/ 105 w 105"/>
                <a:gd name="T33" fmla="*/ 9 h 152"/>
                <a:gd name="T34" fmla="*/ 86 w 105"/>
                <a:gd name="T35" fmla="*/ 0 h 152"/>
                <a:gd name="T36" fmla="*/ 86 w 105"/>
                <a:gd name="T37" fmla="*/ 0 h 152"/>
                <a:gd name="T38" fmla="*/ 86 w 105"/>
                <a:gd name="T39" fmla="*/ 0 h 152"/>
                <a:gd name="T40" fmla="*/ 86 w 105"/>
                <a:gd name="T41" fmla="*/ 19 h 152"/>
                <a:gd name="T42" fmla="*/ 77 w 105"/>
                <a:gd name="T43" fmla="*/ 28 h 152"/>
                <a:gd name="T44" fmla="*/ 67 w 105"/>
                <a:gd name="T45" fmla="*/ 47 h 152"/>
                <a:gd name="T46" fmla="*/ 58 w 105"/>
                <a:gd name="T47" fmla="*/ 57 h 152"/>
                <a:gd name="T48" fmla="*/ 48 w 105"/>
                <a:gd name="T49" fmla="*/ 85 h 152"/>
                <a:gd name="T50" fmla="*/ 39 w 105"/>
                <a:gd name="T51" fmla="*/ 85 h 152"/>
                <a:gd name="T52" fmla="*/ 39 w 105"/>
                <a:gd name="T53" fmla="*/ 76 h 152"/>
                <a:gd name="T54" fmla="*/ 20 w 105"/>
                <a:gd name="T55" fmla="*/ 76 h 152"/>
                <a:gd name="T56" fmla="*/ 10 w 105"/>
                <a:gd name="T57" fmla="*/ 95 h 152"/>
                <a:gd name="T58" fmla="*/ 0 w 105"/>
                <a:gd name="T59" fmla="*/ 114 h 1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5"/>
                <a:gd name="T91" fmla="*/ 0 h 152"/>
                <a:gd name="T92" fmla="*/ 105 w 105"/>
                <a:gd name="T93" fmla="*/ 152 h 1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5" h="152">
                  <a:moveTo>
                    <a:pt x="0" y="114"/>
                  </a:moveTo>
                  <a:lnTo>
                    <a:pt x="10" y="124"/>
                  </a:lnTo>
                  <a:lnTo>
                    <a:pt x="20" y="133"/>
                  </a:lnTo>
                  <a:lnTo>
                    <a:pt x="20" y="143"/>
                  </a:lnTo>
                  <a:lnTo>
                    <a:pt x="39" y="143"/>
                  </a:lnTo>
                  <a:lnTo>
                    <a:pt x="67" y="143"/>
                  </a:lnTo>
                  <a:lnTo>
                    <a:pt x="86" y="143"/>
                  </a:lnTo>
                  <a:lnTo>
                    <a:pt x="96" y="152"/>
                  </a:lnTo>
                  <a:lnTo>
                    <a:pt x="105" y="143"/>
                  </a:lnTo>
                  <a:lnTo>
                    <a:pt x="86" y="105"/>
                  </a:lnTo>
                  <a:lnTo>
                    <a:pt x="86" y="95"/>
                  </a:lnTo>
                  <a:lnTo>
                    <a:pt x="105" y="76"/>
                  </a:lnTo>
                  <a:lnTo>
                    <a:pt x="96" y="57"/>
                  </a:lnTo>
                  <a:lnTo>
                    <a:pt x="86" y="47"/>
                  </a:lnTo>
                  <a:lnTo>
                    <a:pt x="96" y="38"/>
                  </a:lnTo>
                  <a:lnTo>
                    <a:pt x="105" y="9"/>
                  </a:lnTo>
                  <a:lnTo>
                    <a:pt x="86" y="0"/>
                  </a:lnTo>
                  <a:lnTo>
                    <a:pt x="86" y="19"/>
                  </a:lnTo>
                  <a:lnTo>
                    <a:pt x="77" y="28"/>
                  </a:lnTo>
                  <a:lnTo>
                    <a:pt x="67" y="47"/>
                  </a:lnTo>
                  <a:lnTo>
                    <a:pt x="58" y="57"/>
                  </a:lnTo>
                  <a:lnTo>
                    <a:pt x="48" y="85"/>
                  </a:lnTo>
                  <a:lnTo>
                    <a:pt x="39" y="85"/>
                  </a:lnTo>
                  <a:lnTo>
                    <a:pt x="39" y="76"/>
                  </a:lnTo>
                  <a:lnTo>
                    <a:pt x="20" y="76"/>
                  </a:lnTo>
                  <a:lnTo>
                    <a:pt x="10" y="95"/>
                  </a:lnTo>
                  <a:lnTo>
                    <a:pt x="0" y="11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14" name="Freeform 192">
              <a:extLst>
                <a:ext uri="{FF2B5EF4-FFF2-40B4-BE49-F238E27FC236}">
                  <a16:creationId xmlns:a16="http://schemas.microsoft.com/office/drawing/2014/main" id="{15D1C395-7EA3-41BF-A5A7-FEDC78ABA64E}"/>
                </a:ext>
              </a:extLst>
            </p:cNvPr>
            <p:cNvSpPr>
              <a:spLocks/>
            </p:cNvSpPr>
            <p:nvPr/>
          </p:nvSpPr>
          <p:spPr bwMode="gray">
            <a:xfrm>
              <a:off x="2817" y="2691"/>
              <a:ext cx="105" cy="152"/>
            </a:xfrm>
            <a:custGeom>
              <a:avLst/>
              <a:gdLst>
                <a:gd name="T0" fmla="*/ 0 w 105"/>
                <a:gd name="T1" fmla="*/ 114 h 152"/>
                <a:gd name="T2" fmla="*/ 10 w 105"/>
                <a:gd name="T3" fmla="*/ 124 h 152"/>
                <a:gd name="T4" fmla="*/ 20 w 105"/>
                <a:gd name="T5" fmla="*/ 133 h 152"/>
                <a:gd name="T6" fmla="*/ 20 w 105"/>
                <a:gd name="T7" fmla="*/ 143 h 152"/>
                <a:gd name="T8" fmla="*/ 39 w 105"/>
                <a:gd name="T9" fmla="*/ 143 h 152"/>
                <a:gd name="T10" fmla="*/ 67 w 105"/>
                <a:gd name="T11" fmla="*/ 143 h 152"/>
                <a:gd name="T12" fmla="*/ 86 w 105"/>
                <a:gd name="T13" fmla="*/ 143 h 152"/>
                <a:gd name="T14" fmla="*/ 96 w 105"/>
                <a:gd name="T15" fmla="*/ 152 h 152"/>
                <a:gd name="T16" fmla="*/ 105 w 105"/>
                <a:gd name="T17" fmla="*/ 143 h 152"/>
                <a:gd name="T18" fmla="*/ 86 w 105"/>
                <a:gd name="T19" fmla="*/ 105 h 152"/>
                <a:gd name="T20" fmla="*/ 86 w 105"/>
                <a:gd name="T21" fmla="*/ 95 h 152"/>
                <a:gd name="T22" fmla="*/ 105 w 105"/>
                <a:gd name="T23" fmla="*/ 76 h 152"/>
                <a:gd name="T24" fmla="*/ 96 w 105"/>
                <a:gd name="T25" fmla="*/ 57 h 152"/>
                <a:gd name="T26" fmla="*/ 86 w 105"/>
                <a:gd name="T27" fmla="*/ 47 h 152"/>
                <a:gd name="T28" fmla="*/ 86 w 105"/>
                <a:gd name="T29" fmla="*/ 47 h 152"/>
                <a:gd name="T30" fmla="*/ 96 w 105"/>
                <a:gd name="T31" fmla="*/ 38 h 152"/>
                <a:gd name="T32" fmla="*/ 105 w 105"/>
                <a:gd name="T33" fmla="*/ 9 h 152"/>
                <a:gd name="T34" fmla="*/ 86 w 105"/>
                <a:gd name="T35" fmla="*/ 0 h 152"/>
                <a:gd name="T36" fmla="*/ 86 w 105"/>
                <a:gd name="T37" fmla="*/ 0 h 152"/>
                <a:gd name="T38" fmla="*/ 86 w 105"/>
                <a:gd name="T39" fmla="*/ 0 h 152"/>
                <a:gd name="T40" fmla="*/ 86 w 105"/>
                <a:gd name="T41" fmla="*/ 19 h 152"/>
                <a:gd name="T42" fmla="*/ 77 w 105"/>
                <a:gd name="T43" fmla="*/ 28 h 152"/>
                <a:gd name="T44" fmla="*/ 67 w 105"/>
                <a:gd name="T45" fmla="*/ 47 h 152"/>
                <a:gd name="T46" fmla="*/ 58 w 105"/>
                <a:gd name="T47" fmla="*/ 57 h 152"/>
                <a:gd name="T48" fmla="*/ 48 w 105"/>
                <a:gd name="T49" fmla="*/ 85 h 152"/>
                <a:gd name="T50" fmla="*/ 39 w 105"/>
                <a:gd name="T51" fmla="*/ 85 h 152"/>
                <a:gd name="T52" fmla="*/ 39 w 105"/>
                <a:gd name="T53" fmla="*/ 76 h 152"/>
                <a:gd name="T54" fmla="*/ 20 w 105"/>
                <a:gd name="T55" fmla="*/ 76 h 152"/>
                <a:gd name="T56" fmla="*/ 10 w 105"/>
                <a:gd name="T57" fmla="*/ 95 h 152"/>
                <a:gd name="T58" fmla="*/ 0 w 105"/>
                <a:gd name="T59" fmla="*/ 114 h 1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5"/>
                <a:gd name="T91" fmla="*/ 0 h 152"/>
                <a:gd name="T92" fmla="*/ 105 w 105"/>
                <a:gd name="T93" fmla="*/ 152 h 1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5" h="152">
                  <a:moveTo>
                    <a:pt x="0" y="114"/>
                  </a:moveTo>
                  <a:lnTo>
                    <a:pt x="10" y="124"/>
                  </a:lnTo>
                  <a:lnTo>
                    <a:pt x="20" y="133"/>
                  </a:lnTo>
                  <a:lnTo>
                    <a:pt x="20" y="143"/>
                  </a:lnTo>
                  <a:lnTo>
                    <a:pt x="39" y="143"/>
                  </a:lnTo>
                  <a:lnTo>
                    <a:pt x="67" y="143"/>
                  </a:lnTo>
                  <a:lnTo>
                    <a:pt x="86" y="143"/>
                  </a:lnTo>
                  <a:lnTo>
                    <a:pt x="96" y="152"/>
                  </a:lnTo>
                  <a:lnTo>
                    <a:pt x="105" y="143"/>
                  </a:lnTo>
                  <a:lnTo>
                    <a:pt x="86" y="105"/>
                  </a:lnTo>
                  <a:lnTo>
                    <a:pt x="86" y="95"/>
                  </a:lnTo>
                  <a:lnTo>
                    <a:pt x="105" y="76"/>
                  </a:lnTo>
                  <a:lnTo>
                    <a:pt x="96" y="57"/>
                  </a:lnTo>
                  <a:lnTo>
                    <a:pt x="86" y="47"/>
                  </a:lnTo>
                  <a:lnTo>
                    <a:pt x="96" y="38"/>
                  </a:lnTo>
                  <a:lnTo>
                    <a:pt x="105" y="9"/>
                  </a:lnTo>
                  <a:lnTo>
                    <a:pt x="86" y="0"/>
                  </a:lnTo>
                  <a:lnTo>
                    <a:pt x="86" y="19"/>
                  </a:lnTo>
                  <a:lnTo>
                    <a:pt x="77" y="28"/>
                  </a:lnTo>
                  <a:lnTo>
                    <a:pt x="67" y="47"/>
                  </a:lnTo>
                  <a:lnTo>
                    <a:pt x="58" y="57"/>
                  </a:lnTo>
                  <a:lnTo>
                    <a:pt x="48" y="85"/>
                  </a:lnTo>
                  <a:lnTo>
                    <a:pt x="39" y="85"/>
                  </a:lnTo>
                  <a:lnTo>
                    <a:pt x="39" y="76"/>
                  </a:lnTo>
                  <a:lnTo>
                    <a:pt x="20" y="76"/>
                  </a:lnTo>
                  <a:lnTo>
                    <a:pt x="10" y="95"/>
                  </a:lnTo>
                  <a:lnTo>
                    <a:pt x="0" y="11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15" name="Freeform 193">
              <a:extLst>
                <a:ext uri="{FF2B5EF4-FFF2-40B4-BE49-F238E27FC236}">
                  <a16:creationId xmlns:a16="http://schemas.microsoft.com/office/drawing/2014/main" id="{71A84EC2-DBD9-49D4-BA2E-64DD2F3E4BB3}"/>
                </a:ext>
              </a:extLst>
            </p:cNvPr>
            <p:cNvSpPr>
              <a:spLocks/>
            </p:cNvSpPr>
            <p:nvPr/>
          </p:nvSpPr>
          <p:spPr bwMode="gray">
            <a:xfrm>
              <a:off x="2903" y="2710"/>
              <a:ext cx="191" cy="124"/>
            </a:xfrm>
            <a:custGeom>
              <a:avLst/>
              <a:gdLst>
                <a:gd name="T0" fmla="*/ 19 w 191"/>
                <a:gd name="T1" fmla="*/ 124 h 124"/>
                <a:gd name="T2" fmla="*/ 0 w 191"/>
                <a:gd name="T3" fmla="*/ 86 h 124"/>
                <a:gd name="T4" fmla="*/ 0 w 191"/>
                <a:gd name="T5" fmla="*/ 76 h 124"/>
                <a:gd name="T6" fmla="*/ 19 w 191"/>
                <a:gd name="T7" fmla="*/ 57 h 124"/>
                <a:gd name="T8" fmla="*/ 67 w 191"/>
                <a:gd name="T9" fmla="*/ 47 h 124"/>
                <a:gd name="T10" fmla="*/ 67 w 191"/>
                <a:gd name="T11" fmla="*/ 38 h 124"/>
                <a:gd name="T12" fmla="*/ 86 w 191"/>
                <a:gd name="T13" fmla="*/ 38 h 124"/>
                <a:gd name="T14" fmla="*/ 105 w 191"/>
                <a:gd name="T15" fmla="*/ 19 h 124"/>
                <a:gd name="T16" fmla="*/ 115 w 191"/>
                <a:gd name="T17" fmla="*/ 0 h 124"/>
                <a:gd name="T18" fmla="*/ 124 w 191"/>
                <a:gd name="T19" fmla="*/ 0 h 124"/>
                <a:gd name="T20" fmla="*/ 134 w 191"/>
                <a:gd name="T21" fmla="*/ 0 h 124"/>
                <a:gd name="T22" fmla="*/ 134 w 191"/>
                <a:gd name="T23" fmla="*/ 9 h 124"/>
                <a:gd name="T24" fmla="*/ 134 w 191"/>
                <a:gd name="T25" fmla="*/ 9 h 124"/>
                <a:gd name="T26" fmla="*/ 143 w 191"/>
                <a:gd name="T27" fmla="*/ 19 h 124"/>
                <a:gd name="T28" fmla="*/ 143 w 191"/>
                <a:gd name="T29" fmla="*/ 38 h 124"/>
                <a:gd name="T30" fmla="*/ 143 w 191"/>
                <a:gd name="T31" fmla="*/ 38 h 124"/>
                <a:gd name="T32" fmla="*/ 153 w 191"/>
                <a:gd name="T33" fmla="*/ 47 h 124"/>
                <a:gd name="T34" fmla="*/ 162 w 191"/>
                <a:gd name="T35" fmla="*/ 47 h 124"/>
                <a:gd name="T36" fmla="*/ 172 w 191"/>
                <a:gd name="T37" fmla="*/ 57 h 124"/>
                <a:gd name="T38" fmla="*/ 172 w 191"/>
                <a:gd name="T39" fmla="*/ 66 h 124"/>
                <a:gd name="T40" fmla="*/ 191 w 191"/>
                <a:gd name="T41" fmla="*/ 76 h 124"/>
                <a:gd name="T42" fmla="*/ 191 w 191"/>
                <a:gd name="T43" fmla="*/ 86 h 124"/>
                <a:gd name="T44" fmla="*/ 162 w 191"/>
                <a:gd name="T45" fmla="*/ 86 h 124"/>
                <a:gd name="T46" fmla="*/ 134 w 191"/>
                <a:gd name="T47" fmla="*/ 95 h 124"/>
                <a:gd name="T48" fmla="*/ 115 w 191"/>
                <a:gd name="T49" fmla="*/ 105 h 124"/>
                <a:gd name="T50" fmla="*/ 96 w 191"/>
                <a:gd name="T51" fmla="*/ 95 h 124"/>
                <a:gd name="T52" fmla="*/ 86 w 191"/>
                <a:gd name="T53" fmla="*/ 86 h 124"/>
                <a:gd name="T54" fmla="*/ 57 w 191"/>
                <a:gd name="T55" fmla="*/ 95 h 124"/>
                <a:gd name="T56" fmla="*/ 57 w 191"/>
                <a:gd name="T57" fmla="*/ 105 h 124"/>
                <a:gd name="T58" fmla="*/ 48 w 191"/>
                <a:gd name="T59" fmla="*/ 105 h 124"/>
                <a:gd name="T60" fmla="*/ 38 w 191"/>
                <a:gd name="T61" fmla="*/ 105 h 124"/>
                <a:gd name="T62" fmla="*/ 29 w 191"/>
                <a:gd name="T63" fmla="*/ 114 h 124"/>
                <a:gd name="T64" fmla="*/ 19 w 191"/>
                <a:gd name="T65" fmla="*/ 124 h 12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1"/>
                <a:gd name="T100" fmla="*/ 0 h 124"/>
                <a:gd name="T101" fmla="*/ 191 w 191"/>
                <a:gd name="T102" fmla="*/ 124 h 12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1" h="124">
                  <a:moveTo>
                    <a:pt x="19" y="124"/>
                  </a:moveTo>
                  <a:lnTo>
                    <a:pt x="0" y="86"/>
                  </a:lnTo>
                  <a:lnTo>
                    <a:pt x="0" y="76"/>
                  </a:lnTo>
                  <a:lnTo>
                    <a:pt x="19" y="57"/>
                  </a:lnTo>
                  <a:lnTo>
                    <a:pt x="67" y="47"/>
                  </a:lnTo>
                  <a:lnTo>
                    <a:pt x="67" y="38"/>
                  </a:lnTo>
                  <a:lnTo>
                    <a:pt x="86" y="38"/>
                  </a:lnTo>
                  <a:lnTo>
                    <a:pt x="105" y="19"/>
                  </a:lnTo>
                  <a:lnTo>
                    <a:pt x="115" y="0"/>
                  </a:lnTo>
                  <a:lnTo>
                    <a:pt x="124" y="0"/>
                  </a:lnTo>
                  <a:lnTo>
                    <a:pt x="134" y="0"/>
                  </a:lnTo>
                  <a:lnTo>
                    <a:pt x="134" y="9"/>
                  </a:lnTo>
                  <a:lnTo>
                    <a:pt x="143" y="19"/>
                  </a:lnTo>
                  <a:lnTo>
                    <a:pt x="143" y="38"/>
                  </a:lnTo>
                  <a:lnTo>
                    <a:pt x="153" y="47"/>
                  </a:lnTo>
                  <a:lnTo>
                    <a:pt x="162" y="47"/>
                  </a:lnTo>
                  <a:lnTo>
                    <a:pt x="172" y="57"/>
                  </a:lnTo>
                  <a:lnTo>
                    <a:pt x="172" y="66"/>
                  </a:lnTo>
                  <a:lnTo>
                    <a:pt x="191" y="76"/>
                  </a:lnTo>
                  <a:lnTo>
                    <a:pt x="191" y="86"/>
                  </a:lnTo>
                  <a:lnTo>
                    <a:pt x="162" y="86"/>
                  </a:lnTo>
                  <a:lnTo>
                    <a:pt x="134" y="95"/>
                  </a:lnTo>
                  <a:lnTo>
                    <a:pt x="115" y="105"/>
                  </a:lnTo>
                  <a:lnTo>
                    <a:pt x="96" y="95"/>
                  </a:lnTo>
                  <a:lnTo>
                    <a:pt x="86" y="86"/>
                  </a:lnTo>
                  <a:lnTo>
                    <a:pt x="57" y="95"/>
                  </a:lnTo>
                  <a:lnTo>
                    <a:pt x="57" y="105"/>
                  </a:lnTo>
                  <a:lnTo>
                    <a:pt x="48" y="105"/>
                  </a:lnTo>
                  <a:lnTo>
                    <a:pt x="38" y="105"/>
                  </a:lnTo>
                  <a:lnTo>
                    <a:pt x="29" y="114"/>
                  </a:lnTo>
                  <a:lnTo>
                    <a:pt x="19" y="12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16" name="Freeform 194">
              <a:extLst>
                <a:ext uri="{FF2B5EF4-FFF2-40B4-BE49-F238E27FC236}">
                  <a16:creationId xmlns:a16="http://schemas.microsoft.com/office/drawing/2014/main" id="{C01664E5-5F31-4010-82EA-08F27B5510C2}"/>
                </a:ext>
              </a:extLst>
            </p:cNvPr>
            <p:cNvSpPr>
              <a:spLocks/>
            </p:cNvSpPr>
            <p:nvPr/>
          </p:nvSpPr>
          <p:spPr bwMode="gray">
            <a:xfrm>
              <a:off x="2894" y="2538"/>
              <a:ext cx="152" cy="229"/>
            </a:xfrm>
            <a:custGeom>
              <a:avLst/>
              <a:gdLst>
                <a:gd name="T0" fmla="*/ 28 w 152"/>
                <a:gd name="T1" fmla="*/ 229 h 229"/>
                <a:gd name="T2" fmla="*/ 19 w 152"/>
                <a:gd name="T3" fmla="*/ 210 h 229"/>
                <a:gd name="T4" fmla="*/ 9 w 152"/>
                <a:gd name="T5" fmla="*/ 200 h 229"/>
                <a:gd name="T6" fmla="*/ 9 w 152"/>
                <a:gd name="T7" fmla="*/ 191 h 229"/>
                <a:gd name="T8" fmla="*/ 19 w 152"/>
                <a:gd name="T9" fmla="*/ 191 h 229"/>
                <a:gd name="T10" fmla="*/ 28 w 152"/>
                <a:gd name="T11" fmla="*/ 162 h 229"/>
                <a:gd name="T12" fmla="*/ 9 w 152"/>
                <a:gd name="T13" fmla="*/ 153 h 229"/>
                <a:gd name="T14" fmla="*/ 9 w 152"/>
                <a:gd name="T15" fmla="*/ 153 h 229"/>
                <a:gd name="T16" fmla="*/ 0 w 152"/>
                <a:gd name="T17" fmla="*/ 143 h 229"/>
                <a:gd name="T18" fmla="*/ 0 w 152"/>
                <a:gd name="T19" fmla="*/ 124 h 229"/>
                <a:gd name="T20" fmla="*/ 28 w 152"/>
                <a:gd name="T21" fmla="*/ 95 h 229"/>
                <a:gd name="T22" fmla="*/ 28 w 152"/>
                <a:gd name="T23" fmla="*/ 57 h 229"/>
                <a:gd name="T24" fmla="*/ 38 w 152"/>
                <a:gd name="T25" fmla="*/ 48 h 229"/>
                <a:gd name="T26" fmla="*/ 28 w 152"/>
                <a:gd name="T27" fmla="*/ 38 h 229"/>
                <a:gd name="T28" fmla="*/ 19 w 152"/>
                <a:gd name="T29" fmla="*/ 19 h 229"/>
                <a:gd name="T30" fmla="*/ 38 w 152"/>
                <a:gd name="T31" fmla="*/ 0 h 229"/>
                <a:gd name="T32" fmla="*/ 152 w 152"/>
                <a:gd name="T33" fmla="*/ 57 h 229"/>
                <a:gd name="T34" fmla="*/ 152 w 152"/>
                <a:gd name="T35" fmla="*/ 114 h 229"/>
                <a:gd name="T36" fmla="*/ 133 w 152"/>
                <a:gd name="T37" fmla="*/ 114 h 229"/>
                <a:gd name="T38" fmla="*/ 133 w 152"/>
                <a:gd name="T39" fmla="*/ 124 h 229"/>
                <a:gd name="T40" fmla="*/ 133 w 152"/>
                <a:gd name="T41" fmla="*/ 134 h 229"/>
                <a:gd name="T42" fmla="*/ 124 w 152"/>
                <a:gd name="T43" fmla="*/ 153 h 229"/>
                <a:gd name="T44" fmla="*/ 124 w 152"/>
                <a:gd name="T45" fmla="*/ 153 h 229"/>
                <a:gd name="T46" fmla="*/ 133 w 152"/>
                <a:gd name="T47" fmla="*/ 162 h 229"/>
                <a:gd name="T48" fmla="*/ 133 w 152"/>
                <a:gd name="T49" fmla="*/ 172 h 229"/>
                <a:gd name="T50" fmla="*/ 124 w 152"/>
                <a:gd name="T51" fmla="*/ 172 h 229"/>
                <a:gd name="T52" fmla="*/ 114 w 152"/>
                <a:gd name="T53" fmla="*/ 191 h 229"/>
                <a:gd name="T54" fmla="*/ 95 w 152"/>
                <a:gd name="T55" fmla="*/ 210 h 229"/>
                <a:gd name="T56" fmla="*/ 76 w 152"/>
                <a:gd name="T57" fmla="*/ 210 h 229"/>
                <a:gd name="T58" fmla="*/ 76 w 152"/>
                <a:gd name="T59" fmla="*/ 219 h 229"/>
                <a:gd name="T60" fmla="*/ 28 w 152"/>
                <a:gd name="T61" fmla="*/ 229 h 22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2"/>
                <a:gd name="T94" fmla="*/ 0 h 229"/>
                <a:gd name="T95" fmla="*/ 152 w 152"/>
                <a:gd name="T96" fmla="*/ 229 h 22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2" h="229">
                  <a:moveTo>
                    <a:pt x="28" y="229"/>
                  </a:moveTo>
                  <a:lnTo>
                    <a:pt x="19" y="210"/>
                  </a:lnTo>
                  <a:lnTo>
                    <a:pt x="9" y="200"/>
                  </a:lnTo>
                  <a:lnTo>
                    <a:pt x="9" y="191"/>
                  </a:lnTo>
                  <a:lnTo>
                    <a:pt x="19" y="191"/>
                  </a:lnTo>
                  <a:lnTo>
                    <a:pt x="28" y="162"/>
                  </a:lnTo>
                  <a:lnTo>
                    <a:pt x="9" y="153"/>
                  </a:lnTo>
                  <a:lnTo>
                    <a:pt x="0" y="143"/>
                  </a:lnTo>
                  <a:lnTo>
                    <a:pt x="0" y="124"/>
                  </a:lnTo>
                  <a:lnTo>
                    <a:pt x="28" y="95"/>
                  </a:lnTo>
                  <a:lnTo>
                    <a:pt x="28" y="57"/>
                  </a:lnTo>
                  <a:lnTo>
                    <a:pt x="38" y="48"/>
                  </a:lnTo>
                  <a:lnTo>
                    <a:pt x="28" y="38"/>
                  </a:lnTo>
                  <a:lnTo>
                    <a:pt x="19" y="19"/>
                  </a:lnTo>
                  <a:lnTo>
                    <a:pt x="38" y="0"/>
                  </a:lnTo>
                  <a:lnTo>
                    <a:pt x="152" y="57"/>
                  </a:lnTo>
                  <a:lnTo>
                    <a:pt x="152" y="114"/>
                  </a:lnTo>
                  <a:lnTo>
                    <a:pt x="133" y="114"/>
                  </a:lnTo>
                  <a:lnTo>
                    <a:pt x="133" y="124"/>
                  </a:lnTo>
                  <a:lnTo>
                    <a:pt x="133" y="134"/>
                  </a:lnTo>
                  <a:lnTo>
                    <a:pt x="124" y="153"/>
                  </a:lnTo>
                  <a:lnTo>
                    <a:pt x="133" y="162"/>
                  </a:lnTo>
                  <a:lnTo>
                    <a:pt x="133" y="172"/>
                  </a:lnTo>
                  <a:lnTo>
                    <a:pt x="124" y="172"/>
                  </a:lnTo>
                  <a:lnTo>
                    <a:pt x="114" y="191"/>
                  </a:lnTo>
                  <a:lnTo>
                    <a:pt x="95" y="210"/>
                  </a:lnTo>
                  <a:lnTo>
                    <a:pt x="76" y="210"/>
                  </a:lnTo>
                  <a:lnTo>
                    <a:pt x="76" y="219"/>
                  </a:lnTo>
                  <a:lnTo>
                    <a:pt x="28" y="22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17" name="Freeform 195">
              <a:extLst>
                <a:ext uri="{FF2B5EF4-FFF2-40B4-BE49-F238E27FC236}">
                  <a16:creationId xmlns:a16="http://schemas.microsoft.com/office/drawing/2014/main" id="{3AB30F5A-C8A0-42D6-9AFA-E7C3E8955E8F}"/>
                </a:ext>
              </a:extLst>
            </p:cNvPr>
            <p:cNvSpPr>
              <a:spLocks/>
            </p:cNvSpPr>
            <p:nvPr/>
          </p:nvSpPr>
          <p:spPr bwMode="gray">
            <a:xfrm>
              <a:off x="2827" y="2834"/>
              <a:ext cx="76" cy="95"/>
            </a:xfrm>
            <a:custGeom>
              <a:avLst/>
              <a:gdLst>
                <a:gd name="T0" fmla="*/ 38 w 76"/>
                <a:gd name="T1" fmla="*/ 95 h 95"/>
                <a:gd name="T2" fmla="*/ 19 w 76"/>
                <a:gd name="T3" fmla="*/ 76 h 95"/>
                <a:gd name="T4" fmla="*/ 10 w 76"/>
                <a:gd name="T5" fmla="*/ 67 h 95"/>
                <a:gd name="T6" fmla="*/ 0 w 76"/>
                <a:gd name="T7" fmla="*/ 47 h 95"/>
                <a:gd name="T8" fmla="*/ 10 w 76"/>
                <a:gd name="T9" fmla="*/ 28 h 95"/>
                <a:gd name="T10" fmla="*/ 0 w 76"/>
                <a:gd name="T11" fmla="*/ 19 h 95"/>
                <a:gd name="T12" fmla="*/ 10 w 76"/>
                <a:gd name="T13" fmla="*/ 19 h 95"/>
                <a:gd name="T14" fmla="*/ 29 w 76"/>
                <a:gd name="T15" fmla="*/ 19 h 95"/>
                <a:gd name="T16" fmla="*/ 29 w 76"/>
                <a:gd name="T17" fmla="*/ 0 h 95"/>
                <a:gd name="T18" fmla="*/ 57 w 76"/>
                <a:gd name="T19" fmla="*/ 0 h 95"/>
                <a:gd name="T20" fmla="*/ 48 w 76"/>
                <a:gd name="T21" fmla="*/ 9 h 95"/>
                <a:gd name="T22" fmla="*/ 67 w 76"/>
                <a:gd name="T23" fmla="*/ 19 h 95"/>
                <a:gd name="T24" fmla="*/ 76 w 76"/>
                <a:gd name="T25" fmla="*/ 19 h 95"/>
                <a:gd name="T26" fmla="*/ 76 w 76"/>
                <a:gd name="T27" fmla="*/ 19 h 95"/>
                <a:gd name="T28" fmla="*/ 76 w 76"/>
                <a:gd name="T29" fmla="*/ 28 h 95"/>
                <a:gd name="T30" fmla="*/ 67 w 76"/>
                <a:gd name="T31" fmla="*/ 38 h 95"/>
                <a:gd name="T32" fmla="*/ 67 w 76"/>
                <a:gd name="T33" fmla="*/ 47 h 95"/>
                <a:gd name="T34" fmla="*/ 67 w 76"/>
                <a:gd name="T35" fmla="*/ 47 h 95"/>
                <a:gd name="T36" fmla="*/ 76 w 76"/>
                <a:gd name="T37" fmla="*/ 47 h 95"/>
                <a:gd name="T38" fmla="*/ 67 w 76"/>
                <a:gd name="T39" fmla="*/ 76 h 95"/>
                <a:gd name="T40" fmla="*/ 57 w 76"/>
                <a:gd name="T41" fmla="*/ 67 h 95"/>
                <a:gd name="T42" fmla="*/ 57 w 76"/>
                <a:gd name="T43" fmla="*/ 57 h 95"/>
                <a:gd name="T44" fmla="*/ 38 w 76"/>
                <a:gd name="T45" fmla="*/ 57 h 95"/>
                <a:gd name="T46" fmla="*/ 38 w 76"/>
                <a:gd name="T47" fmla="*/ 67 h 95"/>
                <a:gd name="T48" fmla="*/ 38 w 76"/>
                <a:gd name="T49" fmla="*/ 67 h 95"/>
                <a:gd name="T50" fmla="*/ 38 w 76"/>
                <a:gd name="T51" fmla="*/ 67 h 95"/>
                <a:gd name="T52" fmla="*/ 38 w 76"/>
                <a:gd name="T53" fmla="*/ 76 h 95"/>
                <a:gd name="T54" fmla="*/ 48 w 76"/>
                <a:gd name="T55" fmla="*/ 86 h 95"/>
                <a:gd name="T56" fmla="*/ 38 w 76"/>
                <a:gd name="T57" fmla="*/ 95 h 9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6"/>
                <a:gd name="T88" fmla="*/ 0 h 95"/>
                <a:gd name="T89" fmla="*/ 76 w 76"/>
                <a:gd name="T90" fmla="*/ 95 h 9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6" h="95">
                  <a:moveTo>
                    <a:pt x="38" y="95"/>
                  </a:moveTo>
                  <a:lnTo>
                    <a:pt x="19" y="76"/>
                  </a:lnTo>
                  <a:lnTo>
                    <a:pt x="10" y="67"/>
                  </a:lnTo>
                  <a:lnTo>
                    <a:pt x="0" y="47"/>
                  </a:lnTo>
                  <a:lnTo>
                    <a:pt x="10" y="28"/>
                  </a:lnTo>
                  <a:lnTo>
                    <a:pt x="0" y="19"/>
                  </a:lnTo>
                  <a:lnTo>
                    <a:pt x="10" y="19"/>
                  </a:lnTo>
                  <a:lnTo>
                    <a:pt x="29" y="19"/>
                  </a:lnTo>
                  <a:lnTo>
                    <a:pt x="29" y="0"/>
                  </a:lnTo>
                  <a:lnTo>
                    <a:pt x="57" y="0"/>
                  </a:lnTo>
                  <a:lnTo>
                    <a:pt x="48" y="9"/>
                  </a:lnTo>
                  <a:lnTo>
                    <a:pt x="67" y="19"/>
                  </a:lnTo>
                  <a:lnTo>
                    <a:pt x="76" y="19"/>
                  </a:lnTo>
                  <a:lnTo>
                    <a:pt x="76" y="28"/>
                  </a:lnTo>
                  <a:lnTo>
                    <a:pt x="67" y="38"/>
                  </a:lnTo>
                  <a:lnTo>
                    <a:pt x="67" y="47"/>
                  </a:lnTo>
                  <a:lnTo>
                    <a:pt x="76" y="47"/>
                  </a:lnTo>
                  <a:lnTo>
                    <a:pt x="67" y="76"/>
                  </a:lnTo>
                  <a:lnTo>
                    <a:pt x="57" y="67"/>
                  </a:lnTo>
                  <a:lnTo>
                    <a:pt x="57" y="57"/>
                  </a:lnTo>
                  <a:lnTo>
                    <a:pt x="38" y="57"/>
                  </a:lnTo>
                  <a:lnTo>
                    <a:pt x="38" y="67"/>
                  </a:lnTo>
                  <a:lnTo>
                    <a:pt x="38" y="76"/>
                  </a:lnTo>
                  <a:lnTo>
                    <a:pt x="48" y="86"/>
                  </a:lnTo>
                  <a:lnTo>
                    <a:pt x="38" y="95"/>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18" name="Freeform 196">
              <a:extLst>
                <a:ext uri="{FF2B5EF4-FFF2-40B4-BE49-F238E27FC236}">
                  <a16:creationId xmlns:a16="http://schemas.microsoft.com/office/drawing/2014/main" id="{B76A3B7B-986B-4AB1-BFA7-56EC6DD7B154}"/>
                </a:ext>
              </a:extLst>
            </p:cNvPr>
            <p:cNvSpPr>
              <a:spLocks/>
            </p:cNvSpPr>
            <p:nvPr/>
          </p:nvSpPr>
          <p:spPr bwMode="gray">
            <a:xfrm>
              <a:off x="2865" y="2948"/>
              <a:ext cx="181" cy="163"/>
            </a:xfrm>
            <a:custGeom>
              <a:avLst/>
              <a:gdLst>
                <a:gd name="T0" fmla="*/ 0 w 181"/>
                <a:gd name="T1" fmla="*/ 153 h 163"/>
                <a:gd name="T2" fmla="*/ 0 w 181"/>
                <a:gd name="T3" fmla="*/ 143 h 163"/>
                <a:gd name="T4" fmla="*/ 0 w 181"/>
                <a:gd name="T5" fmla="*/ 134 h 163"/>
                <a:gd name="T6" fmla="*/ 19 w 181"/>
                <a:gd name="T7" fmla="*/ 96 h 163"/>
                <a:gd name="T8" fmla="*/ 19 w 181"/>
                <a:gd name="T9" fmla="*/ 96 h 163"/>
                <a:gd name="T10" fmla="*/ 29 w 181"/>
                <a:gd name="T11" fmla="*/ 77 h 163"/>
                <a:gd name="T12" fmla="*/ 29 w 181"/>
                <a:gd name="T13" fmla="*/ 67 h 163"/>
                <a:gd name="T14" fmla="*/ 19 w 181"/>
                <a:gd name="T15" fmla="*/ 58 h 163"/>
                <a:gd name="T16" fmla="*/ 19 w 181"/>
                <a:gd name="T17" fmla="*/ 29 h 163"/>
                <a:gd name="T18" fmla="*/ 19 w 181"/>
                <a:gd name="T19" fmla="*/ 19 h 163"/>
                <a:gd name="T20" fmla="*/ 10 w 181"/>
                <a:gd name="T21" fmla="*/ 10 h 163"/>
                <a:gd name="T22" fmla="*/ 19 w 181"/>
                <a:gd name="T23" fmla="*/ 0 h 163"/>
                <a:gd name="T24" fmla="*/ 76 w 181"/>
                <a:gd name="T25" fmla="*/ 0 h 163"/>
                <a:gd name="T26" fmla="*/ 86 w 181"/>
                <a:gd name="T27" fmla="*/ 10 h 163"/>
                <a:gd name="T28" fmla="*/ 86 w 181"/>
                <a:gd name="T29" fmla="*/ 29 h 163"/>
                <a:gd name="T30" fmla="*/ 115 w 181"/>
                <a:gd name="T31" fmla="*/ 29 h 163"/>
                <a:gd name="T32" fmla="*/ 115 w 181"/>
                <a:gd name="T33" fmla="*/ 10 h 163"/>
                <a:gd name="T34" fmla="*/ 124 w 181"/>
                <a:gd name="T35" fmla="*/ 10 h 163"/>
                <a:gd name="T36" fmla="*/ 134 w 181"/>
                <a:gd name="T37" fmla="*/ 19 h 163"/>
                <a:gd name="T38" fmla="*/ 153 w 181"/>
                <a:gd name="T39" fmla="*/ 19 h 163"/>
                <a:gd name="T40" fmla="*/ 153 w 181"/>
                <a:gd name="T41" fmla="*/ 58 h 163"/>
                <a:gd name="T42" fmla="*/ 162 w 181"/>
                <a:gd name="T43" fmla="*/ 67 h 163"/>
                <a:gd name="T44" fmla="*/ 181 w 181"/>
                <a:gd name="T45" fmla="*/ 67 h 163"/>
                <a:gd name="T46" fmla="*/ 181 w 181"/>
                <a:gd name="T47" fmla="*/ 77 h 163"/>
                <a:gd name="T48" fmla="*/ 181 w 181"/>
                <a:gd name="T49" fmla="*/ 96 h 163"/>
                <a:gd name="T50" fmla="*/ 153 w 181"/>
                <a:gd name="T51" fmla="*/ 96 h 163"/>
                <a:gd name="T52" fmla="*/ 153 w 181"/>
                <a:gd name="T53" fmla="*/ 143 h 163"/>
                <a:gd name="T54" fmla="*/ 162 w 181"/>
                <a:gd name="T55" fmla="*/ 153 h 163"/>
                <a:gd name="T56" fmla="*/ 153 w 181"/>
                <a:gd name="T57" fmla="*/ 163 h 163"/>
                <a:gd name="T58" fmla="*/ 134 w 181"/>
                <a:gd name="T59" fmla="*/ 163 h 163"/>
                <a:gd name="T60" fmla="*/ 124 w 181"/>
                <a:gd name="T61" fmla="*/ 163 h 163"/>
                <a:gd name="T62" fmla="*/ 105 w 181"/>
                <a:gd name="T63" fmla="*/ 163 h 163"/>
                <a:gd name="T64" fmla="*/ 95 w 181"/>
                <a:gd name="T65" fmla="*/ 153 h 163"/>
                <a:gd name="T66" fmla="*/ 48 w 181"/>
                <a:gd name="T67" fmla="*/ 153 h 163"/>
                <a:gd name="T68" fmla="*/ 38 w 181"/>
                <a:gd name="T69" fmla="*/ 153 h 163"/>
                <a:gd name="T70" fmla="*/ 29 w 181"/>
                <a:gd name="T71" fmla="*/ 153 h 163"/>
                <a:gd name="T72" fmla="*/ 10 w 181"/>
                <a:gd name="T73" fmla="*/ 153 h 163"/>
                <a:gd name="T74" fmla="*/ 0 w 181"/>
                <a:gd name="T75" fmla="*/ 153 h 16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81"/>
                <a:gd name="T115" fmla="*/ 0 h 163"/>
                <a:gd name="T116" fmla="*/ 181 w 181"/>
                <a:gd name="T117" fmla="*/ 163 h 16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81" h="163">
                  <a:moveTo>
                    <a:pt x="0" y="153"/>
                  </a:moveTo>
                  <a:lnTo>
                    <a:pt x="0" y="143"/>
                  </a:lnTo>
                  <a:lnTo>
                    <a:pt x="0" y="134"/>
                  </a:lnTo>
                  <a:lnTo>
                    <a:pt x="19" y="96"/>
                  </a:lnTo>
                  <a:lnTo>
                    <a:pt x="29" y="77"/>
                  </a:lnTo>
                  <a:lnTo>
                    <a:pt x="29" y="67"/>
                  </a:lnTo>
                  <a:lnTo>
                    <a:pt x="19" y="58"/>
                  </a:lnTo>
                  <a:lnTo>
                    <a:pt x="19" y="29"/>
                  </a:lnTo>
                  <a:lnTo>
                    <a:pt x="19" y="19"/>
                  </a:lnTo>
                  <a:lnTo>
                    <a:pt x="10" y="10"/>
                  </a:lnTo>
                  <a:lnTo>
                    <a:pt x="19" y="0"/>
                  </a:lnTo>
                  <a:lnTo>
                    <a:pt x="76" y="0"/>
                  </a:lnTo>
                  <a:lnTo>
                    <a:pt x="86" y="10"/>
                  </a:lnTo>
                  <a:lnTo>
                    <a:pt x="86" y="29"/>
                  </a:lnTo>
                  <a:lnTo>
                    <a:pt x="115" y="29"/>
                  </a:lnTo>
                  <a:lnTo>
                    <a:pt x="115" y="10"/>
                  </a:lnTo>
                  <a:lnTo>
                    <a:pt x="124" y="10"/>
                  </a:lnTo>
                  <a:lnTo>
                    <a:pt x="134" y="19"/>
                  </a:lnTo>
                  <a:lnTo>
                    <a:pt x="153" y="19"/>
                  </a:lnTo>
                  <a:lnTo>
                    <a:pt x="153" y="58"/>
                  </a:lnTo>
                  <a:lnTo>
                    <a:pt x="162" y="67"/>
                  </a:lnTo>
                  <a:lnTo>
                    <a:pt x="181" y="67"/>
                  </a:lnTo>
                  <a:lnTo>
                    <a:pt x="181" y="77"/>
                  </a:lnTo>
                  <a:lnTo>
                    <a:pt x="181" y="96"/>
                  </a:lnTo>
                  <a:lnTo>
                    <a:pt x="153" y="96"/>
                  </a:lnTo>
                  <a:lnTo>
                    <a:pt x="153" y="143"/>
                  </a:lnTo>
                  <a:lnTo>
                    <a:pt x="162" y="153"/>
                  </a:lnTo>
                  <a:lnTo>
                    <a:pt x="153" y="163"/>
                  </a:lnTo>
                  <a:lnTo>
                    <a:pt x="134" y="163"/>
                  </a:lnTo>
                  <a:lnTo>
                    <a:pt x="124" y="163"/>
                  </a:lnTo>
                  <a:lnTo>
                    <a:pt x="105" y="163"/>
                  </a:lnTo>
                  <a:lnTo>
                    <a:pt x="95" y="153"/>
                  </a:lnTo>
                  <a:lnTo>
                    <a:pt x="48" y="153"/>
                  </a:lnTo>
                  <a:lnTo>
                    <a:pt x="38" y="153"/>
                  </a:lnTo>
                  <a:lnTo>
                    <a:pt x="29" y="153"/>
                  </a:lnTo>
                  <a:lnTo>
                    <a:pt x="10" y="153"/>
                  </a:lnTo>
                  <a:lnTo>
                    <a:pt x="0" y="153"/>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19" name="Freeform 197">
              <a:extLst>
                <a:ext uri="{FF2B5EF4-FFF2-40B4-BE49-F238E27FC236}">
                  <a16:creationId xmlns:a16="http://schemas.microsoft.com/office/drawing/2014/main" id="{B5C09707-1107-44B9-9935-50AD4D26D258}"/>
                </a:ext>
              </a:extLst>
            </p:cNvPr>
            <p:cNvSpPr>
              <a:spLocks/>
            </p:cNvSpPr>
            <p:nvPr/>
          </p:nvSpPr>
          <p:spPr bwMode="gray">
            <a:xfrm>
              <a:off x="2875" y="2796"/>
              <a:ext cx="267" cy="257"/>
            </a:xfrm>
            <a:custGeom>
              <a:avLst/>
              <a:gdLst>
                <a:gd name="T0" fmla="*/ 247 w 267"/>
                <a:gd name="T1" fmla="*/ 181 h 257"/>
                <a:gd name="T2" fmla="*/ 238 w 267"/>
                <a:gd name="T3" fmla="*/ 190 h 257"/>
                <a:gd name="T4" fmla="*/ 238 w 267"/>
                <a:gd name="T5" fmla="*/ 238 h 257"/>
                <a:gd name="T6" fmla="*/ 247 w 267"/>
                <a:gd name="T7" fmla="*/ 229 h 257"/>
                <a:gd name="T8" fmla="*/ 257 w 267"/>
                <a:gd name="T9" fmla="*/ 248 h 257"/>
                <a:gd name="T10" fmla="*/ 209 w 267"/>
                <a:gd name="T11" fmla="*/ 229 h 257"/>
                <a:gd name="T12" fmla="*/ 200 w 267"/>
                <a:gd name="T13" fmla="*/ 229 h 257"/>
                <a:gd name="T14" fmla="*/ 190 w 267"/>
                <a:gd name="T15" fmla="*/ 229 h 257"/>
                <a:gd name="T16" fmla="*/ 181 w 267"/>
                <a:gd name="T17" fmla="*/ 229 h 257"/>
                <a:gd name="T18" fmla="*/ 171 w 267"/>
                <a:gd name="T19" fmla="*/ 229 h 257"/>
                <a:gd name="T20" fmla="*/ 152 w 267"/>
                <a:gd name="T21" fmla="*/ 219 h 257"/>
                <a:gd name="T22" fmla="*/ 143 w 267"/>
                <a:gd name="T23" fmla="*/ 171 h 257"/>
                <a:gd name="T24" fmla="*/ 114 w 267"/>
                <a:gd name="T25" fmla="*/ 162 h 257"/>
                <a:gd name="T26" fmla="*/ 105 w 267"/>
                <a:gd name="T27" fmla="*/ 181 h 257"/>
                <a:gd name="T28" fmla="*/ 76 w 267"/>
                <a:gd name="T29" fmla="*/ 162 h 257"/>
                <a:gd name="T30" fmla="*/ 0 w 267"/>
                <a:gd name="T31" fmla="*/ 152 h 257"/>
                <a:gd name="T32" fmla="*/ 9 w 267"/>
                <a:gd name="T33" fmla="*/ 143 h 257"/>
                <a:gd name="T34" fmla="*/ 19 w 267"/>
                <a:gd name="T35" fmla="*/ 133 h 257"/>
                <a:gd name="T36" fmla="*/ 19 w 267"/>
                <a:gd name="T37" fmla="*/ 143 h 257"/>
                <a:gd name="T38" fmla="*/ 57 w 267"/>
                <a:gd name="T39" fmla="*/ 95 h 257"/>
                <a:gd name="T40" fmla="*/ 76 w 267"/>
                <a:gd name="T41" fmla="*/ 66 h 257"/>
                <a:gd name="T42" fmla="*/ 85 w 267"/>
                <a:gd name="T43" fmla="*/ 38 h 257"/>
                <a:gd name="T44" fmla="*/ 85 w 267"/>
                <a:gd name="T45" fmla="*/ 9 h 257"/>
                <a:gd name="T46" fmla="*/ 124 w 267"/>
                <a:gd name="T47" fmla="*/ 9 h 257"/>
                <a:gd name="T48" fmla="*/ 162 w 267"/>
                <a:gd name="T49" fmla="*/ 9 h 257"/>
                <a:gd name="T50" fmla="*/ 219 w 267"/>
                <a:gd name="T51" fmla="*/ 0 h 257"/>
                <a:gd name="T52" fmla="*/ 228 w 267"/>
                <a:gd name="T53" fmla="*/ 9 h 257"/>
                <a:gd name="T54" fmla="*/ 247 w 267"/>
                <a:gd name="T55" fmla="*/ 9 h 257"/>
                <a:gd name="T56" fmla="*/ 267 w 267"/>
                <a:gd name="T57" fmla="*/ 19 h 257"/>
                <a:gd name="T58" fmla="*/ 267 w 267"/>
                <a:gd name="T59" fmla="*/ 47 h 257"/>
                <a:gd name="T60" fmla="*/ 247 w 267"/>
                <a:gd name="T61" fmla="*/ 85 h 257"/>
                <a:gd name="T62" fmla="*/ 247 w 267"/>
                <a:gd name="T63" fmla="*/ 114 h 257"/>
                <a:gd name="T64" fmla="*/ 247 w 267"/>
                <a:gd name="T65" fmla="*/ 124 h 257"/>
                <a:gd name="T66" fmla="*/ 247 w 267"/>
                <a:gd name="T67" fmla="*/ 133 h 257"/>
                <a:gd name="T68" fmla="*/ 267 w 267"/>
                <a:gd name="T69" fmla="*/ 171 h 2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67"/>
                <a:gd name="T106" fmla="*/ 0 h 257"/>
                <a:gd name="T107" fmla="*/ 267 w 267"/>
                <a:gd name="T108" fmla="*/ 257 h 2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67" h="257">
                  <a:moveTo>
                    <a:pt x="267" y="181"/>
                  </a:moveTo>
                  <a:lnTo>
                    <a:pt x="247" y="181"/>
                  </a:lnTo>
                  <a:lnTo>
                    <a:pt x="238" y="190"/>
                  </a:lnTo>
                  <a:lnTo>
                    <a:pt x="228" y="229"/>
                  </a:lnTo>
                  <a:lnTo>
                    <a:pt x="238" y="238"/>
                  </a:lnTo>
                  <a:lnTo>
                    <a:pt x="247" y="238"/>
                  </a:lnTo>
                  <a:lnTo>
                    <a:pt x="247" y="229"/>
                  </a:lnTo>
                  <a:lnTo>
                    <a:pt x="257" y="229"/>
                  </a:lnTo>
                  <a:lnTo>
                    <a:pt x="257" y="248"/>
                  </a:lnTo>
                  <a:lnTo>
                    <a:pt x="247" y="257"/>
                  </a:lnTo>
                  <a:lnTo>
                    <a:pt x="209" y="229"/>
                  </a:lnTo>
                  <a:lnTo>
                    <a:pt x="200" y="229"/>
                  </a:lnTo>
                  <a:lnTo>
                    <a:pt x="190" y="229"/>
                  </a:lnTo>
                  <a:lnTo>
                    <a:pt x="190" y="219"/>
                  </a:lnTo>
                  <a:lnTo>
                    <a:pt x="181" y="229"/>
                  </a:lnTo>
                  <a:lnTo>
                    <a:pt x="181" y="219"/>
                  </a:lnTo>
                  <a:lnTo>
                    <a:pt x="171" y="229"/>
                  </a:lnTo>
                  <a:lnTo>
                    <a:pt x="171" y="219"/>
                  </a:lnTo>
                  <a:lnTo>
                    <a:pt x="152" y="219"/>
                  </a:lnTo>
                  <a:lnTo>
                    <a:pt x="143" y="210"/>
                  </a:lnTo>
                  <a:lnTo>
                    <a:pt x="143" y="171"/>
                  </a:lnTo>
                  <a:lnTo>
                    <a:pt x="133" y="171"/>
                  </a:lnTo>
                  <a:lnTo>
                    <a:pt x="114" y="162"/>
                  </a:lnTo>
                  <a:lnTo>
                    <a:pt x="105" y="162"/>
                  </a:lnTo>
                  <a:lnTo>
                    <a:pt x="105" y="181"/>
                  </a:lnTo>
                  <a:lnTo>
                    <a:pt x="76" y="181"/>
                  </a:lnTo>
                  <a:lnTo>
                    <a:pt x="76" y="162"/>
                  </a:lnTo>
                  <a:lnTo>
                    <a:pt x="66" y="152"/>
                  </a:lnTo>
                  <a:lnTo>
                    <a:pt x="0" y="152"/>
                  </a:lnTo>
                  <a:lnTo>
                    <a:pt x="9" y="143"/>
                  </a:lnTo>
                  <a:lnTo>
                    <a:pt x="19" y="133"/>
                  </a:lnTo>
                  <a:lnTo>
                    <a:pt x="19" y="143"/>
                  </a:lnTo>
                  <a:lnTo>
                    <a:pt x="47" y="124"/>
                  </a:lnTo>
                  <a:lnTo>
                    <a:pt x="57" y="95"/>
                  </a:lnTo>
                  <a:lnTo>
                    <a:pt x="66" y="85"/>
                  </a:lnTo>
                  <a:lnTo>
                    <a:pt x="76" y="66"/>
                  </a:lnTo>
                  <a:lnTo>
                    <a:pt x="76" y="47"/>
                  </a:lnTo>
                  <a:lnTo>
                    <a:pt x="85" y="38"/>
                  </a:lnTo>
                  <a:lnTo>
                    <a:pt x="85" y="19"/>
                  </a:lnTo>
                  <a:lnTo>
                    <a:pt x="85" y="9"/>
                  </a:lnTo>
                  <a:lnTo>
                    <a:pt x="114" y="0"/>
                  </a:lnTo>
                  <a:lnTo>
                    <a:pt x="124" y="9"/>
                  </a:lnTo>
                  <a:lnTo>
                    <a:pt x="143" y="19"/>
                  </a:lnTo>
                  <a:lnTo>
                    <a:pt x="162" y="9"/>
                  </a:lnTo>
                  <a:lnTo>
                    <a:pt x="190" y="0"/>
                  </a:lnTo>
                  <a:lnTo>
                    <a:pt x="219" y="0"/>
                  </a:lnTo>
                  <a:lnTo>
                    <a:pt x="228" y="9"/>
                  </a:lnTo>
                  <a:lnTo>
                    <a:pt x="238" y="9"/>
                  </a:lnTo>
                  <a:lnTo>
                    <a:pt x="247" y="9"/>
                  </a:lnTo>
                  <a:lnTo>
                    <a:pt x="257" y="9"/>
                  </a:lnTo>
                  <a:lnTo>
                    <a:pt x="267" y="19"/>
                  </a:lnTo>
                  <a:lnTo>
                    <a:pt x="267" y="38"/>
                  </a:lnTo>
                  <a:lnTo>
                    <a:pt x="267" y="47"/>
                  </a:lnTo>
                  <a:lnTo>
                    <a:pt x="247" y="66"/>
                  </a:lnTo>
                  <a:lnTo>
                    <a:pt x="247" y="85"/>
                  </a:lnTo>
                  <a:lnTo>
                    <a:pt x="247" y="105"/>
                  </a:lnTo>
                  <a:lnTo>
                    <a:pt x="247" y="114"/>
                  </a:lnTo>
                  <a:lnTo>
                    <a:pt x="247" y="124"/>
                  </a:lnTo>
                  <a:lnTo>
                    <a:pt x="247" y="133"/>
                  </a:lnTo>
                  <a:lnTo>
                    <a:pt x="247" y="152"/>
                  </a:lnTo>
                  <a:lnTo>
                    <a:pt x="267" y="171"/>
                  </a:lnTo>
                  <a:lnTo>
                    <a:pt x="267" y="181"/>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20" name="Freeform 198">
              <a:extLst>
                <a:ext uri="{FF2B5EF4-FFF2-40B4-BE49-F238E27FC236}">
                  <a16:creationId xmlns:a16="http://schemas.microsoft.com/office/drawing/2014/main" id="{35677E18-F172-484D-873F-56AB0BAA9DAA}"/>
                </a:ext>
              </a:extLst>
            </p:cNvPr>
            <p:cNvSpPr>
              <a:spLocks/>
            </p:cNvSpPr>
            <p:nvPr/>
          </p:nvSpPr>
          <p:spPr bwMode="gray">
            <a:xfrm>
              <a:off x="2865" y="2815"/>
              <a:ext cx="95" cy="124"/>
            </a:xfrm>
            <a:custGeom>
              <a:avLst/>
              <a:gdLst>
                <a:gd name="T0" fmla="*/ 19 w 95"/>
                <a:gd name="T1" fmla="*/ 124 h 124"/>
                <a:gd name="T2" fmla="*/ 29 w 95"/>
                <a:gd name="T3" fmla="*/ 114 h 124"/>
                <a:gd name="T4" fmla="*/ 29 w 95"/>
                <a:gd name="T5" fmla="*/ 114 h 124"/>
                <a:gd name="T6" fmla="*/ 29 w 95"/>
                <a:gd name="T7" fmla="*/ 124 h 124"/>
                <a:gd name="T8" fmla="*/ 57 w 95"/>
                <a:gd name="T9" fmla="*/ 105 h 124"/>
                <a:gd name="T10" fmla="*/ 67 w 95"/>
                <a:gd name="T11" fmla="*/ 76 h 124"/>
                <a:gd name="T12" fmla="*/ 76 w 95"/>
                <a:gd name="T13" fmla="*/ 66 h 124"/>
                <a:gd name="T14" fmla="*/ 86 w 95"/>
                <a:gd name="T15" fmla="*/ 47 h 124"/>
                <a:gd name="T16" fmla="*/ 86 w 95"/>
                <a:gd name="T17" fmla="*/ 28 h 124"/>
                <a:gd name="T18" fmla="*/ 95 w 95"/>
                <a:gd name="T19" fmla="*/ 19 h 124"/>
                <a:gd name="T20" fmla="*/ 95 w 95"/>
                <a:gd name="T21" fmla="*/ 0 h 124"/>
                <a:gd name="T22" fmla="*/ 86 w 95"/>
                <a:gd name="T23" fmla="*/ 0 h 124"/>
                <a:gd name="T24" fmla="*/ 76 w 95"/>
                <a:gd name="T25" fmla="*/ 0 h 124"/>
                <a:gd name="T26" fmla="*/ 67 w 95"/>
                <a:gd name="T27" fmla="*/ 9 h 124"/>
                <a:gd name="T28" fmla="*/ 57 w 95"/>
                <a:gd name="T29" fmla="*/ 19 h 124"/>
                <a:gd name="T30" fmla="*/ 48 w 95"/>
                <a:gd name="T31" fmla="*/ 28 h 124"/>
                <a:gd name="T32" fmla="*/ 38 w 95"/>
                <a:gd name="T33" fmla="*/ 19 h 124"/>
                <a:gd name="T34" fmla="*/ 19 w 95"/>
                <a:gd name="T35" fmla="*/ 19 h 124"/>
                <a:gd name="T36" fmla="*/ 10 w 95"/>
                <a:gd name="T37" fmla="*/ 28 h 124"/>
                <a:gd name="T38" fmla="*/ 29 w 95"/>
                <a:gd name="T39" fmla="*/ 38 h 124"/>
                <a:gd name="T40" fmla="*/ 38 w 95"/>
                <a:gd name="T41" fmla="*/ 38 h 124"/>
                <a:gd name="T42" fmla="*/ 38 w 95"/>
                <a:gd name="T43" fmla="*/ 38 h 124"/>
                <a:gd name="T44" fmla="*/ 38 w 95"/>
                <a:gd name="T45" fmla="*/ 47 h 124"/>
                <a:gd name="T46" fmla="*/ 29 w 95"/>
                <a:gd name="T47" fmla="*/ 57 h 124"/>
                <a:gd name="T48" fmla="*/ 29 w 95"/>
                <a:gd name="T49" fmla="*/ 66 h 124"/>
                <a:gd name="T50" fmla="*/ 29 w 95"/>
                <a:gd name="T51" fmla="*/ 66 h 124"/>
                <a:gd name="T52" fmla="*/ 38 w 95"/>
                <a:gd name="T53" fmla="*/ 66 h 124"/>
                <a:gd name="T54" fmla="*/ 29 w 95"/>
                <a:gd name="T55" fmla="*/ 95 h 124"/>
                <a:gd name="T56" fmla="*/ 19 w 95"/>
                <a:gd name="T57" fmla="*/ 86 h 124"/>
                <a:gd name="T58" fmla="*/ 19 w 95"/>
                <a:gd name="T59" fmla="*/ 76 h 124"/>
                <a:gd name="T60" fmla="*/ 10 w 95"/>
                <a:gd name="T61" fmla="*/ 76 h 124"/>
                <a:gd name="T62" fmla="*/ 0 w 95"/>
                <a:gd name="T63" fmla="*/ 86 h 124"/>
                <a:gd name="T64" fmla="*/ 0 w 95"/>
                <a:gd name="T65" fmla="*/ 86 h 124"/>
                <a:gd name="T66" fmla="*/ 0 w 95"/>
                <a:gd name="T67" fmla="*/ 86 h 124"/>
                <a:gd name="T68" fmla="*/ 0 w 95"/>
                <a:gd name="T69" fmla="*/ 95 h 124"/>
                <a:gd name="T70" fmla="*/ 10 w 95"/>
                <a:gd name="T71" fmla="*/ 105 h 124"/>
                <a:gd name="T72" fmla="*/ 0 w 95"/>
                <a:gd name="T73" fmla="*/ 114 h 124"/>
                <a:gd name="T74" fmla="*/ 0 w 95"/>
                <a:gd name="T75" fmla="*/ 124 h 124"/>
                <a:gd name="T76" fmla="*/ 19 w 95"/>
                <a:gd name="T77" fmla="*/ 114 h 124"/>
                <a:gd name="T78" fmla="*/ 19 w 95"/>
                <a:gd name="T79" fmla="*/ 114 h 124"/>
                <a:gd name="T80" fmla="*/ 19 w 95"/>
                <a:gd name="T81" fmla="*/ 124 h 1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5"/>
                <a:gd name="T124" fmla="*/ 0 h 124"/>
                <a:gd name="T125" fmla="*/ 95 w 95"/>
                <a:gd name="T126" fmla="*/ 124 h 1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5" h="124">
                  <a:moveTo>
                    <a:pt x="19" y="124"/>
                  </a:moveTo>
                  <a:lnTo>
                    <a:pt x="29" y="114"/>
                  </a:lnTo>
                  <a:lnTo>
                    <a:pt x="29" y="124"/>
                  </a:lnTo>
                  <a:lnTo>
                    <a:pt x="57" y="105"/>
                  </a:lnTo>
                  <a:lnTo>
                    <a:pt x="67" y="76"/>
                  </a:lnTo>
                  <a:lnTo>
                    <a:pt x="76" y="66"/>
                  </a:lnTo>
                  <a:lnTo>
                    <a:pt x="86" y="47"/>
                  </a:lnTo>
                  <a:lnTo>
                    <a:pt x="86" y="28"/>
                  </a:lnTo>
                  <a:lnTo>
                    <a:pt x="95" y="19"/>
                  </a:lnTo>
                  <a:lnTo>
                    <a:pt x="95" y="0"/>
                  </a:lnTo>
                  <a:lnTo>
                    <a:pt x="86" y="0"/>
                  </a:lnTo>
                  <a:lnTo>
                    <a:pt x="76" y="0"/>
                  </a:lnTo>
                  <a:lnTo>
                    <a:pt x="67" y="9"/>
                  </a:lnTo>
                  <a:lnTo>
                    <a:pt x="57" y="19"/>
                  </a:lnTo>
                  <a:lnTo>
                    <a:pt x="48" y="28"/>
                  </a:lnTo>
                  <a:lnTo>
                    <a:pt x="38" y="19"/>
                  </a:lnTo>
                  <a:lnTo>
                    <a:pt x="19" y="19"/>
                  </a:lnTo>
                  <a:lnTo>
                    <a:pt x="10" y="28"/>
                  </a:lnTo>
                  <a:lnTo>
                    <a:pt x="29" y="38"/>
                  </a:lnTo>
                  <a:lnTo>
                    <a:pt x="38" y="38"/>
                  </a:lnTo>
                  <a:lnTo>
                    <a:pt x="38" y="47"/>
                  </a:lnTo>
                  <a:lnTo>
                    <a:pt x="29" y="57"/>
                  </a:lnTo>
                  <a:lnTo>
                    <a:pt x="29" y="66"/>
                  </a:lnTo>
                  <a:lnTo>
                    <a:pt x="38" y="66"/>
                  </a:lnTo>
                  <a:lnTo>
                    <a:pt x="29" y="95"/>
                  </a:lnTo>
                  <a:lnTo>
                    <a:pt x="19" y="86"/>
                  </a:lnTo>
                  <a:lnTo>
                    <a:pt x="19" y="76"/>
                  </a:lnTo>
                  <a:lnTo>
                    <a:pt x="10" y="76"/>
                  </a:lnTo>
                  <a:lnTo>
                    <a:pt x="0" y="86"/>
                  </a:lnTo>
                  <a:lnTo>
                    <a:pt x="0" y="95"/>
                  </a:lnTo>
                  <a:lnTo>
                    <a:pt x="10" y="105"/>
                  </a:lnTo>
                  <a:lnTo>
                    <a:pt x="0" y="114"/>
                  </a:lnTo>
                  <a:lnTo>
                    <a:pt x="0" y="124"/>
                  </a:lnTo>
                  <a:lnTo>
                    <a:pt x="19" y="114"/>
                  </a:lnTo>
                  <a:lnTo>
                    <a:pt x="19" y="12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21" name="Freeform 199">
              <a:extLst>
                <a:ext uri="{FF2B5EF4-FFF2-40B4-BE49-F238E27FC236}">
                  <a16:creationId xmlns:a16="http://schemas.microsoft.com/office/drawing/2014/main" id="{D15B9588-92CF-4912-BB23-B15B9E048138}"/>
                </a:ext>
              </a:extLst>
            </p:cNvPr>
            <p:cNvSpPr>
              <a:spLocks/>
            </p:cNvSpPr>
            <p:nvPr/>
          </p:nvSpPr>
          <p:spPr bwMode="gray">
            <a:xfrm>
              <a:off x="3122" y="2872"/>
              <a:ext cx="163" cy="153"/>
            </a:xfrm>
            <a:custGeom>
              <a:avLst/>
              <a:gdLst>
                <a:gd name="T0" fmla="*/ 143 w 163"/>
                <a:gd name="T1" fmla="*/ 57 h 153"/>
                <a:gd name="T2" fmla="*/ 115 w 163"/>
                <a:gd name="T3" fmla="*/ 38 h 153"/>
                <a:gd name="T4" fmla="*/ 115 w 163"/>
                <a:gd name="T5" fmla="*/ 38 h 153"/>
                <a:gd name="T6" fmla="*/ 115 w 163"/>
                <a:gd name="T7" fmla="*/ 29 h 153"/>
                <a:gd name="T8" fmla="*/ 86 w 163"/>
                <a:gd name="T9" fmla="*/ 19 h 153"/>
                <a:gd name="T10" fmla="*/ 67 w 163"/>
                <a:gd name="T11" fmla="*/ 0 h 153"/>
                <a:gd name="T12" fmla="*/ 20 w 163"/>
                <a:gd name="T13" fmla="*/ 0 h 153"/>
                <a:gd name="T14" fmla="*/ 20 w 163"/>
                <a:gd name="T15" fmla="*/ 9 h 153"/>
                <a:gd name="T16" fmla="*/ 20 w 163"/>
                <a:gd name="T17" fmla="*/ 9 h 153"/>
                <a:gd name="T18" fmla="*/ 20 w 163"/>
                <a:gd name="T19" fmla="*/ 19 h 153"/>
                <a:gd name="T20" fmla="*/ 10 w 163"/>
                <a:gd name="T21" fmla="*/ 19 h 153"/>
                <a:gd name="T22" fmla="*/ 10 w 163"/>
                <a:gd name="T23" fmla="*/ 29 h 153"/>
                <a:gd name="T24" fmla="*/ 20 w 163"/>
                <a:gd name="T25" fmla="*/ 29 h 153"/>
                <a:gd name="T26" fmla="*/ 20 w 163"/>
                <a:gd name="T27" fmla="*/ 38 h 153"/>
                <a:gd name="T28" fmla="*/ 10 w 163"/>
                <a:gd name="T29" fmla="*/ 38 h 153"/>
                <a:gd name="T30" fmla="*/ 10 w 163"/>
                <a:gd name="T31" fmla="*/ 48 h 153"/>
                <a:gd name="T32" fmla="*/ 0 w 163"/>
                <a:gd name="T33" fmla="*/ 48 h 153"/>
                <a:gd name="T34" fmla="*/ 0 w 163"/>
                <a:gd name="T35" fmla="*/ 57 h 153"/>
                <a:gd name="T36" fmla="*/ 0 w 163"/>
                <a:gd name="T37" fmla="*/ 57 h 153"/>
                <a:gd name="T38" fmla="*/ 0 w 163"/>
                <a:gd name="T39" fmla="*/ 76 h 153"/>
                <a:gd name="T40" fmla="*/ 20 w 163"/>
                <a:gd name="T41" fmla="*/ 95 h 153"/>
                <a:gd name="T42" fmla="*/ 20 w 163"/>
                <a:gd name="T43" fmla="*/ 105 h 153"/>
                <a:gd name="T44" fmla="*/ 29 w 163"/>
                <a:gd name="T45" fmla="*/ 114 h 153"/>
                <a:gd name="T46" fmla="*/ 48 w 163"/>
                <a:gd name="T47" fmla="*/ 124 h 153"/>
                <a:gd name="T48" fmla="*/ 58 w 163"/>
                <a:gd name="T49" fmla="*/ 124 h 153"/>
                <a:gd name="T50" fmla="*/ 67 w 163"/>
                <a:gd name="T51" fmla="*/ 124 h 153"/>
                <a:gd name="T52" fmla="*/ 77 w 163"/>
                <a:gd name="T53" fmla="*/ 134 h 153"/>
                <a:gd name="T54" fmla="*/ 77 w 163"/>
                <a:gd name="T55" fmla="*/ 153 h 153"/>
                <a:gd name="T56" fmla="*/ 96 w 163"/>
                <a:gd name="T57" fmla="*/ 153 h 153"/>
                <a:gd name="T58" fmla="*/ 105 w 163"/>
                <a:gd name="T59" fmla="*/ 153 h 153"/>
                <a:gd name="T60" fmla="*/ 115 w 163"/>
                <a:gd name="T61" fmla="*/ 153 h 153"/>
                <a:gd name="T62" fmla="*/ 134 w 163"/>
                <a:gd name="T63" fmla="*/ 153 h 153"/>
                <a:gd name="T64" fmla="*/ 134 w 163"/>
                <a:gd name="T65" fmla="*/ 143 h 153"/>
                <a:gd name="T66" fmla="*/ 143 w 163"/>
                <a:gd name="T67" fmla="*/ 143 h 153"/>
                <a:gd name="T68" fmla="*/ 153 w 163"/>
                <a:gd name="T69" fmla="*/ 134 h 153"/>
                <a:gd name="T70" fmla="*/ 163 w 163"/>
                <a:gd name="T71" fmla="*/ 134 h 153"/>
                <a:gd name="T72" fmla="*/ 143 w 163"/>
                <a:gd name="T73" fmla="*/ 114 h 153"/>
                <a:gd name="T74" fmla="*/ 143 w 163"/>
                <a:gd name="T75" fmla="*/ 95 h 153"/>
                <a:gd name="T76" fmla="*/ 143 w 163"/>
                <a:gd name="T77" fmla="*/ 86 h 153"/>
                <a:gd name="T78" fmla="*/ 134 w 163"/>
                <a:gd name="T79" fmla="*/ 76 h 153"/>
                <a:gd name="T80" fmla="*/ 134 w 163"/>
                <a:gd name="T81" fmla="*/ 67 h 153"/>
                <a:gd name="T82" fmla="*/ 143 w 163"/>
                <a:gd name="T83" fmla="*/ 57 h 15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3"/>
                <a:gd name="T127" fmla="*/ 0 h 153"/>
                <a:gd name="T128" fmla="*/ 163 w 163"/>
                <a:gd name="T129" fmla="*/ 153 h 15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3" h="153">
                  <a:moveTo>
                    <a:pt x="143" y="57"/>
                  </a:moveTo>
                  <a:lnTo>
                    <a:pt x="115" y="38"/>
                  </a:lnTo>
                  <a:lnTo>
                    <a:pt x="115" y="29"/>
                  </a:lnTo>
                  <a:lnTo>
                    <a:pt x="86" y="19"/>
                  </a:lnTo>
                  <a:lnTo>
                    <a:pt x="67" y="0"/>
                  </a:lnTo>
                  <a:lnTo>
                    <a:pt x="20" y="0"/>
                  </a:lnTo>
                  <a:lnTo>
                    <a:pt x="20" y="9"/>
                  </a:lnTo>
                  <a:lnTo>
                    <a:pt x="20" y="19"/>
                  </a:lnTo>
                  <a:lnTo>
                    <a:pt x="10" y="19"/>
                  </a:lnTo>
                  <a:lnTo>
                    <a:pt x="10" y="29"/>
                  </a:lnTo>
                  <a:lnTo>
                    <a:pt x="20" y="29"/>
                  </a:lnTo>
                  <a:lnTo>
                    <a:pt x="20" y="38"/>
                  </a:lnTo>
                  <a:lnTo>
                    <a:pt x="10" y="38"/>
                  </a:lnTo>
                  <a:lnTo>
                    <a:pt x="10" y="48"/>
                  </a:lnTo>
                  <a:lnTo>
                    <a:pt x="0" y="48"/>
                  </a:lnTo>
                  <a:lnTo>
                    <a:pt x="0" y="57"/>
                  </a:lnTo>
                  <a:lnTo>
                    <a:pt x="0" y="76"/>
                  </a:lnTo>
                  <a:lnTo>
                    <a:pt x="20" y="95"/>
                  </a:lnTo>
                  <a:lnTo>
                    <a:pt x="20" y="105"/>
                  </a:lnTo>
                  <a:lnTo>
                    <a:pt x="29" y="114"/>
                  </a:lnTo>
                  <a:lnTo>
                    <a:pt x="48" y="124"/>
                  </a:lnTo>
                  <a:lnTo>
                    <a:pt x="58" y="124"/>
                  </a:lnTo>
                  <a:lnTo>
                    <a:pt x="67" y="124"/>
                  </a:lnTo>
                  <a:lnTo>
                    <a:pt x="77" y="134"/>
                  </a:lnTo>
                  <a:lnTo>
                    <a:pt x="77" y="153"/>
                  </a:lnTo>
                  <a:lnTo>
                    <a:pt x="96" y="153"/>
                  </a:lnTo>
                  <a:lnTo>
                    <a:pt x="105" y="153"/>
                  </a:lnTo>
                  <a:lnTo>
                    <a:pt x="115" y="153"/>
                  </a:lnTo>
                  <a:lnTo>
                    <a:pt x="134" y="153"/>
                  </a:lnTo>
                  <a:lnTo>
                    <a:pt x="134" y="143"/>
                  </a:lnTo>
                  <a:lnTo>
                    <a:pt x="143" y="143"/>
                  </a:lnTo>
                  <a:lnTo>
                    <a:pt x="153" y="134"/>
                  </a:lnTo>
                  <a:lnTo>
                    <a:pt x="163" y="134"/>
                  </a:lnTo>
                  <a:lnTo>
                    <a:pt x="143" y="114"/>
                  </a:lnTo>
                  <a:lnTo>
                    <a:pt x="143" y="95"/>
                  </a:lnTo>
                  <a:lnTo>
                    <a:pt x="143" y="86"/>
                  </a:lnTo>
                  <a:lnTo>
                    <a:pt x="134" y="76"/>
                  </a:lnTo>
                  <a:lnTo>
                    <a:pt x="134" y="67"/>
                  </a:lnTo>
                  <a:lnTo>
                    <a:pt x="143" y="5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22" name="Freeform 200">
              <a:extLst>
                <a:ext uri="{FF2B5EF4-FFF2-40B4-BE49-F238E27FC236}">
                  <a16:creationId xmlns:a16="http://schemas.microsoft.com/office/drawing/2014/main" id="{A984E4DD-56EF-4C92-8E8B-C21A5BFE07E0}"/>
                </a:ext>
              </a:extLst>
            </p:cNvPr>
            <p:cNvSpPr>
              <a:spLocks/>
            </p:cNvSpPr>
            <p:nvPr/>
          </p:nvSpPr>
          <p:spPr bwMode="gray">
            <a:xfrm>
              <a:off x="3122" y="2805"/>
              <a:ext cx="77" cy="76"/>
            </a:xfrm>
            <a:custGeom>
              <a:avLst/>
              <a:gdLst>
                <a:gd name="T0" fmla="*/ 67 w 77"/>
                <a:gd name="T1" fmla="*/ 67 h 76"/>
                <a:gd name="T2" fmla="*/ 20 w 77"/>
                <a:gd name="T3" fmla="*/ 67 h 76"/>
                <a:gd name="T4" fmla="*/ 20 w 77"/>
                <a:gd name="T5" fmla="*/ 76 h 76"/>
                <a:gd name="T6" fmla="*/ 10 w 77"/>
                <a:gd name="T7" fmla="*/ 76 h 76"/>
                <a:gd name="T8" fmla="*/ 10 w 77"/>
                <a:gd name="T9" fmla="*/ 76 h 76"/>
                <a:gd name="T10" fmla="*/ 0 w 77"/>
                <a:gd name="T11" fmla="*/ 76 h 76"/>
                <a:gd name="T12" fmla="*/ 0 w 77"/>
                <a:gd name="T13" fmla="*/ 57 h 76"/>
                <a:gd name="T14" fmla="*/ 20 w 77"/>
                <a:gd name="T15" fmla="*/ 38 h 76"/>
                <a:gd name="T16" fmla="*/ 20 w 77"/>
                <a:gd name="T17" fmla="*/ 29 h 76"/>
                <a:gd name="T18" fmla="*/ 20 w 77"/>
                <a:gd name="T19" fmla="*/ 10 h 76"/>
                <a:gd name="T20" fmla="*/ 20 w 77"/>
                <a:gd name="T21" fmla="*/ 10 h 76"/>
                <a:gd name="T22" fmla="*/ 39 w 77"/>
                <a:gd name="T23" fmla="*/ 10 h 76"/>
                <a:gd name="T24" fmla="*/ 58 w 77"/>
                <a:gd name="T25" fmla="*/ 10 h 76"/>
                <a:gd name="T26" fmla="*/ 67 w 77"/>
                <a:gd name="T27" fmla="*/ 0 h 76"/>
                <a:gd name="T28" fmla="*/ 67 w 77"/>
                <a:gd name="T29" fmla="*/ 10 h 76"/>
                <a:gd name="T30" fmla="*/ 77 w 77"/>
                <a:gd name="T31" fmla="*/ 29 h 76"/>
                <a:gd name="T32" fmla="*/ 77 w 77"/>
                <a:gd name="T33" fmla="*/ 38 h 76"/>
                <a:gd name="T34" fmla="*/ 67 w 77"/>
                <a:gd name="T35" fmla="*/ 48 h 76"/>
                <a:gd name="T36" fmla="*/ 67 w 77"/>
                <a:gd name="T37" fmla="*/ 67 h 7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7"/>
                <a:gd name="T58" fmla="*/ 0 h 76"/>
                <a:gd name="T59" fmla="*/ 77 w 77"/>
                <a:gd name="T60" fmla="*/ 76 h 7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7" h="76">
                  <a:moveTo>
                    <a:pt x="67" y="67"/>
                  </a:moveTo>
                  <a:lnTo>
                    <a:pt x="20" y="67"/>
                  </a:lnTo>
                  <a:lnTo>
                    <a:pt x="20" y="76"/>
                  </a:lnTo>
                  <a:lnTo>
                    <a:pt x="10" y="76"/>
                  </a:lnTo>
                  <a:lnTo>
                    <a:pt x="0" y="76"/>
                  </a:lnTo>
                  <a:lnTo>
                    <a:pt x="0" y="57"/>
                  </a:lnTo>
                  <a:lnTo>
                    <a:pt x="20" y="38"/>
                  </a:lnTo>
                  <a:lnTo>
                    <a:pt x="20" y="29"/>
                  </a:lnTo>
                  <a:lnTo>
                    <a:pt x="20" y="10"/>
                  </a:lnTo>
                  <a:lnTo>
                    <a:pt x="39" y="10"/>
                  </a:lnTo>
                  <a:lnTo>
                    <a:pt x="58" y="10"/>
                  </a:lnTo>
                  <a:lnTo>
                    <a:pt x="67" y="0"/>
                  </a:lnTo>
                  <a:lnTo>
                    <a:pt x="67" y="10"/>
                  </a:lnTo>
                  <a:lnTo>
                    <a:pt x="77" y="29"/>
                  </a:lnTo>
                  <a:lnTo>
                    <a:pt x="77" y="38"/>
                  </a:lnTo>
                  <a:lnTo>
                    <a:pt x="67" y="48"/>
                  </a:lnTo>
                  <a:lnTo>
                    <a:pt x="67" y="6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23" name="Freeform 201">
              <a:extLst>
                <a:ext uri="{FF2B5EF4-FFF2-40B4-BE49-F238E27FC236}">
                  <a16:creationId xmlns:a16="http://schemas.microsoft.com/office/drawing/2014/main" id="{A28F5B0D-B029-493F-B54C-A8095AEA248B}"/>
                </a:ext>
              </a:extLst>
            </p:cNvPr>
            <p:cNvSpPr>
              <a:spLocks/>
            </p:cNvSpPr>
            <p:nvPr/>
          </p:nvSpPr>
          <p:spPr bwMode="gray">
            <a:xfrm>
              <a:off x="2865" y="3101"/>
              <a:ext cx="210" cy="172"/>
            </a:xfrm>
            <a:custGeom>
              <a:avLst/>
              <a:gdLst>
                <a:gd name="T0" fmla="*/ 67 w 210"/>
                <a:gd name="T1" fmla="*/ 172 h 172"/>
                <a:gd name="T2" fmla="*/ 57 w 210"/>
                <a:gd name="T3" fmla="*/ 162 h 172"/>
                <a:gd name="T4" fmla="*/ 57 w 210"/>
                <a:gd name="T5" fmla="*/ 143 h 172"/>
                <a:gd name="T6" fmla="*/ 48 w 210"/>
                <a:gd name="T7" fmla="*/ 124 h 172"/>
                <a:gd name="T8" fmla="*/ 38 w 210"/>
                <a:gd name="T9" fmla="*/ 105 h 172"/>
                <a:gd name="T10" fmla="*/ 38 w 210"/>
                <a:gd name="T11" fmla="*/ 76 h 172"/>
                <a:gd name="T12" fmla="*/ 38 w 210"/>
                <a:gd name="T13" fmla="*/ 67 h 172"/>
                <a:gd name="T14" fmla="*/ 10 w 210"/>
                <a:gd name="T15" fmla="*/ 38 h 172"/>
                <a:gd name="T16" fmla="*/ 10 w 210"/>
                <a:gd name="T17" fmla="*/ 29 h 172"/>
                <a:gd name="T18" fmla="*/ 0 w 210"/>
                <a:gd name="T19" fmla="*/ 19 h 172"/>
                <a:gd name="T20" fmla="*/ 0 w 210"/>
                <a:gd name="T21" fmla="*/ 0 h 172"/>
                <a:gd name="T22" fmla="*/ 10 w 210"/>
                <a:gd name="T23" fmla="*/ 0 h 172"/>
                <a:gd name="T24" fmla="*/ 29 w 210"/>
                <a:gd name="T25" fmla="*/ 0 h 172"/>
                <a:gd name="T26" fmla="*/ 38 w 210"/>
                <a:gd name="T27" fmla="*/ 0 h 172"/>
                <a:gd name="T28" fmla="*/ 48 w 210"/>
                <a:gd name="T29" fmla="*/ 0 h 172"/>
                <a:gd name="T30" fmla="*/ 95 w 210"/>
                <a:gd name="T31" fmla="*/ 0 h 172"/>
                <a:gd name="T32" fmla="*/ 105 w 210"/>
                <a:gd name="T33" fmla="*/ 10 h 172"/>
                <a:gd name="T34" fmla="*/ 124 w 210"/>
                <a:gd name="T35" fmla="*/ 10 h 172"/>
                <a:gd name="T36" fmla="*/ 134 w 210"/>
                <a:gd name="T37" fmla="*/ 10 h 172"/>
                <a:gd name="T38" fmla="*/ 153 w 210"/>
                <a:gd name="T39" fmla="*/ 10 h 172"/>
                <a:gd name="T40" fmla="*/ 162 w 210"/>
                <a:gd name="T41" fmla="*/ 0 h 172"/>
                <a:gd name="T42" fmla="*/ 172 w 210"/>
                <a:gd name="T43" fmla="*/ 0 h 172"/>
                <a:gd name="T44" fmla="*/ 191 w 210"/>
                <a:gd name="T45" fmla="*/ 0 h 172"/>
                <a:gd name="T46" fmla="*/ 200 w 210"/>
                <a:gd name="T47" fmla="*/ 10 h 172"/>
                <a:gd name="T48" fmla="*/ 210 w 210"/>
                <a:gd name="T49" fmla="*/ 10 h 172"/>
                <a:gd name="T50" fmla="*/ 191 w 210"/>
                <a:gd name="T51" fmla="*/ 10 h 172"/>
                <a:gd name="T52" fmla="*/ 181 w 210"/>
                <a:gd name="T53" fmla="*/ 19 h 172"/>
                <a:gd name="T54" fmla="*/ 162 w 210"/>
                <a:gd name="T55" fmla="*/ 10 h 172"/>
                <a:gd name="T56" fmla="*/ 143 w 210"/>
                <a:gd name="T57" fmla="*/ 19 h 172"/>
                <a:gd name="T58" fmla="*/ 143 w 210"/>
                <a:gd name="T59" fmla="*/ 67 h 172"/>
                <a:gd name="T60" fmla="*/ 124 w 210"/>
                <a:gd name="T61" fmla="*/ 67 h 172"/>
                <a:gd name="T62" fmla="*/ 124 w 210"/>
                <a:gd name="T63" fmla="*/ 105 h 172"/>
                <a:gd name="T64" fmla="*/ 124 w 210"/>
                <a:gd name="T65" fmla="*/ 172 h 172"/>
                <a:gd name="T66" fmla="*/ 105 w 210"/>
                <a:gd name="T67" fmla="*/ 172 h 172"/>
                <a:gd name="T68" fmla="*/ 95 w 210"/>
                <a:gd name="T69" fmla="*/ 172 h 172"/>
                <a:gd name="T70" fmla="*/ 86 w 210"/>
                <a:gd name="T71" fmla="*/ 162 h 172"/>
                <a:gd name="T72" fmla="*/ 86 w 210"/>
                <a:gd name="T73" fmla="*/ 162 h 172"/>
                <a:gd name="T74" fmla="*/ 76 w 210"/>
                <a:gd name="T75" fmla="*/ 162 h 172"/>
                <a:gd name="T76" fmla="*/ 67 w 210"/>
                <a:gd name="T77" fmla="*/ 172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0"/>
                <a:gd name="T118" fmla="*/ 0 h 172"/>
                <a:gd name="T119" fmla="*/ 210 w 210"/>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0" h="172">
                  <a:moveTo>
                    <a:pt x="67" y="172"/>
                  </a:moveTo>
                  <a:lnTo>
                    <a:pt x="57" y="162"/>
                  </a:lnTo>
                  <a:lnTo>
                    <a:pt x="57" y="143"/>
                  </a:lnTo>
                  <a:lnTo>
                    <a:pt x="48" y="124"/>
                  </a:lnTo>
                  <a:lnTo>
                    <a:pt x="38" y="105"/>
                  </a:lnTo>
                  <a:lnTo>
                    <a:pt x="38" y="76"/>
                  </a:lnTo>
                  <a:lnTo>
                    <a:pt x="38" y="67"/>
                  </a:lnTo>
                  <a:lnTo>
                    <a:pt x="10" y="38"/>
                  </a:lnTo>
                  <a:lnTo>
                    <a:pt x="10" y="29"/>
                  </a:lnTo>
                  <a:lnTo>
                    <a:pt x="0" y="19"/>
                  </a:lnTo>
                  <a:lnTo>
                    <a:pt x="0" y="0"/>
                  </a:lnTo>
                  <a:lnTo>
                    <a:pt x="10" y="0"/>
                  </a:lnTo>
                  <a:lnTo>
                    <a:pt x="29" y="0"/>
                  </a:lnTo>
                  <a:lnTo>
                    <a:pt x="38" y="0"/>
                  </a:lnTo>
                  <a:lnTo>
                    <a:pt x="48" y="0"/>
                  </a:lnTo>
                  <a:lnTo>
                    <a:pt x="95" y="0"/>
                  </a:lnTo>
                  <a:lnTo>
                    <a:pt x="105" y="10"/>
                  </a:lnTo>
                  <a:lnTo>
                    <a:pt x="124" y="10"/>
                  </a:lnTo>
                  <a:lnTo>
                    <a:pt x="134" y="10"/>
                  </a:lnTo>
                  <a:lnTo>
                    <a:pt x="153" y="10"/>
                  </a:lnTo>
                  <a:lnTo>
                    <a:pt x="162" y="0"/>
                  </a:lnTo>
                  <a:lnTo>
                    <a:pt x="172" y="0"/>
                  </a:lnTo>
                  <a:lnTo>
                    <a:pt x="191" y="0"/>
                  </a:lnTo>
                  <a:lnTo>
                    <a:pt x="200" y="10"/>
                  </a:lnTo>
                  <a:lnTo>
                    <a:pt x="210" y="10"/>
                  </a:lnTo>
                  <a:lnTo>
                    <a:pt x="191" y="10"/>
                  </a:lnTo>
                  <a:lnTo>
                    <a:pt x="181" y="19"/>
                  </a:lnTo>
                  <a:lnTo>
                    <a:pt x="162" y="10"/>
                  </a:lnTo>
                  <a:lnTo>
                    <a:pt x="143" y="19"/>
                  </a:lnTo>
                  <a:lnTo>
                    <a:pt x="143" y="67"/>
                  </a:lnTo>
                  <a:lnTo>
                    <a:pt x="124" y="67"/>
                  </a:lnTo>
                  <a:lnTo>
                    <a:pt x="124" y="105"/>
                  </a:lnTo>
                  <a:lnTo>
                    <a:pt x="124" y="172"/>
                  </a:lnTo>
                  <a:lnTo>
                    <a:pt x="105" y="172"/>
                  </a:lnTo>
                  <a:lnTo>
                    <a:pt x="95" y="172"/>
                  </a:lnTo>
                  <a:lnTo>
                    <a:pt x="86" y="162"/>
                  </a:lnTo>
                  <a:lnTo>
                    <a:pt x="76" y="162"/>
                  </a:lnTo>
                  <a:lnTo>
                    <a:pt x="67" y="172"/>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24" name="Freeform 202">
              <a:extLst>
                <a:ext uri="{FF2B5EF4-FFF2-40B4-BE49-F238E27FC236}">
                  <a16:creationId xmlns:a16="http://schemas.microsoft.com/office/drawing/2014/main" id="{D880B9B5-0E70-4721-B544-A371B7B1F3F6}"/>
                </a:ext>
              </a:extLst>
            </p:cNvPr>
            <p:cNvSpPr>
              <a:spLocks/>
            </p:cNvSpPr>
            <p:nvPr/>
          </p:nvSpPr>
          <p:spPr bwMode="gray">
            <a:xfrm>
              <a:off x="2865" y="3101"/>
              <a:ext cx="210" cy="172"/>
            </a:xfrm>
            <a:custGeom>
              <a:avLst/>
              <a:gdLst>
                <a:gd name="T0" fmla="*/ 67 w 210"/>
                <a:gd name="T1" fmla="*/ 172 h 172"/>
                <a:gd name="T2" fmla="*/ 57 w 210"/>
                <a:gd name="T3" fmla="*/ 162 h 172"/>
                <a:gd name="T4" fmla="*/ 57 w 210"/>
                <a:gd name="T5" fmla="*/ 143 h 172"/>
                <a:gd name="T6" fmla="*/ 48 w 210"/>
                <a:gd name="T7" fmla="*/ 124 h 172"/>
                <a:gd name="T8" fmla="*/ 38 w 210"/>
                <a:gd name="T9" fmla="*/ 105 h 172"/>
                <a:gd name="T10" fmla="*/ 38 w 210"/>
                <a:gd name="T11" fmla="*/ 76 h 172"/>
                <a:gd name="T12" fmla="*/ 38 w 210"/>
                <a:gd name="T13" fmla="*/ 67 h 172"/>
                <a:gd name="T14" fmla="*/ 10 w 210"/>
                <a:gd name="T15" fmla="*/ 38 h 172"/>
                <a:gd name="T16" fmla="*/ 10 w 210"/>
                <a:gd name="T17" fmla="*/ 29 h 172"/>
                <a:gd name="T18" fmla="*/ 0 w 210"/>
                <a:gd name="T19" fmla="*/ 19 h 172"/>
                <a:gd name="T20" fmla="*/ 0 w 210"/>
                <a:gd name="T21" fmla="*/ 0 h 172"/>
                <a:gd name="T22" fmla="*/ 10 w 210"/>
                <a:gd name="T23" fmla="*/ 0 h 172"/>
                <a:gd name="T24" fmla="*/ 29 w 210"/>
                <a:gd name="T25" fmla="*/ 0 h 172"/>
                <a:gd name="T26" fmla="*/ 38 w 210"/>
                <a:gd name="T27" fmla="*/ 0 h 172"/>
                <a:gd name="T28" fmla="*/ 48 w 210"/>
                <a:gd name="T29" fmla="*/ 0 h 172"/>
                <a:gd name="T30" fmla="*/ 95 w 210"/>
                <a:gd name="T31" fmla="*/ 0 h 172"/>
                <a:gd name="T32" fmla="*/ 105 w 210"/>
                <a:gd name="T33" fmla="*/ 10 h 172"/>
                <a:gd name="T34" fmla="*/ 124 w 210"/>
                <a:gd name="T35" fmla="*/ 10 h 172"/>
                <a:gd name="T36" fmla="*/ 134 w 210"/>
                <a:gd name="T37" fmla="*/ 10 h 172"/>
                <a:gd name="T38" fmla="*/ 153 w 210"/>
                <a:gd name="T39" fmla="*/ 10 h 172"/>
                <a:gd name="T40" fmla="*/ 162 w 210"/>
                <a:gd name="T41" fmla="*/ 0 h 172"/>
                <a:gd name="T42" fmla="*/ 172 w 210"/>
                <a:gd name="T43" fmla="*/ 0 h 172"/>
                <a:gd name="T44" fmla="*/ 191 w 210"/>
                <a:gd name="T45" fmla="*/ 0 h 172"/>
                <a:gd name="T46" fmla="*/ 200 w 210"/>
                <a:gd name="T47" fmla="*/ 10 h 172"/>
                <a:gd name="T48" fmla="*/ 210 w 210"/>
                <a:gd name="T49" fmla="*/ 10 h 172"/>
                <a:gd name="T50" fmla="*/ 191 w 210"/>
                <a:gd name="T51" fmla="*/ 10 h 172"/>
                <a:gd name="T52" fmla="*/ 181 w 210"/>
                <a:gd name="T53" fmla="*/ 19 h 172"/>
                <a:gd name="T54" fmla="*/ 162 w 210"/>
                <a:gd name="T55" fmla="*/ 10 h 172"/>
                <a:gd name="T56" fmla="*/ 143 w 210"/>
                <a:gd name="T57" fmla="*/ 19 h 172"/>
                <a:gd name="T58" fmla="*/ 143 w 210"/>
                <a:gd name="T59" fmla="*/ 67 h 172"/>
                <a:gd name="T60" fmla="*/ 124 w 210"/>
                <a:gd name="T61" fmla="*/ 67 h 172"/>
                <a:gd name="T62" fmla="*/ 124 w 210"/>
                <a:gd name="T63" fmla="*/ 105 h 172"/>
                <a:gd name="T64" fmla="*/ 124 w 210"/>
                <a:gd name="T65" fmla="*/ 172 h 172"/>
                <a:gd name="T66" fmla="*/ 105 w 210"/>
                <a:gd name="T67" fmla="*/ 172 h 172"/>
                <a:gd name="T68" fmla="*/ 95 w 210"/>
                <a:gd name="T69" fmla="*/ 172 h 172"/>
                <a:gd name="T70" fmla="*/ 86 w 210"/>
                <a:gd name="T71" fmla="*/ 162 h 172"/>
                <a:gd name="T72" fmla="*/ 86 w 210"/>
                <a:gd name="T73" fmla="*/ 162 h 172"/>
                <a:gd name="T74" fmla="*/ 76 w 210"/>
                <a:gd name="T75" fmla="*/ 162 h 172"/>
                <a:gd name="T76" fmla="*/ 67 w 210"/>
                <a:gd name="T77" fmla="*/ 172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0"/>
                <a:gd name="T118" fmla="*/ 0 h 172"/>
                <a:gd name="T119" fmla="*/ 210 w 210"/>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0" h="172">
                  <a:moveTo>
                    <a:pt x="67" y="172"/>
                  </a:moveTo>
                  <a:lnTo>
                    <a:pt x="57" y="162"/>
                  </a:lnTo>
                  <a:lnTo>
                    <a:pt x="57" y="143"/>
                  </a:lnTo>
                  <a:lnTo>
                    <a:pt x="48" y="124"/>
                  </a:lnTo>
                  <a:lnTo>
                    <a:pt x="38" y="105"/>
                  </a:lnTo>
                  <a:lnTo>
                    <a:pt x="38" y="76"/>
                  </a:lnTo>
                  <a:lnTo>
                    <a:pt x="38" y="67"/>
                  </a:lnTo>
                  <a:lnTo>
                    <a:pt x="10" y="38"/>
                  </a:lnTo>
                  <a:lnTo>
                    <a:pt x="10" y="29"/>
                  </a:lnTo>
                  <a:lnTo>
                    <a:pt x="0" y="19"/>
                  </a:lnTo>
                  <a:lnTo>
                    <a:pt x="0" y="0"/>
                  </a:lnTo>
                  <a:lnTo>
                    <a:pt x="10" y="0"/>
                  </a:lnTo>
                  <a:lnTo>
                    <a:pt x="29" y="0"/>
                  </a:lnTo>
                  <a:lnTo>
                    <a:pt x="38" y="0"/>
                  </a:lnTo>
                  <a:lnTo>
                    <a:pt x="48" y="0"/>
                  </a:lnTo>
                  <a:lnTo>
                    <a:pt x="95" y="0"/>
                  </a:lnTo>
                  <a:lnTo>
                    <a:pt x="105" y="10"/>
                  </a:lnTo>
                  <a:lnTo>
                    <a:pt x="124" y="10"/>
                  </a:lnTo>
                  <a:lnTo>
                    <a:pt x="134" y="10"/>
                  </a:lnTo>
                  <a:lnTo>
                    <a:pt x="153" y="10"/>
                  </a:lnTo>
                  <a:lnTo>
                    <a:pt x="162" y="0"/>
                  </a:lnTo>
                  <a:lnTo>
                    <a:pt x="172" y="0"/>
                  </a:lnTo>
                  <a:lnTo>
                    <a:pt x="191" y="0"/>
                  </a:lnTo>
                  <a:lnTo>
                    <a:pt x="200" y="10"/>
                  </a:lnTo>
                  <a:lnTo>
                    <a:pt x="210" y="10"/>
                  </a:lnTo>
                  <a:lnTo>
                    <a:pt x="191" y="10"/>
                  </a:lnTo>
                  <a:lnTo>
                    <a:pt x="181" y="19"/>
                  </a:lnTo>
                  <a:lnTo>
                    <a:pt x="162" y="10"/>
                  </a:lnTo>
                  <a:lnTo>
                    <a:pt x="143" y="19"/>
                  </a:lnTo>
                  <a:lnTo>
                    <a:pt x="143" y="67"/>
                  </a:lnTo>
                  <a:lnTo>
                    <a:pt x="124" y="67"/>
                  </a:lnTo>
                  <a:lnTo>
                    <a:pt x="124" y="105"/>
                  </a:lnTo>
                  <a:lnTo>
                    <a:pt x="124" y="172"/>
                  </a:lnTo>
                  <a:lnTo>
                    <a:pt x="105" y="172"/>
                  </a:lnTo>
                  <a:lnTo>
                    <a:pt x="95" y="172"/>
                  </a:lnTo>
                  <a:lnTo>
                    <a:pt x="86" y="162"/>
                  </a:lnTo>
                  <a:lnTo>
                    <a:pt x="76" y="162"/>
                  </a:lnTo>
                  <a:lnTo>
                    <a:pt x="67" y="172"/>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25" name="Freeform 203">
              <a:extLst>
                <a:ext uri="{FF2B5EF4-FFF2-40B4-BE49-F238E27FC236}">
                  <a16:creationId xmlns:a16="http://schemas.microsoft.com/office/drawing/2014/main" id="{D17D4024-F135-4F6A-A3BC-036309EBD7E3}"/>
                </a:ext>
              </a:extLst>
            </p:cNvPr>
            <p:cNvSpPr>
              <a:spLocks/>
            </p:cNvSpPr>
            <p:nvPr/>
          </p:nvSpPr>
          <p:spPr bwMode="gray">
            <a:xfrm>
              <a:off x="2989" y="3111"/>
              <a:ext cx="124" cy="133"/>
            </a:xfrm>
            <a:custGeom>
              <a:avLst/>
              <a:gdLst>
                <a:gd name="T0" fmla="*/ 124 w 124"/>
                <a:gd name="T1" fmla="*/ 57 h 133"/>
                <a:gd name="T2" fmla="*/ 114 w 124"/>
                <a:gd name="T3" fmla="*/ 57 h 133"/>
                <a:gd name="T4" fmla="*/ 105 w 124"/>
                <a:gd name="T5" fmla="*/ 38 h 133"/>
                <a:gd name="T6" fmla="*/ 105 w 124"/>
                <a:gd name="T7" fmla="*/ 28 h 133"/>
                <a:gd name="T8" fmla="*/ 86 w 124"/>
                <a:gd name="T9" fmla="*/ 9 h 133"/>
                <a:gd name="T10" fmla="*/ 86 w 124"/>
                <a:gd name="T11" fmla="*/ 0 h 133"/>
                <a:gd name="T12" fmla="*/ 67 w 124"/>
                <a:gd name="T13" fmla="*/ 0 h 133"/>
                <a:gd name="T14" fmla="*/ 57 w 124"/>
                <a:gd name="T15" fmla="*/ 9 h 133"/>
                <a:gd name="T16" fmla="*/ 38 w 124"/>
                <a:gd name="T17" fmla="*/ 0 h 133"/>
                <a:gd name="T18" fmla="*/ 19 w 124"/>
                <a:gd name="T19" fmla="*/ 9 h 133"/>
                <a:gd name="T20" fmla="*/ 10 w 124"/>
                <a:gd name="T21" fmla="*/ 57 h 133"/>
                <a:gd name="T22" fmla="*/ 0 w 124"/>
                <a:gd name="T23" fmla="*/ 57 h 133"/>
                <a:gd name="T24" fmla="*/ 0 w 124"/>
                <a:gd name="T25" fmla="*/ 95 h 133"/>
                <a:gd name="T26" fmla="*/ 10 w 124"/>
                <a:gd name="T27" fmla="*/ 104 h 133"/>
                <a:gd name="T28" fmla="*/ 10 w 124"/>
                <a:gd name="T29" fmla="*/ 133 h 133"/>
                <a:gd name="T30" fmla="*/ 29 w 124"/>
                <a:gd name="T31" fmla="*/ 133 h 133"/>
                <a:gd name="T32" fmla="*/ 48 w 124"/>
                <a:gd name="T33" fmla="*/ 104 h 133"/>
                <a:gd name="T34" fmla="*/ 48 w 124"/>
                <a:gd name="T35" fmla="*/ 104 h 133"/>
                <a:gd name="T36" fmla="*/ 57 w 124"/>
                <a:gd name="T37" fmla="*/ 114 h 133"/>
                <a:gd name="T38" fmla="*/ 76 w 124"/>
                <a:gd name="T39" fmla="*/ 114 h 133"/>
                <a:gd name="T40" fmla="*/ 86 w 124"/>
                <a:gd name="T41" fmla="*/ 104 h 133"/>
                <a:gd name="T42" fmla="*/ 86 w 124"/>
                <a:gd name="T43" fmla="*/ 85 h 133"/>
                <a:gd name="T44" fmla="*/ 95 w 124"/>
                <a:gd name="T45" fmla="*/ 76 h 133"/>
                <a:gd name="T46" fmla="*/ 105 w 124"/>
                <a:gd name="T47" fmla="*/ 76 h 133"/>
                <a:gd name="T48" fmla="*/ 124 w 124"/>
                <a:gd name="T49" fmla="*/ 57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4"/>
                <a:gd name="T76" fmla="*/ 0 h 133"/>
                <a:gd name="T77" fmla="*/ 124 w 124"/>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4" h="133">
                  <a:moveTo>
                    <a:pt x="124" y="57"/>
                  </a:moveTo>
                  <a:lnTo>
                    <a:pt x="114" y="57"/>
                  </a:lnTo>
                  <a:lnTo>
                    <a:pt x="105" y="38"/>
                  </a:lnTo>
                  <a:lnTo>
                    <a:pt x="105" y="28"/>
                  </a:lnTo>
                  <a:lnTo>
                    <a:pt x="86" y="9"/>
                  </a:lnTo>
                  <a:lnTo>
                    <a:pt x="86" y="0"/>
                  </a:lnTo>
                  <a:lnTo>
                    <a:pt x="67" y="0"/>
                  </a:lnTo>
                  <a:lnTo>
                    <a:pt x="57" y="9"/>
                  </a:lnTo>
                  <a:lnTo>
                    <a:pt x="38" y="0"/>
                  </a:lnTo>
                  <a:lnTo>
                    <a:pt x="19" y="9"/>
                  </a:lnTo>
                  <a:lnTo>
                    <a:pt x="10" y="57"/>
                  </a:lnTo>
                  <a:lnTo>
                    <a:pt x="0" y="57"/>
                  </a:lnTo>
                  <a:lnTo>
                    <a:pt x="0" y="95"/>
                  </a:lnTo>
                  <a:lnTo>
                    <a:pt x="10" y="104"/>
                  </a:lnTo>
                  <a:lnTo>
                    <a:pt x="10" y="133"/>
                  </a:lnTo>
                  <a:lnTo>
                    <a:pt x="29" y="133"/>
                  </a:lnTo>
                  <a:lnTo>
                    <a:pt x="48" y="104"/>
                  </a:lnTo>
                  <a:lnTo>
                    <a:pt x="57" y="114"/>
                  </a:lnTo>
                  <a:lnTo>
                    <a:pt x="76" y="114"/>
                  </a:lnTo>
                  <a:lnTo>
                    <a:pt x="86" y="104"/>
                  </a:lnTo>
                  <a:lnTo>
                    <a:pt x="86" y="85"/>
                  </a:lnTo>
                  <a:lnTo>
                    <a:pt x="95" y="76"/>
                  </a:lnTo>
                  <a:lnTo>
                    <a:pt x="105" y="76"/>
                  </a:lnTo>
                  <a:lnTo>
                    <a:pt x="124" y="5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26" name="Freeform 204">
              <a:extLst>
                <a:ext uri="{FF2B5EF4-FFF2-40B4-BE49-F238E27FC236}">
                  <a16:creationId xmlns:a16="http://schemas.microsoft.com/office/drawing/2014/main" id="{189A4C4F-35E1-46EC-9D3A-9545F0447BA1}"/>
                </a:ext>
              </a:extLst>
            </p:cNvPr>
            <p:cNvSpPr>
              <a:spLocks/>
            </p:cNvSpPr>
            <p:nvPr/>
          </p:nvSpPr>
          <p:spPr bwMode="gray">
            <a:xfrm>
              <a:off x="2989" y="3111"/>
              <a:ext cx="124" cy="133"/>
            </a:xfrm>
            <a:custGeom>
              <a:avLst/>
              <a:gdLst>
                <a:gd name="T0" fmla="*/ 124 w 124"/>
                <a:gd name="T1" fmla="*/ 57 h 133"/>
                <a:gd name="T2" fmla="*/ 114 w 124"/>
                <a:gd name="T3" fmla="*/ 57 h 133"/>
                <a:gd name="T4" fmla="*/ 105 w 124"/>
                <a:gd name="T5" fmla="*/ 38 h 133"/>
                <a:gd name="T6" fmla="*/ 105 w 124"/>
                <a:gd name="T7" fmla="*/ 28 h 133"/>
                <a:gd name="T8" fmla="*/ 86 w 124"/>
                <a:gd name="T9" fmla="*/ 9 h 133"/>
                <a:gd name="T10" fmla="*/ 86 w 124"/>
                <a:gd name="T11" fmla="*/ 0 h 133"/>
                <a:gd name="T12" fmla="*/ 67 w 124"/>
                <a:gd name="T13" fmla="*/ 0 h 133"/>
                <a:gd name="T14" fmla="*/ 57 w 124"/>
                <a:gd name="T15" fmla="*/ 9 h 133"/>
                <a:gd name="T16" fmla="*/ 38 w 124"/>
                <a:gd name="T17" fmla="*/ 0 h 133"/>
                <a:gd name="T18" fmla="*/ 19 w 124"/>
                <a:gd name="T19" fmla="*/ 9 h 133"/>
                <a:gd name="T20" fmla="*/ 10 w 124"/>
                <a:gd name="T21" fmla="*/ 57 h 133"/>
                <a:gd name="T22" fmla="*/ 0 w 124"/>
                <a:gd name="T23" fmla="*/ 57 h 133"/>
                <a:gd name="T24" fmla="*/ 0 w 124"/>
                <a:gd name="T25" fmla="*/ 95 h 133"/>
                <a:gd name="T26" fmla="*/ 10 w 124"/>
                <a:gd name="T27" fmla="*/ 104 h 133"/>
                <a:gd name="T28" fmla="*/ 10 w 124"/>
                <a:gd name="T29" fmla="*/ 133 h 133"/>
                <a:gd name="T30" fmla="*/ 29 w 124"/>
                <a:gd name="T31" fmla="*/ 133 h 133"/>
                <a:gd name="T32" fmla="*/ 48 w 124"/>
                <a:gd name="T33" fmla="*/ 104 h 133"/>
                <a:gd name="T34" fmla="*/ 48 w 124"/>
                <a:gd name="T35" fmla="*/ 104 h 133"/>
                <a:gd name="T36" fmla="*/ 57 w 124"/>
                <a:gd name="T37" fmla="*/ 114 h 133"/>
                <a:gd name="T38" fmla="*/ 76 w 124"/>
                <a:gd name="T39" fmla="*/ 114 h 133"/>
                <a:gd name="T40" fmla="*/ 86 w 124"/>
                <a:gd name="T41" fmla="*/ 104 h 133"/>
                <a:gd name="T42" fmla="*/ 86 w 124"/>
                <a:gd name="T43" fmla="*/ 85 h 133"/>
                <a:gd name="T44" fmla="*/ 95 w 124"/>
                <a:gd name="T45" fmla="*/ 76 h 133"/>
                <a:gd name="T46" fmla="*/ 105 w 124"/>
                <a:gd name="T47" fmla="*/ 76 h 133"/>
                <a:gd name="T48" fmla="*/ 124 w 124"/>
                <a:gd name="T49" fmla="*/ 57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4"/>
                <a:gd name="T76" fmla="*/ 0 h 133"/>
                <a:gd name="T77" fmla="*/ 124 w 124"/>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4" h="133">
                  <a:moveTo>
                    <a:pt x="124" y="57"/>
                  </a:moveTo>
                  <a:lnTo>
                    <a:pt x="114" y="57"/>
                  </a:lnTo>
                  <a:lnTo>
                    <a:pt x="105" y="38"/>
                  </a:lnTo>
                  <a:lnTo>
                    <a:pt x="105" y="28"/>
                  </a:lnTo>
                  <a:lnTo>
                    <a:pt x="86" y="9"/>
                  </a:lnTo>
                  <a:lnTo>
                    <a:pt x="86" y="0"/>
                  </a:lnTo>
                  <a:lnTo>
                    <a:pt x="67" y="0"/>
                  </a:lnTo>
                  <a:lnTo>
                    <a:pt x="57" y="9"/>
                  </a:lnTo>
                  <a:lnTo>
                    <a:pt x="38" y="0"/>
                  </a:lnTo>
                  <a:lnTo>
                    <a:pt x="19" y="9"/>
                  </a:lnTo>
                  <a:lnTo>
                    <a:pt x="10" y="57"/>
                  </a:lnTo>
                  <a:lnTo>
                    <a:pt x="0" y="57"/>
                  </a:lnTo>
                  <a:lnTo>
                    <a:pt x="0" y="95"/>
                  </a:lnTo>
                  <a:lnTo>
                    <a:pt x="10" y="104"/>
                  </a:lnTo>
                  <a:lnTo>
                    <a:pt x="10" y="133"/>
                  </a:lnTo>
                  <a:lnTo>
                    <a:pt x="29" y="133"/>
                  </a:lnTo>
                  <a:lnTo>
                    <a:pt x="48" y="104"/>
                  </a:lnTo>
                  <a:lnTo>
                    <a:pt x="57" y="114"/>
                  </a:lnTo>
                  <a:lnTo>
                    <a:pt x="76" y="114"/>
                  </a:lnTo>
                  <a:lnTo>
                    <a:pt x="86" y="104"/>
                  </a:lnTo>
                  <a:lnTo>
                    <a:pt x="86" y="85"/>
                  </a:lnTo>
                  <a:lnTo>
                    <a:pt x="95" y="76"/>
                  </a:lnTo>
                  <a:lnTo>
                    <a:pt x="105" y="76"/>
                  </a:lnTo>
                  <a:lnTo>
                    <a:pt x="124" y="5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27" name="Freeform 205">
              <a:extLst>
                <a:ext uri="{FF2B5EF4-FFF2-40B4-BE49-F238E27FC236}">
                  <a16:creationId xmlns:a16="http://schemas.microsoft.com/office/drawing/2014/main" id="{D25EC1CA-52B3-474E-84F5-6EFA20BE1E80}"/>
                </a:ext>
              </a:extLst>
            </p:cNvPr>
            <p:cNvSpPr>
              <a:spLocks/>
            </p:cNvSpPr>
            <p:nvPr/>
          </p:nvSpPr>
          <p:spPr bwMode="gray">
            <a:xfrm>
              <a:off x="3075" y="3082"/>
              <a:ext cx="105" cy="95"/>
            </a:xfrm>
            <a:custGeom>
              <a:avLst/>
              <a:gdLst>
                <a:gd name="T0" fmla="*/ 38 w 105"/>
                <a:gd name="T1" fmla="*/ 9 h 95"/>
                <a:gd name="T2" fmla="*/ 38 w 105"/>
                <a:gd name="T3" fmla="*/ 9 h 95"/>
                <a:gd name="T4" fmla="*/ 28 w 105"/>
                <a:gd name="T5" fmla="*/ 19 h 95"/>
                <a:gd name="T6" fmla="*/ 19 w 105"/>
                <a:gd name="T7" fmla="*/ 19 h 95"/>
                <a:gd name="T8" fmla="*/ 9 w 105"/>
                <a:gd name="T9" fmla="*/ 29 h 95"/>
                <a:gd name="T10" fmla="*/ 0 w 105"/>
                <a:gd name="T11" fmla="*/ 29 h 95"/>
                <a:gd name="T12" fmla="*/ 0 w 105"/>
                <a:gd name="T13" fmla="*/ 38 h 95"/>
                <a:gd name="T14" fmla="*/ 19 w 105"/>
                <a:gd name="T15" fmla="*/ 57 h 95"/>
                <a:gd name="T16" fmla="*/ 19 w 105"/>
                <a:gd name="T17" fmla="*/ 67 h 95"/>
                <a:gd name="T18" fmla="*/ 28 w 105"/>
                <a:gd name="T19" fmla="*/ 86 h 95"/>
                <a:gd name="T20" fmla="*/ 38 w 105"/>
                <a:gd name="T21" fmla="*/ 86 h 95"/>
                <a:gd name="T22" fmla="*/ 47 w 105"/>
                <a:gd name="T23" fmla="*/ 86 h 95"/>
                <a:gd name="T24" fmla="*/ 57 w 105"/>
                <a:gd name="T25" fmla="*/ 86 h 95"/>
                <a:gd name="T26" fmla="*/ 76 w 105"/>
                <a:gd name="T27" fmla="*/ 95 h 95"/>
                <a:gd name="T28" fmla="*/ 86 w 105"/>
                <a:gd name="T29" fmla="*/ 86 h 95"/>
                <a:gd name="T30" fmla="*/ 86 w 105"/>
                <a:gd name="T31" fmla="*/ 67 h 95"/>
                <a:gd name="T32" fmla="*/ 95 w 105"/>
                <a:gd name="T33" fmla="*/ 57 h 95"/>
                <a:gd name="T34" fmla="*/ 105 w 105"/>
                <a:gd name="T35" fmla="*/ 57 h 95"/>
                <a:gd name="T36" fmla="*/ 95 w 105"/>
                <a:gd name="T37" fmla="*/ 48 h 95"/>
                <a:gd name="T38" fmla="*/ 95 w 105"/>
                <a:gd name="T39" fmla="*/ 38 h 95"/>
                <a:gd name="T40" fmla="*/ 95 w 105"/>
                <a:gd name="T41" fmla="*/ 38 h 95"/>
                <a:gd name="T42" fmla="*/ 95 w 105"/>
                <a:gd name="T43" fmla="*/ 19 h 95"/>
                <a:gd name="T44" fmla="*/ 95 w 105"/>
                <a:gd name="T45" fmla="*/ 9 h 95"/>
                <a:gd name="T46" fmla="*/ 57 w 105"/>
                <a:gd name="T47" fmla="*/ 0 h 95"/>
                <a:gd name="T48" fmla="*/ 38 w 105"/>
                <a:gd name="T49" fmla="*/ 0 h 95"/>
                <a:gd name="T50" fmla="*/ 38 w 105"/>
                <a:gd name="T51" fmla="*/ 9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5"/>
                <a:gd name="T79" fmla="*/ 0 h 95"/>
                <a:gd name="T80" fmla="*/ 105 w 105"/>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5" h="95">
                  <a:moveTo>
                    <a:pt x="38" y="9"/>
                  </a:moveTo>
                  <a:lnTo>
                    <a:pt x="38" y="9"/>
                  </a:lnTo>
                  <a:lnTo>
                    <a:pt x="28" y="19"/>
                  </a:lnTo>
                  <a:lnTo>
                    <a:pt x="19" y="19"/>
                  </a:lnTo>
                  <a:lnTo>
                    <a:pt x="9" y="29"/>
                  </a:lnTo>
                  <a:lnTo>
                    <a:pt x="0" y="29"/>
                  </a:lnTo>
                  <a:lnTo>
                    <a:pt x="0" y="38"/>
                  </a:lnTo>
                  <a:lnTo>
                    <a:pt x="19" y="57"/>
                  </a:lnTo>
                  <a:lnTo>
                    <a:pt x="19" y="67"/>
                  </a:lnTo>
                  <a:lnTo>
                    <a:pt x="28" y="86"/>
                  </a:lnTo>
                  <a:lnTo>
                    <a:pt x="38" y="86"/>
                  </a:lnTo>
                  <a:lnTo>
                    <a:pt x="47" y="86"/>
                  </a:lnTo>
                  <a:lnTo>
                    <a:pt x="57" y="86"/>
                  </a:lnTo>
                  <a:lnTo>
                    <a:pt x="76" y="95"/>
                  </a:lnTo>
                  <a:lnTo>
                    <a:pt x="86" y="86"/>
                  </a:lnTo>
                  <a:lnTo>
                    <a:pt x="86" y="67"/>
                  </a:lnTo>
                  <a:lnTo>
                    <a:pt x="95" y="57"/>
                  </a:lnTo>
                  <a:lnTo>
                    <a:pt x="105" y="57"/>
                  </a:lnTo>
                  <a:lnTo>
                    <a:pt x="95" y="48"/>
                  </a:lnTo>
                  <a:lnTo>
                    <a:pt x="95" y="38"/>
                  </a:lnTo>
                  <a:lnTo>
                    <a:pt x="95" y="19"/>
                  </a:lnTo>
                  <a:lnTo>
                    <a:pt x="95" y="9"/>
                  </a:lnTo>
                  <a:lnTo>
                    <a:pt x="57" y="0"/>
                  </a:lnTo>
                  <a:lnTo>
                    <a:pt x="38" y="0"/>
                  </a:lnTo>
                  <a:lnTo>
                    <a:pt x="38"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28" name="Freeform 206">
              <a:extLst>
                <a:ext uri="{FF2B5EF4-FFF2-40B4-BE49-F238E27FC236}">
                  <a16:creationId xmlns:a16="http://schemas.microsoft.com/office/drawing/2014/main" id="{D09F7338-E3DB-4F71-9BA9-59E3FC265409}"/>
                </a:ext>
              </a:extLst>
            </p:cNvPr>
            <p:cNvSpPr>
              <a:spLocks/>
            </p:cNvSpPr>
            <p:nvPr/>
          </p:nvSpPr>
          <p:spPr bwMode="gray">
            <a:xfrm>
              <a:off x="3075" y="3082"/>
              <a:ext cx="105" cy="95"/>
            </a:xfrm>
            <a:custGeom>
              <a:avLst/>
              <a:gdLst>
                <a:gd name="T0" fmla="*/ 38 w 105"/>
                <a:gd name="T1" fmla="*/ 9 h 95"/>
                <a:gd name="T2" fmla="*/ 38 w 105"/>
                <a:gd name="T3" fmla="*/ 9 h 95"/>
                <a:gd name="T4" fmla="*/ 28 w 105"/>
                <a:gd name="T5" fmla="*/ 19 h 95"/>
                <a:gd name="T6" fmla="*/ 19 w 105"/>
                <a:gd name="T7" fmla="*/ 19 h 95"/>
                <a:gd name="T8" fmla="*/ 9 w 105"/>
                <a:gd name="T9" fmla="*/ 29 h 95"/>
                <a:gd name="T10" fmla="*/ 0 w 105"/>
                <a:gd name="T11" fmla="*/ 29 h 95"/>
                <a:gd name="T12" fmla="*/ 0 w 105"/>
                <a:gd name="T13" fmla="*/ 38 h 95"/>
                <a:gd name="T14" fmla="*/ 19 w 105"/>
                <a:gd name="T15" fmla="*/ 57 h 95"/>
                <a:gd name="T16" fmla="*/ 19 w 105"/>
                <a:gd name="T17" fmla="*/ 67 h 95"/>
                <a:gd name="T18" fmla="*/ 28 w 105"/>
                <a:gd name="T19" fmla="*/ 86 h 95"/>
                <a:gd name="T20" fmla="*/ 38 w 105"/>
                <a:gd name="T21" fmla="*/ 86 h 95"/>
                <a:gd name="T22" fmla="*/ 47 w 105"/>
                <a:gd name="T23" fmla="*/ 86 h 95"/>
                <a:gd name="T24" fmla="*/ 57 w 105"/>
                <a:gd name="T25" fmla="*/ 86 h 95"/>
                <a:gd name="T26" fmla="*/ 76 w 105"/>
                <a:gd name="T27" fmla="*/ 95 h 95"/>
                <a:gd name="T28" fmla="*/ 86 w 105"/>
                <a:gd name="T29" fmla="*/ 86 h 95"/>
                <a:gd name="T30" fmla="*/ 86 w 105"/>
                <a:gd name="T31" fmla="*/ 67 h 95"/>
                <a:gd name="T32" fmla="*/ 95 w 105"/>
                <a:gd name="T33" fmla="*/ 57 h 95"/>
                <a:gd name="T34" fmla="*/ 105 w 105"/>
                <a:gd name="T35" fmla="*/ 57 h 95"/>
                <a:gd name="T36" fmla="*/ 95 w 105"/>
                <a:gd name="T37" fmla="*/ 48 h 95"/>
                <a:gd name="T38" fmla="*/ 95 w 105"/>
                <a:gd name="T39" fmla="*/ 38 h 95"/>
                <a:gd name="T40" fmla="*/ 95 w 105"/>
                <a:gd name="T41" fmla="*/ 38 h 95"/>
                <a:gd name="T42" fmla="*/ 95 w 105"/>
                <a:gd name="T43" fmla="*/ 19 h 95"/>
                <a:gd name="T44" fmla="*/ 95 w 105"/>
                <a:gd name="T45" fmla="*/ 9 h 95"/>
                <a:gd name="T46" fmla="*/ 57 w 105"/>
                <a:gd name="T47" fmla="*/ 0 h 95"/>
                <a:gd name="T48" fmla="*/ 38 w 105"/>
                <a:gd name="T49" fmla="*/ 0 h 95"/>
                <a:gd name="T50" fmla="*/ 38 w 105"/>
                <a:gd name="T51" fmla="*/ 9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5"/>
                <a:gd name="T79" fmla="*/ 0 h 95"/>
                <a:gd name="T80" fmla="*/ 105 w 105"/>
                <a:gd name="T81" fmla="*/ 95 h 9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5" h="95">
                  <a:moveTo>
                    <a:pt x="38" y="9"/>
                  </a:moveTo>
                  <a:lnTo>
                    <a:pt x="38" y="9"/>
                  </a:lnTo>
                  <a:lnTo>
                    <a:pt x="28" y="19"/>
                  </a:lnTo>
                  <a:lnTo>
                    <a:pt x="19" y="19"/>
                  </a:lnTo>
                  <a:lnTo>
                    <a:pt x="9" y="29"/>
                  </a:lnTo>
                  <a:lnTo>
                    <a:pt x="0" y="29"/>
                  </a:lnTo>
                  <a:lnTo>
                    <a:pt x="0" y="38"/>
                  </a:lnTo>
                  <a:lnTo>
                    <a:pt x="19" y="57"/>
                  </a:lnTo>
                  <a:lnTo>
                    <a:pt x="19" y="67"/>
                  </a:lnTo>
                  <a:lnTo>
                    <a:pt x="28" y="86"/>
                  </a:lnTo>
                  <a:lnTo>
                    <a:pt x="38" y="86"/>
                  </a:lnTo>
                  <a:lnTo>
                    <a:pt x="47" y="86"/>
                  </a:lnTo>
                  <a:lnTo>
                    <a:pt x="57" y="86"/>
                  </a:lnTo>
                  <a:lnTo>
                    <a:pt x="76" y="95"/>
                  </a:lnTo>
                  <a:lnTo>
                    <a:pt x="86" y="86"/>
                  </a:lnTo>
                  <a:lnTo>
                    <a:pt x="86" y="67"/>
                  </a:lnTo>
                  <a:lnTo>
                    <a:pt x="95" y="57"/>
                  </a:lnTo>
                  <a:lnTo>
                    <a:pt x="105" y="57"/>
                  </a:lnTo>
                  <a:lnTo>
                    <a:pt x="95" y="48"/>
                  </a:lnTo>
                  <a:lnTo>
                    <a:pt x="95" y="38"/>
                  </a:lnTo>
                  <a:lnTo>
                    <a:pt x="95" y="19"/>
                  </a:lnTo>
                  <a:lnTo>
                    <a:pt x="95" y="9"/>
                  </a:lnTo>
                  <a:lnTo>
                    <a:pt x="57" y="0"/>
                  </a:lnTo>
                  <a:lnTo>
                    <a:pt x="38" y="0"/>
                  </a:lnTo>
                  <a:lnTo>
                    <a:pt x="38"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29" name="Rectangle 207">
              <a:extLst>
                <a:ext uri="{FF2B5EF4-FFF2-40B4-BE49-F238E27FC236}">
                  <a16:creationId xmlns:a16="http://schemas.microsoft.com/office/drawing/2014/main" id="{98C8AACE-1231-45DE-8BEB-2AD87E2AEE6F}"/>
                </a:ext>
              </a:extLst>
            </p:cNvPr>
            <p:cNvSpPr>
              <a:spLocks noChangeArrowheads="1"/>
            </p:cNvSpPr>
            <p:nvPr/>
          </p:nvSpPr>
          <p:spPr bwMode="gray">
            <a:xfrm>
              <a:off x="2837" y="2834"/>
              <a:ext cx="19" cy="19"/>
            </a:xfrm>
            <a:prstGeom prst="rect">
              <a:avLst/>
            </a:pr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30" name="Rectangle 208">
              <a:extLst>
                <a:ext uri="{FF2B5EF4-FFF2-40B4-BE49-F238E27FC236}">
                  <a16:creationId xmlns:a16="http://schemas.microsoft.com/office/drawing/2014/main" id="{24FD5D55-AA9F-4DE2-A626-A7C2B47FB0A4}"/>
                </a:ext>
              </a:extLst>
            </p:cNvPr>
            <p:cNvSpPr>
              <a:spLocks noChangeArrowheads="1"/>
            </p:cNvSpPr>
            <p:nvPr/>
          </p:nvSpPr>
          <p:spPr bwMode="gray">
            <a:xfrm>
              <a:off x="2837" y="2834"/>
              <a:ext cx="19" cy="19"/>
            </a:xfrm>
            <a:prstGeom prst="rect">
              <a:avLst/>
            </a:pr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31" name="Freeform 209">
              <a:extLst>
                <a:ext uri="{FF2B5EF4-FFF2-40B4-BE49-F238E27FC236}">
                  <a16:creationId xmlns:a16="http://schemas.microsoft.com/office/drawing/2014/main" id="{9BAA1A9F-777B-4B21-9D74-77553AA0B0E1}"/>
                </a:ext>
              </a:extLst>
            </p:cNvPr>
            <p:cNvSpPr>
              <a:spLocks/>
            </p:cNvSpPr>
            <p:nvPr/>
          </p:nvSpPr>
          <p:spPr bwMode="gray">
            <a:xfrm>
              <a:off x="2532" y="2757"/>
              <a:ext cx="47" cy="48"/>
            </a:xfrm>
            <a:custGeom>
              <a:avLst/>
              <a:gdLst>
                <a:gd name="T0" fmla="*/ 38 w 47"/>
                <a:gd name="T1" fmla="*/ 10 h 48"/>
                <a:gd name="T2" fmla="*/ 38 w 47"/>
                <a:gd name="T3" fmla="*/ 29 h 48"/>
                <a:gd name="T4" fmla="*/ 47 w 47"/>
                <a:gd name="T5" fmla="*/ 29 h 48"/>
                <a:gd name="T6" fmla="*/ 47 w 47"/>
                <a:gd name="T7" fmla="*/ 39 h 48"/>
                <a:gd name="T8" fmla="*/ 47 w 47"/>
                <a:gd name="T9" fmla="*/ 48 h 48"/>
                <a:gd name="T10" fmla="*/ 28 w 47"/>
                <a:gd name="T11" fmla="*/ 48 h 48"/>
                <a:gd name="T12" fmla="*/ 9 w 47"/>
                <a:gd name="T13" fmla="*/ 29 h 48"/>
                <a:gd name="T14" fmla="*/ 0 w 47"/>
                <a:gd name="T15" fmla="*/ 19 h 48"/>
                <a:gd name="T16" fmla="*/ 9 w 47"/>
                <a:gd name="T17" fmla="*/ 0 h 48"/>
                <a:gd name="T18" fmla="*/ 19 w 47"/>
                <a:gd name="T19" fmla="*/ 0 h 48"/>
                <a:gd name="T20" fmla="*/ 28 w 47"/>
                <a:gd name="T21" fmla="*/ 10 h 48"/>
                <a:gd name="T22" fmla="*/ 38 w 47"/>
                <a:gd name="T23" fmla="*/ 10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48"/>
                <a:gd name="T38" fmla="*/ 47 w 47"/>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48">
                  <a:moveTo>
                    <a:pt x="38" y="10"/>
                  </a:moveTo>
                  <a:lnTo>
                    <a:pt x="38" y="29"/>
                  </a:lnTo>
                  <a:lnTo>
                    <a:pt x="47" y="29"/>
                  </a:lnTo>
                  <a:lnTo>
                    <a:pt x="47" y="39"/>
                  </a:lnTo>
                  <a:lnTo>
                    <a:pt x="47" y="48"/>
                  </a:lnTo>
                  <a:lnTo>
                    <a:pt x="28" y="48"/>
                  </a:lnTo>
                  <a:lnTo>
                    <a:pt x="9" y="29"/>
                  </a:lnTo>
                  <a:lnTo>
                    <a:pt x="0" y="19"/>
                  </a:lnTo>
                  <a:lnTo>
                    <a:pt x="9" y="0"/>
                  </a:lnTo>
                  <a:lnTo>
                    <a:pt x="19" y="0"/>
                  </a:lnTo>
                  <a:lnTo>
                    <a:pt x="28" y="10"/>
                  </a:lnTo>
                  <a:lnTo>
                    <a:pt x="38"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32" name="Freeform 210">
              <a:extLst>
                <a:ext uri="{FF2B5EF4-FFF2-40B4-BE49-F238E27FC236}">
                  <a16:creationId xmlns:a16="http://schemas.microsoft.com/office/drawing/2014/main" id="{544DB608-DE68-4AFA-BCFF-6840564177C8}"/>
                </a:ext>
              </a:extLst>
            </p:cNvPr>
            <p:cNvSpPr>
              <a:spLocks/>
            </p:cNvSpPr>
            <p:nvPr/>
          </p:nvSpPr>
          <p:spPr bwMode="gray">
            <a:xfrm>
              <a:off x="2532" y="2757"/>
              <a:ext cx="47" cy="48"/>
            </a:xfrm>
            <a:custGeom>
              <a:avLst/>
              <a:gdLst>
                <a:gd name="T0" fmla="*/ 38 w 47"/>
                <a:gd name="T1" fmla="*/ 10 h 48"/>
                <a:gd name="T2" fmla="*/ 38 w 47"/>
                <a:gd name="T3" fmla="*/ 29 h 48"/>
                <a:gd name="T4" fmla="*/ 47 w 47"/>
                <a:gd name="T5" fmla="*/ 29 h 48"/>
                <a:gd name="T6" fmla="*/ 47 w 47"/>
                <a:gd name="T7" fmla="*/ 39 h 48"/>
                <a:gd name="T8" fmla="*/ 47 w 47"/>
                <a:gd name="T9" fmla="*/ 48 h 48"/>
                <a:gd name="T10" fmla="*/ 28 w 47"/>
                <a:gd name="T11" fmla="*/ 48 h 48"/>
                <a:gd name="T12" fmla="*/ 9 w 47"/>
                <a:gd name="T13" fmla="*/ 29 h 48"/>
                <a:gd name="T14" fmla="*/ 0 w 47"/>
                <a:gd name="T15" fmla="*/ 19 h 48"/>
                <a:gd name="T16" fmla="*/ 9 w 47"/>
                <a:gd name="T17" fmla="*/ 0 h 48"/>
                <a:gd name="T18" fmla="*/ 19 w 47"/>
                <a:gd name="T19" fmla="*/ 0 h 48"/>
                <a:gd name="T20" fmla="*/ 28 w 47"/>
                <a:gd name="T21" fmla="*/ 10 h 48"/>
                <a:gd name="T22" fmla="*/ 38 w 47"/>
                <a:gd name="T23" fmla="*/ 10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48"/>
                <a:gd name="T38" fmla="*/ 47 w 47"/>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48">
                  <a:moveTo>
                    <a:pt x="38" y="10"/>
                  </a:moveTo>
                  <a:lnTo>
                    <a:pt x="38" y="29"/>
                  </a:lnTo>
                  <a:lnTo>
                    <a:pt x="47" y="29"/>
                  </a:lnTo>
                  <a:lnTo>
                    <a:pt x="47" y="39"/>
                  </a:lnTo>
                  <a:lnTo>
                    <a:pt x="47" y="48"/>
                  </a:lnTo>
                  <a:lnTo>
                    <a:pt x="28" y="48"/>
                  </a:lnTo>
                  <a:lnTo>
                    <a:pt x="9" y="29"/>
                  </a:lnTo>
                  <a:lnTo>
                    <a:pt x="0" y="19"/>
                  </a:lnTo>
                  <a:lnTo>
                    <a:pt x="9" y="0"/>
                  </a:lnTo>
                  <a:lnTo>
                    <a:pt x="19" y="0"/>
                  </a:lnTo>
                  <a:lnTo>
                    <a:pt x="28" y="10"/>
                  </a:lnTo>
                  <a:lnTo>
                    <a:pt x="38"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33" name="Freeform 211">
              <a:extLst>
                <a:ext uri="{FF2B5EF4-FFF2-40B4-BE49-F238E27FC236}">
                  <a16:creationId xmlns:a16="http://schemas.microsoft.com/office/drawing/2014/main" id="{616A1F15-4555-4040-A720-DBC66FB5D763}"/>
                </a:ext>
              </a:extLst>
            </p:cNvPr>
            <p:cNvSpPr>
              <a:spLocks/>
            </p:cNvSpPr>
            <p:nvPr/>
          </p:nvSpPr>
          <p:spPr bwMode="gray">
            <a:xfrm>
              <a:off x="3122" y="2901"/>
              <a:ext cx="20" cy="19"/>
            </a:xfrm>
            <a:custGeom>
              <a:avLst/>
              <a:gdLst>
                <a:gd name="T0" fmla="*/ 0 w 20"/>
                <a:gd name="T1" fmla="*/ 0 h 19"/>
                <a:gd name="T2" fmla="*/ 0 w 20"/>
                <a:gd name="T3" fmla="*/ 0 h 19"/>
                <a:gd name="T4" fmla="*/ 0 w 20"/>
                <a:gd name="T5" fmla="*/ 0 h 19"/>
                <a:gd name="T6" fmla="*/ 10 w 20"/>
                <a:gd name="T7" fmla="*/ 0 h 19"/>
                <a:gd name="T8" fmla="*/ 10 w 20"/>
                <a:gd name="T9" fmla="*/ 0 h 19"/>
                <a:gd name="T10" fmla="*/ 10 w 20"/>
                <a:gd name="T11" fmla="*/ 0 h 19"/>
                <a:gd name="T12" fmla="*/ 20 w 20"/>
                <a:gd name="T13" fmla="*/ 0 h 19"/>
                <a:gd name="T14" fmla="*/ 20 w 20"/>
                <a:gd name="T15" fmla="*/ 9 h 19"/>
                <a:gd name="T16" fmla="*/ 10 w 20"/>
                <a:gd name="T17" fmla="*/ 9 h 19"/>
                <a:gd name="T18" fmla="*/ 10 w 20"/>
                <a:gd name="T19" fmla="*/ 19 h 19"/>
                <a:gd name="T20" fmla="*/ 0 w 20"/>
                <a:gd name="T21" fmla="*/ 19 h 19"/>
                <a:gd name="T22" fmla="*/ 0 w 20"/>
                <a:gd name="T23" fmla="*/ 9 h 19"/>
                <a:gd name="T24" fmla="*/ 0 w 20"/>
                <a:gd name="T25" fmla="*/ 9 h 19"/>
                <a:gd name="T26" fmla="*/ 0 w 20"/>
                <a:gd name="T27" fmla="*/ 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9"/>
                <a:gd name="T44" fmla="*/ 20 w 20"/>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9">
                  <a:moveTo>
                    <a:pt x="0" y="0"/>
                  </a:moveTo>
                  <a:lnTo>
                    <a:pt x="0" y="0"/>
                  </a:lnTo>
                  <a:lnTo>
                    <a:pt x="10" y="0"/>
                  </a:lnTo>
                  <a:lnTo>
                    <a:pt x="20" y="0"/>
                  </a:lnTo>
                  <a:lnTo>
                    <a:pt x="20" y="9"/>
                  </a:lnTo>
                  <a:lnTo>
                    <a:pt x="10" y="9"/>
                  </a:lnTo>
                  <a:lnTo>
                    <a:pt x="10" y="19"/>
                  </a:lnTo>
                  <a:lnTo>
                    <a:pt x="0" y="19"/>
                  </a:lnTo>
                  <a:lnTo>
                    <a:pt x="0"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34" name="Freeform 212">
              <a:extLst>
                <a:ext uri="{FF2B5EF4-FFF2-40B4-BE49-F238E27FC236}">
                  <a16:creationId xmlns:a16="http://schemas.microsoft.com/office/drawing/2014/main" id="{BAA86F1E-2A2B-4A1F-AA9F-926F9E36E8D9}"/>
                </a:ext>
              </a:extLst>
            </p:cNvPr>
            <p:cNvSpPr>
              <a:spLocks/>
            </p:cNvSpPr>
            <p:nvPr/>
          </p:nvSpPr>
          <p:spPr bwMode="gray">
            <a:xfrm>
              <a:off x="2989" y="1975"/>
              <a:ext cx="38" cy="19"/>
            </a:xfrm>
            <a:custGeom>
              <a:avLst/>
              <a:gdLst>
                <a:gd name="T0" fmla="*/ 38 w 38"/>
                <a:gd name="T1" fmla="*/ 19 h 19"/>
                <a:gd name="T2" fmla="*/ 19 w 38"/>
                <a:gd name="T3" fmla="*/ 19 h 19"/>
                <a:gd name="T4" fmla="*/ 0 w 38"/>
                <a:gd name="T5" fmla="*/ 19 h 19"/>
                <a:gd name="T6" fmla="*/ 0 w 38"/>
                <a:gd name="T7" fmla="*/ 9 h 19"/>
                <a:gd name="T8" fmla="*/ 0 w 38"/>
                <a:gd name="T9" fmla="*/ 9 h 19"/>
                <a:gd name="T10" fmla="*/ 0 w 38"/>
                <a:gd name="T11" fmla="*/ 9 h 19"/>
                <a:gd name="T12" fmla="*/ 0 w 38"/>
                <a:gd name="T13" fmla="*/ 0 h 19"/>
                <a:gd name="T14" fmla="*/ 10 w 38"/>
                <a:gd name="T15" fmla="*/ 0 h 19"/>
                <a:gd name="T16" fmla="*/ 19 w 38"/>
                <a:gd name="T17" fmla="*/ 0 h 19"/>
                <a:gd name="T18" fmla="*/ 29 w 38"/>
                <a:gd name="T19" fmla="*/ 0 h 19"/>
                <a:gd name="T20" fmla="*/ 38 w 38"/>
                <a:gd name="T21" fmla="*/ 0 h 19"/>
                <a:gd name="T22" fmla="*/ 38 w 38"/>
                <a:gd name="T23" fmla="*/ 19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19"/>
                <a:gd name="T38" fmla="*/ 38 w 38"/>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19">
                  <a:moveTo>
                    <a:pt x="38" y="19"/>
                  </a:moveTo>
                  <a:lnTo>
                    <a:pt x="19" y="19"/>
                  </a:lnTo>
                  <a:lnTo>
                    <a:pt x="0" y="19"/>
                  </a:lnTo>
                  <a:lnTo>
                    <a:pt x="0" y="9"/>
                  </a:lnTo>
                  <a:lnTo>
                    <a:pt x="0" y="0"/>
                  </a:lnTo>
                  <a:lnTo>
                    <a:pt x="10" y="0"/>
                  </a:lnTo>
                  <a:lnTo>
                    <a:pt x="19" y="0"/>
                  </a:lnTo>
                  <a:lnTo>
                    <a:pt x="29" y="0"/>
                  </a:lnTo>
                  <a:lnTo>
                    <a:pt x="38" y="0"/>
                  </a:lnTo>
                  <a:lnTo>
                    <a:pt x="38"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35" name="Freeform 213">
              <a:extLst>
                <a:ext uri="{FF2B5EF4-FFF2-40B4-BE49-F238E27FC236}">
                  <a16:creationId xmlns:a16="http://schemas.microsoft.com/office/drawing/2014/main" id="{F3DB1641-15D6-45F9-A5F4-A1D569E1FA52}"/>
                </a:ext>
              </a:extLst>
            </p:cNvPr>
            <p:cNvSpPr>
              <a:spLocks/>
            </p:cNvSpPr>
            <p:nvPr/>
          </p:nvSpPr>
          <p:spPr bwMode="gray">
            <a:xfrm>
              <a:off x="2989" y="1975"/>
              <a:ext cx="38" cy="19"/>
            </a:xfrm>
            <a:custGeom>
              <a:avLst/>
              <a:gdLst>
                <a:gd name="T0" fmla="*/ 38 w 38"/>
                <a:gd name="T1" fmla="*/ 19 h 19"/>
                <a:gd name="T2" fmla="*/ 19 w 38"/>
                <a:gd name="T3" fmla="*/ 19 h 19"/>
                <a:gd name="T4" fmla="*/ 0 w 38"/>
                <a:gd name="T5" fmla="*/ 19 h 19"/>
                <a:gd name="T6" fmla="*/ 0 w 38"/>
                <a:gd name="T7" fmla="*/ 9 h 19"/>
                <a:gd name="T8" fmla="*/ 0 w 38"/>
                <a:gd name="T9" fmla="*/ 9 h 19"/>
                <a:gd name="T10" fmla="*/ 0 w 38"/>
                <a:gd name="T11" fmla="*/ 9 h 19"/>
                <a:gd name="T12" fmla="*/ 0 w 38"/>
                <a:gd name="T13" fmla="*/ 0 h 19"/>
                <a:gd name="T14" fmla="*/ 10 w 38"/>
                <a:gd name="T15" fmla="*/ 0 h 19"/>
                <a:gd name="T16" fmla="*/ 19 w 38"/>
                <a:gd name="T17" fmla="*/ 0 h 19"/>
                <a:gd name="T18" fmla="*/ 29 w 38"/>
                <a:gd name="T19" fmla="*/ 0 h 19"/>
                <a:gd name="T20" fmla="*/ 38 w 38"/>
                <a:gd name="T21" fmla="*/ 0 h 19"/>
                <a:gd name="T22" fmla="*/ 38 w 38"/>
                <a:gd name="T23" fmla="*/ 19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19"/>
                <a:gd name="T38" fmla="*/ 38 w 38"/>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19">
                  <a:moveTo>
                    <a:pt x="38" y="19"/>
                  </a:moveTo>
                  <a:lnTo>
                    <a:pt x="19" y="19"/>
                  </a:lnTo>
                  <a:lnTo>
                    <a:pt x="0" y="19"/>
                  </a:lnTo>
                  <a:lnTo>
                    <a:pt x="0" y="9"/>
                  </a:lnTo>
                  <a:lnTo>
                    <a:pt x="0" y="0"/>
                  </a:lnTo>
                  <a:lnTo>
                    <a:pt x="10" y="0"/>
                  </a:lnTo>
                  <a:lnTo>
                    <a:pt x="19" y="0"/>
                  </a:lnTo>
                  <a:lnTo>
                    <a:pt x="29" y="0"/>
                  </a:lnTo>
                  <a:lnTo>
                    <a:pt x="38" y="0"/>
                  </a:lnTo>
                  <a:lnTo>
                    <a:pt x="38"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36" name="Freeform 214">
              <a:extLst>
                <a:ext uri="{FF2B5EF4-FFF2-40B4-BE49-F238E27FC236}">
                  <a16:creationId xmlns:a16="http://schemas.microsoft.com/office/drawing/2014/main" id="{60F6E3F1-9C33-4337-89A5-7C504C49A4E4}"/>
                </a:ext>
              </a:extLst>
            </p:cNvPr>
            <p:cNvSpPr>
              <a:spLocks/>
            </p:cNvSpPr>
            <p:nvPr/>
          </p:nvSpPr>
          <p:spPr bwMode="gray">
            <a:xfrm>
              <a:off x="2903" y="1975"/>
              <a:ext cx="143" cy="133"/>
            </a:xfrm>
            <a:custGeom>
              <a:avLst/>
              <a:gdLst>
                <a:gd name="T0" fmla="*/ 0 w 143"/>
                <a:gd name="T1" fmla="*/ 28 h 133"/>
                <a:gd name="T2" fmla="*/ 10 w 143"/>
                <a:gd name="T3" fmla="*/ 19 h 133"/>
                <a:gd name="T4" fmla="*/ 19 w 143"/>
                <a:gd name="T5" fmla="*/ 19 h 133"/>
                <a:gd name="T6" fmla="*/ 29 w 143"/>
                <a:gd name="T7" fmla="*/ 9 h 133"/>
                <a:gd name="T8" fmla="*/ 38 w 143"/>
                <a:gd name="T9" fmla="*/ 9 h 133"/>
                <a:gd name="T10" fmla="*/ 48 w 143"/>
                <a:gd name="T11" fmla="*/ 0 h 133"/>
                <a:gd name="T12" fmla="*/ 57 w 143"/>
                <a:gd name="T13" fmla="*/ 9 h 133"/>
                <a:gd name="T14" fmla="*/ 57 w 143"/>
                <a:gd name="T15" fmla="*/ 19 h 133"/>
                <a:gd name="T16" fmla="*/ 67 w 143"/>
                <a:gd name="T17" fmla="*/ 19 h 133"/>
                <a:gd name="T18" fmla="*/ 77 w 143"/>
                <a:gd name="T19" fmla="*/ 9 h 133"/>
                <a:gd name="T20" fmla="*/ 86 w 143"/>
                <a:gd name="T21" fmla="*/ 9 h 133"/>
                <a:gd name="T22" fmla="*/ 86 w 143"/>
                <a:gd name="T23" fmla="*/ 19 h 133"/>
                <a:gd name="T24" fmla="*/ 105 w 143"/>
                <a:gd name="T25" fmla="*/ 19 h 133"/>
                <a:gd name="T26" fmla="*/ 124 w 143"/>
                <a:gd name="T27" fmla="*/ 19 h 133"/>
                <a:gd name="T28" fmla="*/ 134 w 143"/>
                <a:gd name="T29" fmla="*/ 19 h 133"/>
                <a:gd name="T30" fmla="*/ 134 w 143"/>
                <a:gd name="T31" fmla="*/ 19 h 133"/>
                <a:gd name="T32" fmla="*/ 134 w 143"/>
                <a:gd name="T33" fmla="*/ 38 h 133"/>
                <a:gd name="T34" fmla="*/ 143 w 143"/>
                <a:gd name="T35" fmla="*/ 48 h 133"/>
                <a:gd name="T36" fmla="*/ 134 w 143"/>
                <a:gd name="T37" fmla="*/ 57 h 133"/>
                <a:gd name="T38" fmla="*/ 143 w 143"/>
                <a:gd name="T39" fmla="*/ 67 h 133"/>
                <a:gd name="T40" fmla="*/ 143 w 143"/>
                <a:gd name="T41" fmla="*/ 86 h 133"/>
                <a:gd name="T42" fmla="*/ 143 w 143"/>
                <a:gd name="T43" fmla="*/ 95 h 133"/>
                <a:gd name="T44" fmla="*/ 124 w 143"/>
                <a:gd name="T45" fmla="*/ 114 h 133"/>
                <a:gd name="T46" fmla="*/ 124 w 143"/>
                <a:gd name="T47" fmla="*/ 124 h 133"/>
                <a:gd name="T48" fmla="*/ 115 w 143"/>
                <a:gd name="T49" fmla="*/ 133 h 133"/>
                <a:gd name="T50" fmla="*/ 105 w 143"/>
                <a:gd name="T51" fmla="*/ 124 h 133"/>
                <a:gd name="T52" fmla="*/ 77 w 143"/>
                <a:gd name="T53" fmla="*/ 124 h 133"/>
                <a:gd name="T54" fmla="*/ 67 w 143"/>
                <a:gd name="T55" fmla="*/ 124 h 133"/>
                <a:gd name="T56" fmla="*/ 57 w 143"/>
                <a:gd name="T57" fmla="*/ 124 h 133"/>
                <a:gd name="T58" fmla="*/ 38 w 143"/>
                <a:gd name="T59" fmla="*/ 105 h 133"/>
                <a:gd name="T60" fmla="*/ 29 w 143"/>
                <a:gd name="T61" fmla="*/ 105 h 133"/>
                <a:gd name="T62" fmla="*/ 19 w 143"/>
                <a:gd name="T63" fmla="*/ 95 h 133"/>
                <a:gd name="T64" fmla="*/ 10 w 143"/>
                <a:gd name="T65" fmla="*/ 86 h 133"/>
                <a:gd name="T66" fmla="*/ 0 w 143"/>
                <a:gd name="T67" fmla="*/ 57 h 133"/>
                <a:gd name="T68" fmla="*/ 0 w 143"/>
                <a:gd name="T69" fmla="*/ 38 h 133"/>
                <a:gd name="T70" fmla="*/ 0 w 143"/>
                <a:gd name="T71" fmla="*/ 28 h 1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43"/>
                <a:gd name="T109" fmla="*/ 0 h 133"/>
                <a:gd name="T110" fmla="*/ 143 w 143"/>
                <a:gd name="T111" fmla="*/ 133 h 1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43" h="133">
                  <a:moveTo>
                    <a:pt x="0" y="28"/>
                  </a:moveTo>
                  <a:lnTo>
                    <a:pt x="10" y="19"/>
                  </a:lnTo>
                  <a:lnTo>
                    <a:pt x="19" y="19"/>
                  </a:lnTo>
                  <a:lnTo>
                    <a:pt x="29" y="9"/>
                  </a:lnTo>
                  <a:lnTo>
                    <a:pt x="38" y="9"/>
                  </a:lnTo>
                  <a:lnTo>
                    <a:pt x="48" y="0"/>
                  </a:lnTo>
                  <a:lnTo>
                    <a:pt x="57" y="9"/>
                  </a:lnTo>
                  <a:lnTo>
                    <a:pt x="57" y="19"/>
                  </a:lnTo>
                  <a:lnTo>
                    <a:pt x="67" y="19"/>
                  </a:lnTo>
                  <a:lnTo>
                    <a:pt x="77" y="9"/>
                  </a:lnTo>
                  <a:lnTo>
                    <a:pt x="86" y="9"/>
                  </a:lnTo>
                  <a:lnTo>
                    <a:pt x="86" y="19"/>
                  </a:lnTo>
                  <a:lnTo>
                    <a:pt x="105" y="19"/>
                  </a:lnTo>
                  <a:lnTo>
                    <a:pt x="124" y="19"/>
                  </a:lnTo>
                  <a:lnTo>
                    <a:pt x="134" y="19"/>
                  </a:lnTo>
                  <a:lnTo>
                    <a:pt x="134" y="38"/>
                  </a:lnTo>
                  <a:lnTo>
                    <a:pt x="143" y="48"/>
                  </a:lnTo>
                  <a:lnTo>
                    <a:pt x="134" y="57"/>
                  </a:lnTo>
                  <a:lnTo>
                    <a:pt x="143" y="67"/>
                  </a:lnTo>
                  <a:lnTo>
                    <a:pt x="143" y="86"/>
                  </a:lnTo>
                  <a:lnTo>
                    <a:pt x="143" y="95"/>
                  </a:lnTo>
                  <a:lnTo>
                    <a:pt x="124" y="114"/>
                  </a:lnTo>
                  <a:lnTo>
                    <a:pt x="124" y="124"/>
                  </a:lnTo>
                  <a:lnTo>
                    <a:pt x="115" y="133"/>
                  </a:lnTo>
                  <a:lnTo>
                    <a:pt x="105" y="124"/>
                  </a:lnTo>
                  <a:lnTo>
                    <a:pt x="77" y="124"/>
                  </a:lnTo>
                  <a:lnTo>
                    <a:pt x="67" y="124"/>
                  </a:lnTo>
                  <a:lnTo>
                    <a:pt x="57" y="124"/>
                  </a:lnTo>
                  <a:lnTo>
                    <a:pt x="38" y="105"/>
                  </a:lnTo>
                  <a:lnTo>
                    <a:pt x="29" y="105"/>
                  </a:lnTo>
                  <a:lnTo>
                    <a:pt x="19" y="95"/>
                  </a:lnTo>
                  <a:lnTo>
                    <a:pt x="10" y="86"/>
                  </a:lnTo>
                  <a:lnTo>
                    <a:pt x="0" y="57"/>
                  </a:lnTo>
                  <a:lnTo>
                    <a:pt x="0" y="38"/>
                  </a:lnTo>
                  <a:lnTo>
                    <a:pt x="0" y="2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37" name="Freeform 215">
              <a:extLst>
                <a:ext uri="{FF2B5EF4-FFF2-40B4-BE49-F238E27FC236}">
                  <a16:creationId xmlns:a16="http://schemas.microsoft.com/office/drawing/2014/main" id="{8807AF49-75CD-40E4-B79B-5FBEBE92DC1E}"/>
                </a:ext>
              </a:extLst>
            </p:cNvPr>
            <p:cNvSpPr>
              <a:spLocks/>
            </p:cNvSpPr>
            <p:nvPr/>
          </p:nvSpPr>
          <p:spPr bwMode="gray">
            <a:xfrm>
              <a:off x="2903" y="1975"/>
              <a:ext cx="143" cy="133"/>
            </a:xfrm>
            <a:custGeom>
              <a:avLst/>
              <a:gdLst>
                <a:gd name="T0" fmla="*/ 0 w 143"/>
                <a:gd name="T1" fmla="*/ 28 h 133"/>
                <a:gd name="T2" fmla="*/ 10 w 143"/>
                <a:gd name="T3" fmla="*/ 19 h 133"/>
                <a:gd name="T4" fmla="*/ 19 w 143"/>
                <a:gd name="T5" fmla="*/ 19 h 133"/>
                <a:gd name="T6" fmla="*/ 29 w 143"/>
                <a:gd name="T7" fmla="*/ 9 h 133"/>
                <a:gd name="T8" fmla="*/ 38 w 143"/>
                <a:gd name="T9" fmla="*/ 9 h 133"/>
                <a:gd name="T10" fmla="*/ 48 w 143"/>
                <a:gd name="T11" fmla="*/ 0 h 133"/>
                <a:gd name="T12" fmla="*/ 57 w 143"/>
                <a:gd name="T13" fmla="*/ 9 h 133"/>
                <a:gd name="T14" fmla="*/ 57 w 143"/>
                <a:gd name="T15" fmla="*/ 19 h 133"/>
                <a:gd name="T16" fmla="*/ 67 w 143"/>
                <a:gd name="T17" fmla="*/ 19 h 133"/>
                <a:gd name="T18" fmla="*/ 77 w 143"/>
                <a:gd name="T19" fmla="*/ 9 h 133"/>
                <a:gd name="T20" fmla="*/ 86 w 143"/>
                <a:gd name="T21" fmla="*/ 9 h 133"/>
                <a:gd name="T22" fmla="*/ 86 w 143"/>
                <a:gd name="T23" fmla="*/ 19 h 133"/>
                <a:gd name="T24" fmla="*/ 105 w 143"/>
                <a:gd name="T25" fmla="*/ 19 h 133"/>
                <a:gd name="T26" fmla="*/ 124 w 143"/>
                <a:gd name="T27" fmla="*/ 19 h 133"/>
                <a:gd name="T28" fmla="*/ 134 w 143"/>
                <a:gd name="T29" fmla="*/ 19 h 133"/>
                <a:gd name="T30" fmla="*/ 134 w 143"/>
                <a:gd name="T31" fmla="*/ 19 h 133"/>
                <a:gd name="T32" fmla="*/ 134 w 143"/>
                <a:gd name="T33" fmla="*/ 38 h 133"/>
                <a:gd name="T34" fmla="*/ 143 w 143"/>
                <a:gd name="T35" fmla="*/ 48 h 133"/>
                <a:gd name="T36" fmla="*/ 134 w 143"/>
                <a:gd name="T37" fmla="*/ 57 h 133"/>
                <a:gd name="T38" fmla="*/ 143 w 143"/>
                <a:gd name="T39" fmla="*/ 67 h 133"/>
                <a:gd name="T40" fmla="*/ 143 w 143"/>
                <a:gd name="T41" fmla="*/ 86 h 133"/>
                <a:gd name="T42" fmla="*/ 143 w 143"/>
                <a:gd name="T43" fmla="*/ 95 h 133"/>
                <a:gd name="T44" fmla="*/ 124 w 143"/>
                <a:gd name="T45" fmla="*/ 114 h 133"/>
                <a:gd name="T46" fmla="*/ 124 w 143"/>
                <a:gd name="T47" fmla="*/ 124 h 133"/>
                <a:gd name="T48" fmla="*/ 115 w 143"/>
                <a:gd name="T49" fmla="*/ 133 h 133"/>
                <a:gd name="T50" fmla="*/ 105 w 143"/>
                <a:gd name="T51" fmla="*/ 124 h 133"/>
                <a:gd name="T52" fmla="*/ 77 w 143"/>
                <a:gd name="T53" fmla="*/ 124 h 133"/>
                <a:gd name="T54" fmla="*/ 67 w 143"/>
                <a:gd name="T55" fmla="*/ 124 h 133"/>
                <a:gd name="T56" fmla="*/ 57 w 143"/>
                <a:gd name="T57" fmla="*/ 124 h 133"/>
                <a:gd name="T58" fmla="*/ 38 w 143"/>
                <a:gd name="T59" fmla="*/ 105 h 133"/>
                <a:gd name="T60" fmla="*/ 29 w 143"/>
                <a:gd name="T61" fmla="*/ 105 h 133"/>
                <a:gd name="T62" fmla="*/ 19 w 143"/>
                <a:gd name="T63" fmla="*/ 95 h 133"/>
                <a:gd name="T64" fmla="*/ 10 w 143"/>
                <a:gd name="T65" fmla="*/ 86 h 133"/>
                <a:gd name="T66" fmla="*/ 0 w 143"/>
                <a:gd name="T67" fmla="*/ 57 h 133"/>
                <a:gd name="T68" fmla="*/ 0 w 143"/>
                <a:gd name="T69" fmla="*/ 38 h 133"/>
                <a:gd name="T70" fmla="*/ 0 w 143"/>
                <a:gd name="T71" fmla="*/ 28 h 1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43"/>
                <a:gd name="T109" fmla="*/ 0 h 133"/>
                <a:gd name="T110" fmla="*/ 143 w 143"/>
                <a:gd name="T111" fmla="*/ 133 h 1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43" h="133">
                  <a:moveTo>
                    <a:pt x="0" y="28"/>
                  </a:moveTo>
                  <a:lnTo>
                    <a:pt x="10" y="19"/>
                  </a:lnTo>
                  <a:lnTo>
                    <a:pt x="19" y="19"/>
                  </a:lnTo>
                  <a:lnTo>
                    <a:pt x="29" y="9"/>
                  </a:lnTo>
                  <a:lnTo>
                    <a:pt x="38" y="9"/>
                  </a:lnTo>
                  <a:lnTo>
                    <a:pt x="48" y="0"/>
                  </a:lnTo>
                  <a:lnTo>
                    <a:pt x="57" y="9"/>
                  </a:lnTo>
                  <a:lnTo>
                    <a:pt x="57" y="19"/>
                  </a:lnTo>
                  <a:lnTo>
                    <a:pt x="67" y="19"/>
                  </a:lnTo>
                  <a:lnTo>
                    <a:pt x="77" y="9"/>
                  </a:lnTo>
                  <a:lnTo>
                    <a:pt x="86" y="9"/>
                  </a:lnTo>
                  <a:lnTo>
                    <a:pt x="86" y="19"/>
                  </a:lnTo>
                  <a:lnTo>
                    <a:pt x="105" y="19"/>
                  </a:lnTo>
                  <a:lnTo>
                    <a:pt x="124" y="19"/>
                  </a:lnTo>
                  <a:lnTo>
                    <a:pt x="134" y="19"/>
                  </a:lnTo>
                  <a:lnTo>
                    <a:pt x="134" y="38"/>
                  </a:lnTo>
                  <a:lnTo>
                    <a:pt x="143" y="48"/>
                  </a:lnTo>
                  <a:lnTo>
                    <a:pt x="134" y="57"/>
                  </a:lnTo>
                  <a:lnTo>
                    <a:pt x="143" y="67"/>
                  </a:lnTo>
                  <a:lnTo>
                    <a:pt x="143" y="86"/>
                  </a:lnTo>
                  <a:lnTo>
                    <a:pt x="143" y="95"/>
                  </a:lnTo>
                  <a:lnTo>
                    <a:pt x="124" y="114"/>
                  </a:lnTo>
                  <a:lnTo>
                    <a:pt x="124" y="124"/>
                  </a:lnTo>
                  <a:lnTo>
                    <a:pt x="115" y="133"/>
                  </a:lnTo>
                  <a:lnTo>
                    <a:pt x="105" y="124"/>
                  </a:lnTo>
                  <a:lnTo>
                    <a:pt x="77" y="124"/>
                  </a:lnTo>
                  <a:lnTo>
                    <a:pt x="67" y="124"/>
                  </a:lnTo>
                  <a:lnTo>
                    <a:pt x="57" y="124"/>
                  </a:lnTo>
                  <a:lnTo>
                    <a:pt x="38" y="105"/>
                  </a:lnTo>
                  <a:lnTo>
                    <a:pt x="29" y="105"/>
                  </a:lnTo>
                  <a:lnTo>
                    <a:pt x="19" y="95"/>
                  </a:lnTo>
                  <a:lnTo>
                    <a:pt x="10" y="86"/>
                  </a:lnTo>
                  <a:lnTo>
                    <a:pt x="0" y="57"/>
                  </a:lnTo>
                  <a:lnTo>
                    <a:pt x="0" y="38"/>
                  </a:lnTo>
                  <a:lnTo>
                    <a:pt x="0" y="2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38" name="Freeform 216">
              <a:extLst>
                <a:ext uri="{FF2B5EF4-FFF2-40B4-BE49-F238E27FC236}">
                  <a16:creationId xmlns:a16="http://schemas.microsoft.com/office/drawing/2014/main" id="{90FDB11A-D8A1-4D55-A942-B94D9BD34595}"/>
                </a:ext>
              </a:extLst>
            </p:cNvPr>
            <p:cNvSpPr>
              <a:spLocks/>
            </p:cNvSpPr>
            <p:nvPr/>
          </p:nvSpPr>
          <p:spPr bwMode="gray">
            <a:xfrm>
              <a:off x="2951" y="2099"/>
              <a:ext cx="67" cy="29"/>
            </a:xfrm>
            <a:custGeom>
              <a:avLst/>
              <a:gdLst>
                <a:gd name="T0" fmla="*/ 67 w 67"/>
                <a:gd name="T1" fmla="*/ 9 h 29"/>
                <a:gd name="T2" fmla="*/ 57 w 67"/>
                <a:gd name="T3" fmla="*/ 0 h 29"/>
                <a:gd name="T4" fmla="*/ 29 w 67"/>
                <a:gd name="T5" fmla="*/ 0 h 29"/>
                <a:gd name="T6" fmla="*/ 19 w 67"/>
                <a:gd name="T7" fmla="*/ 0 h 29"/>
                <a:gd name="T8" fmla="*/ 19 w 67"/>
                <a:gd name="T9" fmla="*/ 0 h 29"/>
                <a:gd name="T10" fmla="*/ 9 w 67"/>
                <a:gd name="T11" fmla="*/ 9 h 29"/>
                <a:gd name="T12" fmla="*/ 9 w 67"/>
                <a:gd name="T13" fmla="*/ 9 h 29"/>
                <a:gd name="T14" fmla="*/ 0 w 67"/>
                <a:gd name="T15" fmla="*/ 19 h 29"/>
                <a:gd name="T16" fmla="*/ 0 w 67"/>
                <a:gd name="T17" fmla="*/ 29 h 29"/>
                <a:gd name="T18" fmla="*/ 0 w 67"/>
                <a:gd name="T19" fmla="*/ 29 h 29"/>
                <a:gd name="T20" fmla="*/ 9 w 67"/>
                <a:gd name="T21" fmla="*/ 29 h 29"/>
                <a:gd name="T22" fmla="*/ 19 w 67"/>
                <a:gd name="T23" fmla="*/ 29 h 29"/>
                <a:gd name="T24" fmla="*/ 29 w 67"/>
                <a:gd name="T25" fmla="*/ 29 h 29"/>
                <a:gd name="T26" fmla="*/ 38 w 67"/>
                <a:gd name="T27" fmla="*/ 19 h 29"/>
                <a:gd name="T28" fmla="*/ 57 w 67"/>
                <a:gd name="T29" fmla="*/ 9 h 29"/>
                <a:gd name="T30" fmla="*/ 57 w 67"/>
                <a:gd name="T31" fmla="*/ 19 h 29"/>
                <a:gd name="T32" fmla="*/ 67 w 67"/>
                <a:gd name="T33" fmla="*/ 19 h 29"/>
                <a:gd name="T34" fmla="*/ 67 w 67"/>
                <a:gd name="T35" fmla="*/ 9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7"/>
                <a:gd name="T55" fmla="*/ 0 h 29"/>
                <a:gd name="T56" fmla="*/ 67 w 67"/>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7" h="29">
                  <a:moveTo>
                    <a:pt x="67" y="9"/>
                  </a:moveTo>
                  <a:lnTo>
                    <a:pt x="57" y="0"/>
                  </a:lnTo>
                  <a:lnTo>
                    <a:pt x="29" y="0"/>
                  </a:lnTo>
                  <a:lnTo>
                    <a:pt x="19" y="0"/>
                  </a:lnTo>
                  <a:lnTo>
                    <a:pt x="9" y="9"/>
                  </a:lnTo>
                  <a:lnTo>
                    <a:pt x="0" y="19"/>
                  </a:lnTo>
                  <a:lnTo>
                    <a:pt x="0" y="29"/>
                  </a:lnTo>
                  <a:lnTo>
                    <a:pt x="9" y="29"/>
                  </a:lnTo>
                  <a:lnTo>
                    <a:pt x="19" y="29"/>
                  </a:lnTo>
                  <a:lnTo>
                    <a:pt x="29" y="29"/>
                  </a:lnTo>
                  <a:lnTo>
                    <a:pt x="38" y="19"/>
                  </a:lnTo>
                  <a:lnTo>
                    <a:pt x="57" y="9"/>
                  </a:lnTo>
                  <a:lnTo>
                    <a:pt x="57" y="19"/>
                  </a:lnTo>
                  <a:lnTo>
                    <a:pt x="67" y="19"/>
                  </a:lnTo>
                  <a:lnTo>
                    <a:pt x="67"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39" name="Freeform 217">
              <a:extLst>
                <a:ext uri="{FF2B5EF4-FFF2-40B4-BE49-F238E27FC236}">
                  <a16:creationId xmlns:a16="http://schemas.microsoft.com/office/drawing/2014/main" id="{B5037251-982B-4E81-9499-904DF5B685BE}"/>
                </a:ext>
              </a:extLst>
            </p:cNvPr>
            <p:cNvSpPr>
              <a:spLocks/>
            </p:cNvSpPr>
            <p:nvPr/>
          </p:nvSpPr>
          <p:spPr bwMode="gray">
            <a:xfrm>
              <a:off x="2951" y="2099"/>
              <a:ext cx="67" cy="29"/>
            </a:xfrm>
            <a:custGeom>
              <a:avLst/>
              <a:gdLst>
                <a:gd name="T0" fmla="*/ 67 w 67"/>
                <a:gd name="T1" fmla="*/ 9 h 29"/>
                <a:gd name="T2" fmla="*/ 57 w 67"/>
                <a:gd name="T3" fmla="*/ 0 h 29"/>
                <a:gd name="T4" fmla="*/ 29 w 67"/>
                <a:gd name="T5" fmla="*/ 0 h 29"/>
                <a:gd name="T6" fmla="*/ 19 w 67"/>
                <a:gd name="T7" fmla="*/ 0 h 29"/>
                <a:gd name="T8" fmla="*/ 19 w 67"/>
                <a:gd name="T9" fmla="*/ 0 h 29"/>
                <a:gd name="T10" fmla="*/ 9 w 67"/>
                <a:gd name="T11" fmla="*/ 9 h 29"/>
                <a:gd name="T12" fmla="*/ 9 w 67"/>
                <a:gd name="T13" fmla="*/ 9 h 29"/>
                <a:gd name="T14" fmla="*/ 0 w 67"/>
                <a:gd name="T15" fmla="*/ 19 h 29"/>
                <a:gd name="T16" fmla="*/ 0 w 67"/>
                <a:gd name="T17" fmla="*/ 29 h 29"/>
                <a:gd name="T18" fmla="*/ 0 w 67"/>
                <a:gd name="T19" fmla="*/ 29 h 29"/>
                <a:gd name="T20" fmla="*/ 9 w 67"/>
                <a:gd name="T21" fmla="*/ 29 h 29"/>
                <a:gd name="T22" fmla="*/ 19 w 67"/>
                <a:gd name="T23" fmla="*/ 29 h 29"/>
                <a:gd name="T24" fmla="*/ 29 w 67"/>
                <a:gd name="T25" fmla="*/ 29 h 29"/>
                <a:gd name="T26" fmla="*/ 38 w 67"/>
                <a:gd name="T27" fmla="*/ 19 h 29"/>
                <a:gd name="T28" fmla="*/ 57 w 67"/>
                <a:gd name="T29" fmla="*/ 9 h 29"/>
                <a:gd name="T30" fmla="*/ 57 w 67"/>
                <a:gd name="T31" fmla="*/ 19 h 29"/>
                <a:gd name="T32" fmla="*/ 67 w 67"/>
                <a:gd name="T33" fmla="*/ 19 h 29"/>
                <a:gd name="T34" fmla="*/ 67 w 67"/>
                <a:gd name="T35" fmla="*/ 9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7"/>
                <a:gd name="T55" fmla="*/ 0 h 29"/>
                <a:gd name="T56" fmla="*/ 67 w 67"/>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7" h="29">
                  <a:moveTo>
                    <a:pt x="67" y="9"/>
                  </a:moveTo>
                  <a:lnTo>
                    <a:pt x="57" y="0"/>
                  </a:lnTo>
                  <a:lnTo>
                    <a:pt x="29" y="0"/>
                  </a:lnTo>
                  <a:lnTo>
                    <a:pt x="19" y="0"/>
                  </a:lnTo>
                  <a:lnTo>
                    <a:pt x="9" y="9"/>
                  </a:lnTo>
                  <a:lnTo>
                    <a:pt x="0" y="19"/>
                  </a:lnTo>
                  <a:lnTo>
                    <a:pt x="0" y="29"/>
                  </a:lnTo>
                  <a:lnTo>
                    <a:pt x="9" y="29"/>
                  </a:lnTo>
                  <a:lnTo>
                    <a:pt x="19" y="29"/>
                  </a:lnTo>
                  <a:lnTo>
                    <a:pt x="29" y="29"/>
                  </a:lnTo>
                  <a:lnTo>
                    <a:pt x="38" y="19"/>
                  </a:lnTo>
                  <a:lnTo>
                    <a:pt x="57" y="9"/>
                  </a:lnTo>
                  <a:lnTo>
                    <a:pt x="57" y="19"/>
                  </a:lnTo>
                  <a:lnTo>
                    <a:pt x="67" y="19"/>
                  </a:lnTo>
                  <a:lnTo>
                    <a:pt x="67"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40" name="Freeform 218">
              <a:extLst>
                <a:ext uri="{FF2B5EF4-FFF2-40B4-BE49-F238E27FC236}">
                  <a16:creationId xmlns:a16="http://schemas.microsoft.com/office/drawing/2014/main" id="{B32D36FA-4120-49C6-9013-37A6C2959704}"/>
                </a:ext>
              </a:extLst>
            </p:cNvPr>
            <p:cNvSpPr>
              <a:spLocks/>
            </p:cNvSpPr>
            <p:nvPr/>
          </p:nvSpPr>
          <p:spPr bwMode="gray">
            <a:xfrm>
              <a:off x="2932" y="2108"/>
              <a:ext cx="95" cy="67"/>
            </a:xfrm>
            <a:custGeom>
              <a:avLst/>
              <a:gdLst>
                <a:gd name="T0" fmla="*/ 86 w 95"/>
                <a:gd name="T1" fmla="*/ 10 h 67"/>
                <a:gd name="T2" fmla="*/ 86 w 95"/>
                <a:gd name="T3" fmla="*/ 10 h 67"/>
                <a:gd name="T4" fmla="*/ 76 w 95"/>
                <a:gd name="T5" fmla="*/ 0 h 67"/>
                <a:gd name="T6" fmla="*/ 57 w 95"/>
                <a:gd name="T7" fmla="*/ 10 h 67"/>
                <a:gd name="T8" fmla="*/ 48 w 95"/>
                <a:gd name="T9" fmla="*/ 20 h 67"/>
                <a:gd name="T10" fmla="*/ 38 w 95"/>
                <a:gd name="T11" fmla="*/ 20 h 67"/>
                <a:gd name="T12" fmla="*/ 28 w 95"/>
                <a:gd name="T13" fmla="*/ 20 h 67"/>
                <a:gd name="T14" fmla="*/ 19 w 95"/>
                <a:gd name="T15" fmla="*/ 20 h 67"/>
                <a:gd name="T16" fmla="*/ 9 w 95"/>
                <a:gd name="T17" fmla="*/ 20 h 67"/>
                <a:gd name="T18" fmla="*/ 9 w 95"/>
                <a:gd name="T19" fmla="*/ 20 h 67"/>
                <a:gd name="T20" fmla="*/ 9 w 95"/>
                <a:gd name="T21" fmla="*/ 20 h 67"/>
                <a:gd name="T22" fmla="*/ 0 w 95"/>
                <a:gd name="T23" fmla="*/ 29 h 67"/>
                <a:gd name="T24" fmla="*/ 0 w 95"/>
                <a:gd name="T25" fmla="*/ 39 h 67"/>
                <a:gd name="T26" fmla="*/ 0 w 95"/>
                <a:gd name="T27" fmla="*/ 39 h 67"/>
                <a:gd name="T28" fmla="*/ 0 w 95"/>
                <a:gd name="T29" fmla="*/ 48 h 67"/>
                <a:gd name="T30" fmla="*/ 9 w 95"/>
                <a:gd name="T31" fmla="*/ 48 h 67"/>
                <a:gd name="T32" fmla="*/ 19 w 95"/>
                <a:gd name="T33" fmla="*/ 58 h 67"/>
                <a:gd name="T34" fmla="*/ 38 w 95"/>
                <a:gd name="T35" fmla="*/ 67 h 67"/>
                <a:gd name="T36" fmla="*/ 38 w 95"/>
                <a:gd name="T37" fmla="*/ 58 h 67"/>
                <a:gd name="T38" fmla="*/ 57 w 95"/>
                <a:gd name="T39" fmla="*/ 58 h 67"/>
                <a:gd name="T40" fmla="*/ 57 w 95"/>
                <a:gd name="T41" fmla="*/ 58 h 67"/>
                <a:gd name="T42" fmla="*/ 76 w 95"/>
                <a:gd name="T43" fmla="*/ 48 h 67"/>
                <a:gd name="T44" fmla="*/ 76 w 95"/>
                <a:gd name="T45" fmla="*/ 39 h 67"/>
                <a:gd name="T46" fmla="*/ 86 w 95"/>
                <a:gd name="T47" fmla="*/ 20 h 67"/>
                <a:gd name="T48" fmla="*/ 95 w 95"/>
                <a:gd name="T49" fmla="*/ 20 h 67"/>
                <a:gd name="T50" fmla="*/ 86 w 95"/>
                <a:gd name="T51" fmla="*/ 10 h 6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5"/>
                <a:gd name="T79" fmla="*/ 0 h 67"/>
                <a:gd name="T80" fmla="*/ 95 w 95"/>
                <a:gd name="T81" fmla="*/ 67 h 6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5" h="67">
                  <a:moveTo>
                    <a:pt x="86" y="10"/>
                  </a:moveTo>
                  <a:lnTo>
                    <a:pt x="86" y="10"/>
                  </a:lnTo>
                  <a:lnTo>
                    <a:pt x="76" y="0"/>
                  </a:lnTo>
                  <a:lnTo>
                    <a:pt x="57" y="10"/>
                  </a:lnTo>
                  <a:lnTo>
                    <a:pt x="48" y="20"/>
                  </a:lnTo>
                  <a:lnTo>
                    <a:pt x="38" y="20"/>
                  </a:lnTo>
                  <a:lnTo>
                    <a:pt x="28" y="20"/>
                  </a:lnTo>
                  <a:lnTo>
                    <a:pt x="19" y="20"/>
                  </a:lnTo>
                  <a:lnTo>
                    <a:pt x="9" y="20"/>
                  </a:lnTo>
                  <a:lnTo>
                    <a:pt x="0" y="29"/>
                  </a:lnTo>
                  <a:lnTo>
                    <a:pt x="0" y="39"/>
                  </a:lnTo>
                  <a:lnTo>
                    <a:pt x="0" y="48"/>
                  </a:lnTo>
                  <a:lnTo>
                    <a:pt x="9" y="48"/>
                  </a:lnTo>
                  <a:lnTo>
                    <a:pt x="19" y="58"/>
                  </a:lnTo>
                  <a:lnTo>
                    <a:pt x="38" y="67"/>
                  </a:lnTo>
                  <a:lnTo>
                    <a:pt x="38" y="58"/>
                  </a:lnTo>
                  <a:lnTo>
                    <a:pt x="57" y="58"/>
                  </a:lnTo>
                  <a:lnTo>
                    <a:pt x="76" y="48"/>
                  </a:lnTo>
                  <a:lnTo>
                    <a:pt x="76" y="39"/>
                  </a:lnTo>
                  <a:lnTo>
                    <a:pt x="86" y="20"/>
                  </a:lnTo>
                  <a:lnTo>
                    <a:pt x="95" y="20"/>
                  </a:lnTo>
                  <a:lnTo>
                    <a:pt x="86"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41" name="Freeform 219">
              <a:extLst>
                <a:ext uri="{FF2B5EF4-FFF2-40B4-BE49-F238E27FC236}">
                  <a16:creationId xmlns:a16="http://schemas.microsoft.com/office/drawing/2014/main" id="{AB1658F2-055E-413A-8292-8C62C50B0006}"/>
                </a:ext>
              </a:extLst>
            </p:cNvPr>
            <p:cNvSpPr>
              <a:spLocks/>
            </p:cNvSpPr>
            <p:nvPr/>
          </p:nvSpPr>
          <p:spPr bwMode="gray">
            <a:xfrm>
              <a:off x="2932" y="2108"/>
              <a:ext cx="95" cy="67"/>
            </a:xfrm>
            <a:custGeom>
              <a:avLst/>
              <a:gdLst>
                <a:gd name="T0" fmla="*/ 86 w 95"/>
                <a:gd name="T1" fmla="*/ 10 h 67"/>
                <a:gd name="T2" fmla="*/ 86 w 95"/>
                <a:gd name="T3" fmla="*/ 10 h 67"/>
                <a:gd name="T4" fmla="*/ 76 w 95"/>
                <a:gd name="T5" fmla="*/ 0 h 67"/>
                <a:gd name="T6" fmla="*/ 57 w 95"/>
                <a:gd name="T7" fmla="*/ 10 h 67"/>
                <a:gd name="T8" fmla="*/ 48 w 95"/>
                <a:gd name="T9" fmla="*/ 20 h 67"/>
                <a:gd name="T10" fmla="*/ 38 w 95"/>
                <a:gd name="T11" fmla="*/ 20 h 67"/>
                <a:gd name="T12" fmla="*/ 28 w 95"/>
                <a:gd name="T13" fmla="*/ 20 h 67"/>
                <a:gd name="T14" fmla="*/ 19 w 95"/>
                <a:gd name="T15" fmla="*/ 20 h 67"/>
                <a:gd name="T16" fmla="*/ 9 w 95"/>
                <a:gd name="T17" fmla="*/ 20 h 67"/>
                <a:gd name="T18" fmla="*/ 9 w 95"/>
                <a:gd name="T19" fmla="*/ 20 h 67"/>
                <a:gd name="T20" fmla="*/ 9 w 95"/>
                <a:gd name="T21" fmla="*/ 20 h 67"/>
                <a:gd name="T22" fmla="*/ 0 w 95"/>
                <a:gd name="T23" fmla="*/ 29 h 67"/>
                <a:gd name="T24" fmla="*/ 0 w 95"/>
                <a:gd name="T25" fmla="*/ 39 h 67"/>
                <a:gd name="T26" fmla="*/ 0 w 95"/>
                <a:gd name="T27" fmla="*/ 39 h 67"/>
                <a:gd name="T28" fmla="*/ 0 w 95"/>
                <a:gd name="T29" fmla="*/ 48 h 67"/>
                <a:gd name="T30" fmla="*/ 9 w 95"/>
                <a:gd name="T31" fmla="*/ 48 h 67"/>
                <a:gd name="T32" fmla="*/ 19 w 95"/>
                <a:gd name="T33" fmla="*/ 58 h 67"/>
                <a:gd name="T34" fmla="*/ 38 w 95"/>
                <a:gd name="T35" fmla="*/ 67 h 67"/>
                <a:gd name="T36" fmla="*/ 38 w 95"/>
                <a:gd name="T37" fmla="*/ 58 h 67"/>
                <a:gd name="T38" fmla="*/ 57 w 95"/>
                <a:gd name="T39" fmla="*/ 58 h 67"/>
                <a:gd name="T40" fmla="*/ 57 w 95"/>
                <a:gd name="T41" fmla="*/ 58 h 67"/>
                <a:gd name="T42" fmla="*/ 76 w 95"/>
                <a:gd name="T43" fmla="*/ 48 h 67"/>
                <a:gd name="T44" fmla="*/ 76 w 95"/>
                <a:gd name="T45" fmla="*/ 39 h 67"/>
                <a:gd name="T46" fmla="*/ 86 w 95"/>
                <a:gd name="T47" fmla="*/ 20 h 67"/>
                <a:gd name="T48" fmla="*/ 95 w 95"/>
                <a:gd name="T49" fmla="*/ 20 h 67"/>
                <a:gd name="T50" fmla="*/ 86 w 95"/>
                <a:gd name="T51" fmla="*/ 10 h 6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5"/>
                <a:gd name="T79" fmla="*/ 0 h 67"/>
                <a:gd name="T80" fmla="*/ 95 w 95"/>
                <a:gd name="T81" fmla="*/ 67 h 6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5" h="67">
                  <a:moveTo>
                    <a:pt x="86" y="10"/>
                  </a:moveTo>
                  <a:lnTo>
                    <a:pt x="86" y="10"/>
                  </a:lnTo>
                  <a:lnTo>
                    <a:pt x="76" y="0"/>
                  </a:lnTo>
                  <a:lnTo>
                    <a:pt x="57" y="10"/>
                  </a:lnTo>
                  <a:lnTo>
                    <a:pt x="48" y="20"/>
                  </a:lnTo>
                  <a:lnTo>
                    <a:pt x="38" y="20"/>
                  </a:lnTo>
                  <a:lnTo>
                    <a:pt x="28" y="20"/>
                  </a:lnTo>
                  <a:lnTo>
                    <a:pt x="19" y="20"/>
                  </a:lnTo>
                  <a:lnTo>
                    <a:pt x="9" y="20"/>
                  </a:lnTo>
                  <a:lnTo>
                    <a:pt x="0" y="29"/>
                  </a:lnTo>
                  <a:lnTo>
                    <a:pt x="0" y="39"/>
                  </a:lnTo>
                  <a:lnTo>
                    <a:pt x="0" y="48"/>
                  </a:lnTo>
                  <a:lnTo>
                    <a:pt x="9" y="48"/>
                  </a:lnTo>
                  <a:lnTo>
                    <a:pt x="19" y="58"/>
                  </a:lnTo>
                  <a:lnTo>
                    <a:pt x="38" y="67"/>
                  </a:lnTo>
                  <a:lnTo>
                    <a:pt x="38" y="58"/>
                  </a:lnTo>
                  <a:lnTo>
                    <a:pt x="57" y="58"/>
                  </a:lnTo>
                  <a:lnTo>
                    <a:pt x="76" y="48"/>
                  </a:lnTo>
                  <a:lnTo>
                    <a:pt x="76" y="39"/>
                  </a:lnTo>
                  <a:lnTo>
                    <a:pt x="86" y="20"/>
                  </a:lnTo>
                  <a:lnTo>
                    <a:pt x="95" y="20"/>
                  </a:lnTo>
                  <a:lnTo>
                    <a:pt x="86"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42" name="Freeform 220">
              <a:extLst>
                <a:ext uri="{FF2B5EF4-FFF2-40B4-BE49-F238E27FC236}">
                  <a16:creationId xmlns:a16="http://schemas.microsoft.com/office/drawing/2014/main" id="{200CC723-9832-4A32-8E0C-25167A254C84}"/>
                </a:ext>
              </a:extLst>
            </p:cNvPr>
            <p:cNvSpPr>
              <a:spLocks/>
            </p:cNvSpPr>
            <p:nvPr/>
          </p:nvSpPr>
          <p:spPr bwMode="gray">
            <a:xfrm>
              <a:off x="2875" y="2061"/>
              <a:ext cx="95" cy="67"/>
            </a:xfrm>
            <a:custGeom>
              <a:avLst/>
              <a:gdLst>
                <a:gd name="T0" fmla="*/ 66 w 95"/>
                <a:gd name="T1" fmla="*/ 67 h 67"/>
                <a:gd name="T2" fmla="*/ 66 w 95"/>
                <a:gd name="T3" fmla="*/ 57 h 67"/>
                <a:gd name="T4" fmla="*/ 57 w 95"/>
                <a:gd name="T5" fmla="*/ 57 h 67"/>
                <a:gd name="T6" fmla="*/ 57 w 95"/>
                <a:gd name="T7" fmla="*/ 57 h 67"/>
                <a:gd name="T8" fmla="*/ 38 w 95"/>
                <a:gd name="T9" fmla="*/ 47 h 67"/>
                <a:gd name="T10" fmla="*/ 19 w 95"/>
                <a:gd name="T11" fmla="*/ 47 h 67"/>
                <a:gd name="T12" fmla="*/ 0 w 95"/>
                <a:gd name="T13" fmla="*/ 38 h 67"/>
                <a:gd name="T14" fmla="*/ 0 w 95"/>
                <a:gd name="T15" fmla="*/ 19 h 67"/>
                <a:gd name="T16" fmla="*/ 19 w 95"/>
                <a:gd name="T17" fmla="*/ 9 h 67"/>
                <a:gd name="T18" fmla="*/ 28 w 95"/>
                <a:gd name="T19" fmla="*/ 0 h 67"/>
                <a:gd name="T20" fmla="*/ 38 w 95"/>
                <a:gd name="T21" fmla="*/ 0 h 67"/>
                <a:gd name="T22" fmla="*/ 47 w 95"/>
                <a:gd name="T23" fmla="*/ 9 h 67"/>
                <a:gd name="T24" fmla="*/ 57 w 95"/>
                <a:gd name="T25" fmla="*/ 19 h 67"/>
                <a:gd name="T26" fmla="*/ 66 w 95"/>
                <a:gd name="T27" fmla="*/ 19 h 67"/>
                <a:gd name="T28" fmla="*/ 85 w 95"/>
                <a:gd name="T29" fmla="*/ 38 h 67"/>
                <a:gd name="T30" fmla="*/ 95 w 95"/>
                <a:gd name="T31" fmla="*/ 38 h 67"/>
                <a:gd name="T32" fmla="*/ 95 w 95"/>
                <a:gd name="T33" fmla="*/ 38 h 67"/>
                <a:gd name="T34" fmla="*/ 85 w 95"/>
                <a:gd name="T35" fmla="*/ 47 h 67"/>
                <a:gd name="T36" fmla="*/ 85 w 95"/>
                <a:gd name="T37" fmla="*/ 47 h 67"/>
                <a:gd name="T38" fmla="*/ 76 w 95"/>
                <a:gd name="T39" fmla="*/ 57 h 67"/>
                <a:gd name="T40" fmla="*/ 66 w 95"/>
                <a:gd name="T41" fmla="*/ 67 h 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67"/>
                <a:gd name="T65" fmla="*/ 95 w 95"/>
                <a:gd name="T66" fmla="*/ 67 h 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67">
                  <a:moveTo>
                    <a:pt x="66" y="67"/>
                  </a:moveTo>
                  <a:lnTo>
                    <a:pt x="66" y="57"/>
                  </a:lnTo>
                  <a:lnTo>
                    <a:pt x="57" y="57"/>
                  </a:lnTo>
                  <a:lnTo>
                    <a:pt x="38" y="47"/>
                  </a:lnTo>
                  <a:lnTo>
                    <a:pt x="19" y="47"/>
                  </a:lnTo>
                  <a:lnTo>
                    <a:pt x="0" y="38"/>
                  </a:lnTo>
                  <a:lnTo>
                    <a:pt x="0" y="19"/>
                  </a:lnTo>
                  <a:lnTo>
                    <a:pt x="19" y="9"/>
                  </a:lnTo>
                  <a:lnTo>
                    <a:pt x="28" y="0"/>
                  </a:lnTo>
                  <a:lnTo>
                    <a:pt x="38" y="0"/>
                  </a:lnTo>
                  <a:lnTo>
                    <a:pt x="47" y="9"/>
                  </a:lnTo>
                  <a:lnTo>
                    <a:pt x="57" y="19"/>
                  </a:lnTo>
                  <a:lnTo>
                    <a:pt x="66" y="19"/>
                  </a:lnTo>
                  <a:lnTo>
                    <a:pt x="85" y="38"/>
                  </a:lnTo>
                  <a:lnTo>
                    <a:pt x="95" y="38"/>
                  </a:lnTo>
                  <a:lnTo>
                    <a:pt x="85" y="47"/>
                  </a:lnTo>
                  <a:lnTo>
                    <a:pt x="76" y="57"/>
                  </a:lnTo>
                  <a:lnTo>
                    <a:pt x="66" y="6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43" name="Freeform 221">
              <a:extLst>
                <a:ext uri="{FF2B5EF4-FFF2-40B4-BE49-F238E27FC236}">
                  <a16:creationId xmlns:a16="http://schemas.microsoft.com/office/drawing/2014/main" id="{CC20F4D7-761A-4BB9-A663-A55F5F86DA70}"/>
                </a:ext>
              </a:extLst>
            </p:cNvPr>
            <p:cNvSpPr>
              <a:spLocks/>
            </p:cNvSpPr>
            <p:nvPr/>
          </p:nvSpPr>
          <p:spPr bwMode="gray">
            <a:xfrm>
              <a:off x="2875" y="2061"/>
              <a:ext cx="95" cy="67"/>
            </a:xfrm>
            <a:custGeom>
              <a:avLst/>
              <a:gdLst>
                <a:gd name="T0" fmla="*/ 66 w 95"/>
                <a:gd name="T1" fmla="*/ 67 h 67"/>
                <a:gd name="T2" fmla="*/ 66 w 95"/>
                <a:gd name="T3" fmla="*/ 57 h 67"/>
                <a:gd name="T4" fmla="*/ 57 w 95"/>
                <a:gd name="T5" fmla="*/ 57 h 67"/>
                <a:gd name="T6" fmla="*/ 57 w 95"/>
                <a:gd name="T7" fmla="*/ 57 h 67"/>
                <a:gd name="T8" fmla="*/ 38 w 95"/>
                <a:gd name="T9" fmla="*/ 47 h 67"/>
                <a:gd name="T10" fmla="*/ 19 w 95"/>
                <a:gd name="T11" fmla="*/ 47 h 67"/>
                <a:gd name="T12" fmla="*/ 0 w 95"/>
                <a:gd name="T13" fmla="*/ 38 h 67"/>
                <a:gd name="T14" fmla="*/ 0 w 95"/>
                <a:gd name="T15" fmla="*/ 19 h 67"/>
                <a:gd name="T16" fmla="*/ 19 w 95"/>
                <a:gd name="T17" fmla="*/ 9 h 67"/>
                <a:gd name="T18" fmla="*/ 28 w 95"/>
                <a:gd name="T19" fmla="*/ 0 h 67"/>
                <a:gd name="T20" fmla="*/ 38 w 95"/>
                <a:gd name="T21" fmla="*/ 0 h 67"/>
                <a:gd name="T22" fmla="*/ 47 w 95"/>
                <a:gd name="T23" fmla="*/ 9 h 67"/>
                <a:gd name="T24" fmla="*/ 57 w 95"/>
                <a:gd name="T25" fmla="*/ 19 h 67"/>
                <a:gd name="T26" fmla="*/ 66 w 95"/>
                <a:gd name="T27" fmla="*/ 19 h 67"/>
                <a:gd name="T28" fmla="*/ 85 w 95"/>
                <a:gd name="T29" fmla="*/ 38 h 67"/>
                <a:gd name="T30" fmla="*/ 95 w 95"/>
                <a:gd name="T31" fmla="*/ 38 h 67"/>
                <a:gd name="T32" fmla="*/ 95 w 95"/>
                <a:gd name="T33" fmla="*/ 38 h 67"/>
                <a:gd name="T34" fmla="*/ 85 w 95"/>
                <a:gd name="T35" fmla="*/ 47 h 67"/>
                <a:gd name="T36" fmla="*/ 85 w 95"/>
                <a:gd name="T37" fmla="*/ 47 h 67"/>
                <a:gd name="T38" fmla="*/ 76 w 95"/>
                <a:gd name="T39" fmla="*/ 57 h 67"/>
                <a:gd name="T40" fmla="*/ 66 w 95"/>
                <a:gd name="T41" fmla="*/ 67 h 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67"/>
                <a:gd name="T65" fmla="*/ 95 w 95"/>
                <a:gd name="T66" fmla="*/ 67 h 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67">
                  <a:moveTo>
                    <a:pt x="66" y="67"/>
                  </a:moveTo>
                  <a:lnTo>
                    <a:pt x="66" y="57"/>
                  </a:lnTo>
                  <a:lnTo>
                    <a:pt x="57" y="57"/>
                  </a:lnTo>
                  <a:lnTo>
                    <a:pt x="38" y="47"/>
                  </a:lnTo>
                  <a:lnTo>
                    <a:pt x="19" y="47"/>
                  </a:lnTo>
                  <a:lnTo>
                    <a:pt x="0" y="38"/>
                  </a:lnTo>
                  <a:lnTo>
                    <a:pt x="0" y="19"/>
                  </a:lnTo>
                  <a:lnTo>
                    <a:pt x="19" y="9"/>
                  </a:lnTo>
                  <a:lnTo>
                    <a:pt x="28" y="0"/>
                  </a:lnTo>
                  <a:lnTo>
                    <a:pt x="38" y="0"/>
                  </a:lnTo>
                  <a:lnTo>
                    <a:pt x="47" y="9"/>
                  </a:lnTo>
                  <a:lnTo>
                    <a:pt x="57" y="19"/>
                  </a:lnTo>
                  <a:lnTo>
                    <a:pt x="66" y="19"/>
                  </a:lnTo>
                  <a:lnTo>
                    <a:pt x="85" y="38"/>
                  </a:lnTo>
                  <a:lnTo>
                    <a:pt x="95" y="38"/>
                  </a:lnTo>
                  <a:lnTo>
                    <a:pt x="85" y="47"/>
                  </a:lnTo>
                  <a:lnTo>
                    <a:pt x="76" y="57"/>
                  </a:lnTo>
                  <a:lnTo>
                    <a:pt x="66" y="6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44" name="Freeform 222">
              <a:extLst>
                <a:ext uri="{FF2B5EF4-FFF2-40B4-BE49-F238E27FC236}">
                  <a16:creationId xmlns:a16="http://schemas.microsoft.com/office/drawing/2014/main" id="{C946CA12-AC99-447D-8301-3DAD3BB7E834}"/>
                </a:ext>
              </a:extLst>
            </p:cNvPr>
            <p:cNvSpPr>
              <a:spLocks/>
            </p:cNvSpPr>
            <p:nvPr/>
          </p:nvSpPr>
          <p:spPr bwMode="gray">
            <a:xfrm>
              <a:off x="3504" y="2500"/>
              <a:ext cx="19" cy="9"/>
            </a:xfrm>
            <a:custGeom>
              <a:avLst/>
              <a:gdLst>
                <a:gd name="T0" fmla="*/ 9 w 19"/>
                <a:gd name="T1" fmla="*/ 9 h 9"/>
                <a:gd name="T2" fmla="*/ 19 w 19"/>
                <a:gd name="T3" fmla="*/ 0 h 9"/>
                <a:gd name="T4" fmla="*/ 9 w 19"/>
                <a:gd name="T5" fmla="*/ 0 h 9"/>
                <a:gd name="T6" fmla="*/ 9 w 19"/>
                <a:gd name="T7" fmla="*/ 0 h 9"/>
                <a:gd name="T8" fmla="*/ 0 w 19"/>
                <a:gd name="T9" fmla="*/ 9 h 9"/>
                <a:gd name="T10" fmla="*/ 9 w 19"/>
                <a:gd name="T11" fmla="*/ 9 h 9"/>
                <a:gd name="T12" fmla="*/ 0 60000 65536"/>
                <a:gd name="T13" fmla="*/ 0 60000 65536"/>
                <a:gd name="T14" fmla="*/ 0 60000 65536"/>
                <a:gd name="T15" fmla="*/ 0 60000 65536"/>
                <a:gd name="T16" fmla="*/ 0 60000 65536"/>
                <a:gd name="T17" fmla="*/ 0 60000 65536"/>
                <a:gd name="T18" fmla="*/ 0 w 19"/>
                <a:gd name="T19" fmla="*/ 0 h 9"/>
                <a:gd name="T20" fmla="*/ 19 w 19"/>
                <a:gd name="T21" fmla="*/ 9 h 9"/>
              </a:gdLst>
              <a:ahLst/>
              <a:cxnLst>
                <a:cxn ang="T12">
                  <a:pos x="T0" y="T1"/>
                </a:cxn>
                <a:cxn ang="T13">
                  <a:pos x="T2" y="T3"/>
                </a:cxn>
                <a:cxn ang="T14">
                  <a:pos x="T4" y="T5"/>
                </a:cxn>
                <a:cxn ang="T15">
                  <a:pos x="T6" y="T7"/>
                </a:cxn>
                <a:cxn ang="T16">
                  <a:pos x="T8" y="T9"/>
                </a:cxn>
                <a:cxn ang="T17">
                  <a:pos x="T10" y="T11"/>
                </a:cxn>
              </a:cxnLst>
              <a:rect l="T18" t="T19" r="T20" b="T21"/>
              <a:pathLst>
                <a:path w="19" h="9">
                  <a:moveTo>
                    <a:pt x="9" y="9"/>
                  </a:moveTo>
                  <a:lnTo>
                    <a:pt x="19" y="0"/>
                  </a:lnTo>
                  <a:lnTo>
                    <a:pt x="9" y="0"/>
                  </a:lnTo>
                  <a:lnTo>
                    <a:pt x="0" y="9"/>
                  </a:lnTo>
                  <a:lnTo>
                    <a:pt x="9"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45" name="Freeform 223">
              <a:extLst>
                <a:ext uri="{FF2B5EF4-FFF2-40B4-BE49-F238E27FC236}">
                  <a16:creationId xmlns:a16="http://schemas.microsoft.com/office/drawing/2014/main" id="{0AC19AD4-467E-4EEF-BBA8-9D1507DBB34F}"/>
                </a:ext>
              </a:extLst>
            </p:cNvPr>
            <p:cNvSpPr>
              <a:spLocks/>
            </p:cNvSpPr>
            <p:nvPr/>
          </p:nvSpPr>
          <p:spPr bwMode="gray">
            <a:xfrm>
              <a:off x="3504" y="2500"/>
              <a:ext cx="19" cy="9"/>
            </a:xfrm>
            <a:custGeom>
              <a:avLst/>
              <a:gdLst>
                <a:gd name="T0" fmla="*/ 9 w 19"/>
                <a:gd name="T1" fmla="*/ 9 h 9"/>
                <a:gd name="T2" fmla="*/ 19 w 19"/>
                <a:gd name="T3" fmla="*/ 0 h 9"/>
                <a:gd name="T4" fmla="*/ 9 w 19"/>
                <a:gd name="T5" fmla="*/ 0 h 9"/>
                <a:gd name="T6" fmla="*/ 9 w 19"/>
                <a:gd name="T7" fmla="*/ 0 h 9"/>
                <a:gd name="T8" fmla="*/ 0 w 19"/>
                <a:gd name="T9" fmla="*/ 9 h 9"/>
                <a:gd name="T10" fmla="*/ 9 w 19"/>
                <a:gd name="T11" fmla="*/ 9 h 9"/>
                <a:gd name="T12" fmla="*/ 0 60000 65536"/>
                <a:gd name="T13" fmla="*/ 0 60000 65536"/>
                <a:gd name="T14" fmla="*/ 0 60000 65536"/>
                <a:gd name="T15" fmla="*/ 0 60000 65536"/>
                <a:gd name="T16" fmla="*/ 0 60000 65536"/>
                <a:gd name="T17" fmla="*/ 0 60000 65536"/>
                <a:gd name="T18" fmla="*/ 0 w 19"/>
                <a:gd name="T19" fmla="*/ 0 h 9"/>
                <a:gd name="T20" fmla="*/ 19 w 19"/>
                <a:gd name="T21" fmla="*/ 9 h 9"/>
              </a:gdLst>
              <a:ahLst/>
              <a:cxnLst>
                <a:cxn ang="T12">
                  <a:pos x="T0" y="T1"/>
                </a:cxn>
                <a:cxn ang="T13">
                  <a:pos x="T2" y="T3"/>
                </a:cxn>
                <a:cxn ang="T14">
                  <a:pos x="T4" y="T5"/>
                </a:cxn>
                <a:cxn ang="T15">
                  <a:pos x="T6" y="T7"/>
                </a:cxn>
                <a:cxn ang="T16">
                  <a:pos x="T8" y="T9"/>
                </a:cxn>
                <a:cxn ang="T17">
                  <a:pos x="T10" y="T11"/>
                </a:cxn>
              </a:cxnLst>
              <a:rect l="T18" t="T19" r="T20" b="T21"/>
              <a:pathLst>
                <a:path w="19" h="9">
                  <a:moveTo>
                    <a:pt x="9" y="9"/>
                  </a:moveTo>
                  <a:lnTo>
                    <a:pt x="19" y="0"/>
                  </a:lnTo>
                  <a:lnTo>
                    <a:pt x="9" y="0"/>
                  </a:lnTo>
                  <a:lnTo>
                    <a:pt x="0" y="9"/>
                  </a:lnTo>
                  <a:lnTo>
                    <a:pt x="9"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46" name="Freeform 224">
              <a:extLst>
                <a:ext uri="{FF2B5EF4-FFF2-40B4-BE49-F238E27FC236}">
                  <a16:creationId xmlns:a16="http://schemas.microsoft.com/office/drawing/2014/main" id="{91000228-815C-4203-A0A7-20A4F7267ACA}"/>
                </a:ext>
              </a:extLst>
            </p:cNvPr>
            <p:cNvSpPr>
              <a:spLocks/>
            </p:cNvSpPr>
            <p:nvPr/>
          </p:nvSpPr>
          <p:spPr bwMode="gray">
            <a:xfrm>
              <a:off x="3447" y="2509"/>
              <a:ext cx="66" cy="48"/>
            </a:xfrm>
            <a:custGeom>
              <a:avLst/>
              <a:gdLst>
                <a:gd name="T0" fmla="*/ 66 w 66"/>
                <a:gd name="T1" fmla="*/ 0 h 48"/>
                <a:gd name="T2" fmla="*/ 57 w 66"/>
                <a:gd name="T3" fmla="*/ 0 h 48"/>
                <a:gd name="T4" fmla="*/ 57 w 66"/>
                <a:gd name="T5" fmla="*/ 10 h 48"/>
                <a:gd name="T6" fmla="*/ 38 w 66"/>
                <a:gd name="T7" fmla="*/ 19 h 48"/>
                <a:gd name="T8" fmla="*/ 28 w 66"/>
                <a:gd name="T9" fmla="*/ 19 h 48"/>
                <a:gd name="T10" fmla="*/ 19 w 66"/>
                <a:gd name="T11" fmla="*/ 29 h 48"/>
                <a:gd name="T12" fmla="*/ 9 w 66"/>
                <a:gd name="T13" fmla="*/ 29 h 48"/>
                <a:gd name="T14" fmla="*/ 0 w 66"/>
                <a:gd name="T15" fmla="*/ 19 h 48"/>
                <a:gd name="T16" fmla="*/ 0 w 66"/>
                <a:gd name="T17" fmla="*/ 29 h 48"/>
                <a:gd name="T18" fmla="*/ 9 w 66"/>
                <a:gd name="T19" fmla="*/ 38 h 48"/>
                <a:gd name="T20" fmla="*/ 47 w 66"/>
                <a:gd name="T21" fmla="*/ 48 h 48"/>
                <a:gd name="T22" fmla="*/ 47 w 66"/>
                <a:gd name="T23" fmla="*/ 29 h 48"/>
                <a:gd name="T24" fmla="*/ 66 w 66"/>
                <a:gd name="T25" fmla="*/ 19 h 48"/>
                <a:gd name="T26" fmla="*/ 57 w 66"/>
                <a:gd name="T27" fmla="*/ 10 h 48"/>
                <a:gd name="T28" fmla="*/ 66 w 66"/>
                <a:gd name="T29" fmla="*/ 10 h 48"/>
                <a:gd name="T30" fmla="*/ 66 w 66"/>
                <a:gd name="T31" fmla="*/ 0 h 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6"/>
                <a:gd name="T49" fmla="*/ 0 h 48"/>
                <a:gd name="T50" fmla="*/ 66 w 66"/>
                <a:gd name="T51" fmla="*/ 48 h 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6" h="48">
                  <a:moveTo>
                    <a:pt x="66" y="0"/>
                  </a:moveTo>
                  <a:lnTo>
                    <a:pt x="57" y="0"/>
                  </a:lnTo>
                  <a:lnTo>
                    <a:pt x="57" y="10"/>
                  </a:lnTo>
                  <a:lnTo>
                    <a:pt x="38" y="19"/>
                  </a:lnTo>
                  <a:lnTo>
                    <a:pt x="28" y="19"/>
                  </a:lnTo>
                  <a:lnTo>
                    <a:pt x="19" y="29"/>
                  </a:lnTo>
                  <a:lnTo>
                    <a:pt x="9" y="29"/>
                  </a:lnTo>
                  <a:lnTo>
                    <a:pt x="0" y="19"/>
                  </a:lnTo>
                  <a:lnTo>
                    <a:pt x="0" y="29"/>
                  </a:lnTo>
                  <a:lnTo>
                    <a:pt x="9" y="38"/>
                  </a:lnTo>
                  <a:lnTo>
                    <a:pt x="47" y="48"/>
                  </a:lnTo>
                  <a:lnTo>
                    <a:pt x="47" y="29"/>
                  </a:lnTo>
                  <a:lnTo>
                    <a:pt x="66" y="19"/>
                  </a:lnTo>
                  <a:lnTo>
                    <a:pt x="57" y="10"/>
                  </a:lnTo>
                  <a:lnTo>
                    <a:pt x="66" y="10"/>
                  </a:lnTo>
                  <a:lnTo>
                    <a:pt x="66"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47" name="Freeform 225">
              <a:extLst>
                <a:ext uri="{FF2B5EF4-FFF2-40B4-BE49-F238E27FC236}">
                  <a16:creationId xmlns:a16="http://schemas.microsoft.com/office/drawing/2014/main" id="{17CFF5E4-A6AE-44D4-BBA0-7C5FCA30A88F}"/>
                </a:ext>
              </a:extLst>
            </p:cNvPr>
            <p:cNvSpPr>
              <a:spLocks/>
            </p:cNvSpPr>
            <p:nvPr/>
          </p:nvSpPr>
          <p:spPr bwMode="gray">
            <a:xfrm>
              <a:off x="3447" y="2509"/>
              <a:ext cx="66" cy="48"/>
            </a:xfrm>
            <a:custGeom>
              <a:avLst/>
              <a:gdLst>
                <a:gd name="T0" fmla="*/ 66 w 66"/>
                <a:gd name="T1" fmla="*/ 0 h 48"/>
                <a:gd name="T2" fmla="*/ 57 w 66"/>
                <a:gd name="T3" fmla="*/ 0 h 48"/>
                <a:gd name="T4" fmla="*/ 57 w 66"/>
                <a:gd name="T5" fmla="*/ 10 h 48"/>
                <a:gd name="T6" fmla="*/ 38 w 66"/>
                <a:gd name="T7" fmla="*/ 19 h 48"/>
                <a:gd name="T8" fmla="*/ 28 w 66"/>
                <a:gd name="T9" fmla="*/ 19 h 48"/>
                <a:gd name="T10" fmla="*/ 19 w 66"/>
                <a:gd name="T11" fmla="*/ 29 h 48"/>
                <a:gd name="T12" fmla="*/ 9 w 66"/>
                <a:gd name="T13" fmla="*/ 29 h 48"/>
                <a:gd name="T14" fmla="*/ 0 w 66"/>
                <a:gd name="T15" fmla="*/ 19 h 48"/>
                <a:gd name="T16" fmla="*/ 0 w 66"/>
                <a:gd name="T17" fmla="*/ 29 h 48"/>
                <a:gd name="T18" fmla="*/ 9 w 66"/>
                <a:gd name="T19" fmla="*/ 38 h 48"/>
                <a:gd name="T20" fmla="*/ 47 w 66"/>
                <a:gd name="T21" fmla="*/ 48 h 48"/>
                <a:gd name="T22" fmla="*/ 47 w 66"/>
                <a:gd name="T23" fmla="*/ 29 h 48"/>
                <a:gd name="T24" fmla="*/ 66 w 66"/>
                <a:gd name="T25" fmla="*/ 19 h 48"/>
                <a:gd name="T26" fmla="*/ 57 w 66"/>
                <a:gd name="T27" fmla="*/ 10 h 48"/>
                <a:gd name="T28" fmla="*/ 66 w 66"/>
                <a:gd name="T29" fmla="*/ 10 h 48"/>
                <a:gd name="T30" fmla="*/ 66 w 66"/>
                <a:gd name="T31" fmla="*/ 0 h 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6"/>
                <a:gd name="T49" fmla="*/ 0 h 48"/>
                <a:gd name="T50" fmla="*/ 66 w 66"/>
                <a:gd name="T51" fmla="*/ 48 h 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6" h="48">
                  <a:moveTo>
                    <a:pt x="66" y="0"/>
                  </a:moveTo>
                  <a:lnTo>
                    <a:pt x="57" y="0"/>
                  </a:lnTo>
                  <a:lnTo>
                    <a:pt x="57" y="10"/>
                  </a:lnTo>
                  <a:lnTo>
                    <a:pt x="38" y="19"/>
                  </a:lnTo>
                  <a:lnTo>
                    <a:pt x="28" y="19"/>
                  </a:lnTo>
                  <a:lnTo>
                    <a:pt x="19" y="29"/>
                  </a:lnTo>
                  <a:lnTo>
                    <a:pt x="9" y="29"/>
                  </a:lnTo>
                  <a:lnTo>
                    <a:pt x="0" y="19"/>
                  </a:lnTo>
                  <a:lnTo>
                    <a:pt x="0" y="29"/>
                  </a:lnTo>
                  <a:lnTo>
                    <a:pt x="9" y="38"/>
                  </a:lnTo>
                  <a:lnTo>
                    <a:pt x="47" y="48"/>
                  </a:lnTo>
                  <a:lnTo>
                    <a:pt x="47" y="29"/>
                  </a:lnTo>
                  <a:lnTo>
                    <a:pt x="66" y="19"/>
                  </a:lnTo>
                  <a:lnTo>
                    <a:pt x="57" y="10"/>
                  </a:lnTo>
                  <a:lnTo>
                    <a:pt x="66" y="10"/>
                  </a:lnTo>
                  <a:lnTo>
                    <a:pt x="66"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48" name="Freeform 226">
              <a:extLst>
                <a:ext uri="{FF2B5EF4-FFF2-40B4-BE49-F238E27FC236}">
                  <a16:creationId xmlns:a16="http://schemas.microsoft.com/office/drawing/2014/main" id="{720CF2D5-DB7C-4527-A394-86D8639F087E}"/>
                </a:ext>
              </a:extLst>
            </p:cNvPr>
            <p:cNvSpPr>
              <a:spLocks/>
            </p:cNvSpPr>
            <p:nvPr/>
          </p:nvSpPr>
          <p:spPr bwMode="gray">
            <a:xfrm>
              <a:off x="3437" y="2500"/>
              <a:ext cx="10" cy="28"/>
            </a:xfrm>
            <a:custGeom>
              <a:avLst/>
              <a:gdLst>
                <a:gd name="T0" fmla="*/ 0 w 10"/>
                <a:gd name="T1" fmla="*/ 19 h 28"/>
                <a:gd name="T2" fmla="*/ 0 w 10"/>
                <a:gd name="T3" fmla="*/ 9 h 28"/>
                <a:gd name="T4" fmla="*/ 0 w 10"/>
                <a:gd name="T5" fmla="*/ 9 h 28"/>
                <a:gd name="T6" fmla="*/ 0 w 10"/>
                <a:gd name="T7" fmla="*/ 0 h 28"/>
                <a:gd name="T8" fmla="*/ 10 w 10"/>
                <a:gd name="T9" fmla="*/ 0 h 28"/>
                <a:gd name="T10" fmla="*/ 10 w 10"/>
                <a:gd name="T11" fmla="*/ 19 h 28"/>
                <a:gd name="T12" fmla="*/ 10 w 10"/>
                <a:gd name="T13" fmla="*/ 28 h 28"/>
                <a:gd name="T14" fmla="*/ 0 w 10"/>
                <a:gd name="T15" fmla="*/ 28 h 28"/>
                <a:gd name="T16" fmla="*/ 0 w 10"/>
                <a:gd name="T17" fmla="*/ 19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28"/>
                <a:gd name="T29" fmla="*/ 10 w 10"/>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28">
                  <a:moveTo>
                    <a:pt x="0" y="19"/>
                  </a:moveTo>
                  <a:lnTo>
                    <a:pt x="0" y="9"/>
                  </a:lnTo>
                  <a:lnTo>
                    <a:pt x="0" y="0"/>
                  </a:lnTo>
                  <a:lnTo>
                    <a:pt x="10" y="0"/>
                  </a:lnTo>
                  <a:lnTo>
                    <a:pt x="10" y="19"/>
                  </a:lnTo>
                  <a:lnTo>
                    <a:pt x="10" y="28"/>
                  </a:lnTo>
                  <a:lnTo>
                    <a:pt x="0" y="28"/>
                  </a:lnTo>
                  <a:lnTo>
                    <a:pt x="0"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49" name="Freeform 227">
              <a:extLst>
                <a:ext uri="{FF2B5EF4-FFF2-40B4-BE49-F238E27FC236}">
                  <a16:creationId xmlns:a16="http://schemas.microsoft.com/office/drawing/2014/main" id="{6BF4AB44-AC1F-4CA7-AC49-582C365865FB}"/>
                </a:ext>
              </a:extLst>
            </p:cNvPr>
            <p:cNvSpPr>
              <a:spLocks/>
            </p:cNvSpPr>
            <p:nvPr/>
          </p:nvSpPr>
          <p:spPr bwMode="gray">
            <a:xfrm>
              <a:off x="3437" y="2500"/>
              <a:ext cx="10" cy="28"/>
            </a:xfrm>
            <a:custGeom>
              <a:avLst/>
              <a:gdLst>
                <a:gd name="T0" fmla="*/ 0 w 10"/>
                <a:gd name="T1" fmla="*/ 19 h 28"/>
                <a:gd name="T2" fmla="*/ 0 w 10"/>
                <a:gd name="T3" fmla="*/ 9 h 28"/>
                <a:gd name="T4" fmla="*/ 0 w 10"/>
                <a:gd name="T5" fmla="*/ 9 h 28"/>
                <a:gd name="T6" fmla="*/ 0 w 10"/>
                <a:gd name="T7" fmla="*/ 0 h 28"/>
                <a:gd name="T8" fmla="*/ 10 w 10"/>
                <a:gd name="T9" fmla="*/ 0 h 28"/>
                <a:gd name="T10" fmla="*/ 10 w 10"/>
                <a:gd name="T11" fmla="*/ 19 h 28"/>
                <a:gd name="T12" fmla="*/ 10 w 10"/>
                <a:gd name="T13" fmla="*/ 28 h 28"/>
                <a:gd name="T14" fmla="*/ 0 w 10"/>
                <a:gd name="T15" fmla="*/ 28 h 28"/>
                <a:gd name="T16" fmla="*/ 0 w 10"/>
                <a:gd name="T17" fmla="*/ 19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28"/>
                <a:gd name="T29" fmla="*/ 10 w 10"/>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28">
                  <a:moveTo>
                    <a:pt x="0" y="19"/>
                  </a:moveTo>
                  <a:lnTo>
                    <a:pt x="0" y="9"/>
                  </a:lnTo>
                  <a:lnTo>
                    <a:pt x="0" y="0"/>
                  </a:lnTo>
                  <a:lnTo>
                    <a:pt x="10" y="0"/>
                  </a:lnTo>
                  <a:lnTo>
                    <a:pt x="10" y="19"/>
                  </a:lnTo>
                  <a:lnTo>
                    <a:pt x="10" y="28"/>
                  </a:lnTo>
                  <a:lnTo>
                    <a:pt x="0" y="28"/>
                  </a:lnTo>
                  <a:lnTo>
                    <a:pt x="0"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50" name="Freeform 228">
              <a:extLst>
                <a:ext uri="{FF2B5EF4-FFF2-40B4-BE49-F238E27FC236}">
                  <a16:creationId xmlns:a16="http://schemas.microsoft.com/office/drawing/2014/main" id="{850F4260-E7AE-44FD-AB97-444BEE5C09C5}"/>
                </a:ext>
              </a:extLst>
            </p:cNvPr>
            <p:cNvSpPr>
              <a:spLocks/>
            </p:cNvSpPr>
            <p:nvPr/>
          </p:nvSpPr>
          <p:spPr bwMode="gray">
            <a:xfrm>
              <a:off x="3380" y="2442"/>
              <a:ext cx="19" cy="20"/>
            </a:xfrm>
            <a:custGeom>
              <a:avLst/>
              <a:gdLst>
                <a:gd name="T0" fmla="*/ 0 w 19"/>
                <a:gd name="T1" fmla="*/ 10 h 20"/>
                <a:gd name="T2" fmla="*/ 0 w 19"/>
                <a:gd name="T3" fmla="*/ 10 h 20"/>
                <a:gd name="T4" fmla="*/ 0 w 19"/>
                <a:gd name="T5" fmla="*/ 0 h 20"/>
                <a:gd name="T6" fmla="*/ 19 w 19"/>
                <a:gd name="T7" fmla="*/ 0 h 20"/>
                <a:gd name="T8" fmla="*/ 9 w 19"/>
                <a:gd name="T9" fmla="*/ 10 h 20"/>
                <a:gd name="T10" fmla="*/ 9 w 19"/>
                <a:gd name="T11" fmla="*/ 10 h 20"/>
                <a:gd name="T12" fmla="*/ 19 w 19"/>
                <a:gd name="T13" fmla="*/ 20 h 20"/>
                <a:gd name="T14" fmla="*/ 9 w 19"/>
                <a:gd name="T15" fmla="*/ 20 h 20"/>
                <a:gd name="T16" fmla="*/ 0 w 19"/>
                <a:gd name="T17" fmla="*/ 10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20"/>
                <a:gd name="T29" fmla="*/ 19 w 19"/>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20">
                  <a:moveTo>
                    <a:pt x="0" y="10"/>
                  </a:moveTo>
                  <a:lnTo>
                    <a:pt x="0" y="10"/>
                  </a:lnTo>
                  <a:lnTo>
                    <a:pt x="0" y="0"/>
                  </a:lnTo>
                  <a:lnTo>
                    <a:pt x="19" y="0"/>
                  </a:lnTo>
                  <a:lnTo>
                    <a:pt x="9" y="10"/>
                  </a:lnTo>
                  <a:lnTo>
                    <a:pt x="19" y="20"/>
                  </a:lnTo>
                  <a:lnTo>
                    <a:pt x="9" y="2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51" name="Freeform 229">
              <a:extLst>
                <a:ext uri="{FF2B5EF4-FFF2-40B4-BE49-F238E27FC236}">
                  <a16:creationId xmlns:a16="http://schemas.microsoft.com/office/drawing/2014/main" id="{6D97F47F-1E28-4841-97C1-D97211F9EDD3}"/>
                </a:ext>
              </a:extLst>
            </p:cNvPr>
            <p:cNvSpPr>
              <a:spLocks/>
            </p:cNvSpPr>
            <p:nvPr/>
          </p:nvSpPr>
          <p:spPr bwMode="gray">
            <a:xfrm>
              <a:off x="3380" y="2442"/>
              <a:ext cx="19" cy="20"/>
            </a:xfrm>
            <a:custGeom>
              <a:avLst/>
              <a:gdLst>
                <a:gd name="T0" fmla="*/ 0 w 19"/>
                <a:gd name="T1" fmla="*/ 10 h 20"/>
                <a:gd name="T2" fmla="*/ 0 w 19"/>
                <a:gd name="T3" fmla="*/ 10 h 20"/>
                <a:gd name="T4" fmla="*/ 0 w 19"/>
                <a:gd name="T5" fmla="*/ 0 h 20"/>
                <a:gd name="T6" fmla="*/ 19 w 19"/>
                <a:gd name="T7" fmla="*/ 0 h 20"/>
                <a:gd name="T8" fmla="*/ 9 w 19"/>
                <a:gd name="T9" fmla="*/ 10 h 20"/>
                <a:gd name="T10" fmla="*/ 9 w 19"/>
                <a:gd name="T11" fmla="*/ 10 h 20"/>
                <a:gd name="T12" fmla="*/ 19 w 19"/>
                <a:gd name="T13" fmla="*/ 20 h 20"/>
                <a:gd name="T14" fmla="*/ 9 w 19"/>
                <a:gd name="T15" fmla="*/ 20 h 20"/>
                <a:gd name="T16" fmla="*/ 0 w 19"/>
                <a:gd name="T17" fmla="*/ 10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20"/>
                <a:gd name="T29" fmla="*/ 19 w 19"/>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20">
                  <a:moveTo>
                    <a:pt x="0" y="10"/>
                  </a:moveTo>
                  <a:lnTo>
                    <a:pt x="0" y="10"/>
                  </a:lnTo>
                  <a:lnTo>
                    <a:pt x="0" y="0"/>
                  </a:lnTo>
                  <a:lnTo>
                    <a:pt x="19" y="0"/>
                  </a:lnTo>
                  <a:lnTo>
                    <a:pt x="9" y="10"/>
                  </a:lnTo>
                  <a:lnTo>
                    <a:pt x="19" y="20"/>
                  </a:lnTo>
                  <a:lnTo>
                    <a:pt x="9" y="2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52" name="Freeform 230">
              <a:extLst>
                <a:ext uri="{FF2B5EF4-FFF2-40B4-BE49-F238E27FC236}">
                  <a16:creationId xmlns:a16="http://schemas.microsoft.com/office/drawing/2014/main" id="{7B8FFA37-7A5F-4B6D-9F49-6B6D0C486326}"/>
                </a:ext>
              </a:extLst>
            </p:cNvPr>
            <p:cNvSpPr>
              <a:spLocks/>
            </p:cNvSpPr>
            <p:nvPr/>
          </p:nvSpPr>
          <p:spPr bwMode="gray">
            <a:xfrm>
              <a:off x="3580" y="2328"/>
              <a:ext cx="248" cy="210"/>
            </a:xfrm>
            <a:custGeom>
              <a:avLst/>
              <a:gdLst>
                <a:gd name="T0" fmla="*/ 248 w 248"/>
                <a:gd name="T1" fmla="*/ 38 h 210"/>
                <a:gd name="T2" fmla="*/ 229 w 248"/>
                <a:gd name="T3" fmla="*/ 38 h 210"/>
                <a:gd name="T4" fmla="*/ 210 w 248"/>
                <a:gd name="T5" fmla="*/ 38 h 210"/>
                <a:gd name="T6" fmla="*/ 200 w 248"/>
                <a:gd name="T7" fmla="*/ 38 h 210"/>
                <a:gd name="T8" fmla="*/ 200 w 248"/>
                <a:gd name="T9" fmla="*/ 57 h 210"/>
                <a:gd name="T10" fmla="*/ 210 w 248"/>
                <a:gd name="T11" fmla="*/ 67 h 210"/>
                <a:gd name="T12" fmla="*/ 219 w 248"/>
                <a:gd name="T13" fmla="*/ 76 h 210"/>
                <a:gd name="T14" fmla="*/ 219 w 248"/>
                <a:gd name="T15" fmla="*/ 86 h 210"/>
                <a:gd name="T16" fmla="*/ 210 w 248"/>
                <a:gd name="T17" fmla="*/ 86 h 210"/>
                <a:gd name="T18" fmla="*/ 200 w 248"/>
                <a:gd name="T19" fmla="*/ 105 h 210"/>
                <a:gd name="T20" fmla="*/ 191 w 248"/>
                <a:gd name="T21" fmla="*/ 105 h 210"/>
                <a:gd name="T22" fmla="*/ 191 w 248"/>
                <a:gd name="T23" fmla="*/ 124 h 210"/>
                <a:gd name="T24" fmla="*/ 162 w 248"/>
                <a:gd name="T25" fmla="*/ 143 h 210"/>
                <a:gd name="T26" fmla="*/ 153 w 248"/>
                <a:gd name="T27" fmla="*/ 143 h 210"/>
                <a:gd name="T28" fmla="*/ 143 w 248"/>
                <a:gd name="T29" fmla="*/ 143 h 210"/>
                <a:gd name="T30" fmla="*/ 133 w 248"/>
                <a:gd name="T31" fmla="*/ 162 h 210"/>
                <a:gd name="T32" fmla="*/ 153 w 248"/>
                <a:gd name="T33" fmla="*/ 191 h 210"/>
                <a:gd name="T34" fmla="*/ 153 w 248"/>
                <a:gd name="T35" fmla="*/ 200 h 210"/>
                <a:gd name="T36" fmla="*/ 133 w 248"/>
                <a:gd name="T37" fmla="*/ 191 h 210"/>
                <a:gd name="T38" fmla="*/ 114 w 248"/>
                <a:gd name="T39" fmla="*/ 200 h 210"/>
                <a:gd name="T40" fmla="*/ 114 w 248"/>
                <a:gd name="T41" fmla="*/ 210 h 210"/>
                <a:gd name="T42" fmla="*/ 105 w 248"/>
                <a:gd name="T43" fmla="*/ 210 h 210"/>
                <a:gd name="T44" fmla="*/ 105 w 248"/>
                <a:gd name="T45" fmla="*/ 200 h 210"/>
                <a:gd name="T46" fmla="*/ 95 w 248"/>
                <a:gd name="T47" fmla="*/ 200 h 210"/>
                <a:gd name="T48" fmla="*/ 95 w 248"/>
                <a:gd name="T49" fmla="*/ 191 h 210"/>
                <a:gd name="T50" fmla="*/ 95 w 248"/>
                <a:gd name="T51" fmla="*/ 191 h 210"/>
                <a:gd name="T52" fmla="*/ 76 w 248"/>
                <a:gd name="T53" fmla="*/ 181 h 210"/>
                <a:gd name="T54" fmla="*/ 76 w 248"/>
                <a:gd name="T55" fmla="*/ 191 h 210"/>
                <a:gd name="T56" fmla="*/ 57 w 248"/>
                <a:gd name="T57" fmla="*/ 191 h 210"/>
                <a:gd name="T58" fmla="*/ 48 w 248"/>
                <a:gd name="T59" fmla="*/ 191 h 210"/>
                <a:gd name="T60" fmla="*/ 29 w 248"/>
                <a:gd name="T61" fmla="*/ 191 h 210"/>
                <a:gd name="T62" fmla="*/ 19 w 248"/>
                <a:gd name="T63" fmla="*/ 191 h 210"/>
                <a:gd name="T64" fmla="*/ 19 w 248"/>
                <a:gd name="T65" fmla="*/ 181 h 210"/>
                <a:gd name="T66" fmla="*/ 19 w 248"/>
                <a:gd name="T67" fmla="*/ 172 h 210"/>
                <a:gd name="T68" fmla="*/ 38 w 248"/>
                <a:gd name="T69" fmla="*/ 162 h 210"/>
                <a:gd name="T70" fmla="*/ 38 w 248"/>
                <a:gd name="T71" fmla="*/ 153 h 210"/>
                <a:gd name="T72" fmla="*/ 29 w 248"/>
                <a:gd name="T73" fmla="*/ 153 h 210"/>
                <a:gd name="T74" fmla="*/ 29 w 248"/>
                <a:gd name="T75" fmla="*/ 143 h 210"/>
                <a:gd name="T76" fmla="*/ 0 w 248"/>
                <a:gd name="T77" fmla="*/ 124 h 210"/>
                <a:gd name="T78" fmla="*/ 0 w 248"/>
                <a:gd name="T79" fmla="*/ 114 h 210"/>
                <a:gd name="T80" fmla="*/ 19 w 248"/>
                <a:gd name="T81" fmla="*/ 114 h 210"/>
                <a:gd name="T82" fmla="*/ 29 w 248"/>
                <a:gd name="T83" fmla="*/ 114 h 210"/>
                <a:gd name="T84" fmla="*/ 67 w 248"/>
                <a:gd name="T85" fmla="*/ 124 h 210"/>
                <a:gd name="T86" fmla="*/ 86 w 248"/>
                <a:gd name="T87" fmla="*/ 114 h 210"/>
                <a:gd name="T88" fmla="*/ 86 w 248"/>
                <a:gd name="T89" fmla="*/ 105 h 210"/>
                <a:gd name="T90" fmla="*/ 86 w 248"/>
                <a:gd name="T91" fmla="*/ 95 h 210"/>
                <a:gd name="T92" fmla="*/ 95 w 248"/>
                <a:gd name="T93" fmla="*/ 95 h 210"/>
                <a:gd name="T94" fmla="*/ 105 w 248"/>
                <a:gd name="T95" fmla="*/ 86 h 210"/>
                <a:gd name="T96" fmla="*/ 124 w 248"/>
                <a:gd name="T97" fmla="*/ 86 h 210"/>
                <a:gd name="T98" fmla="*/ 124 w 248"/>
                <a:gd name="T99" fmla="*/ 67 h 210"/>
                <a:gd name="T100" fmla="*/ 143 w 248"/>
                <a:gd name="T101" fmla="*/ 48 h 210"/>
                <a:gd name="T102" fmla="*/ 153 w 248"/>
                <a:gd name="T103" fmla="*/ 48 h 210"/>
                <a:gd name="T104" fmla="*/ 162 w 248"/>
                <a:gd name="T105" fmla="*/ 29 h 210"/>
                <a:gd name="T106" fmla="*/ 162 w 248"/>
                <a:gd name="T107" fmla="*/ 9 h 210"/>
                <a:gd name="T108" fmla="*/ 191 w 248"/>
                <a:gd name="T109" fmla="*/ 0 h 210"/>
                <a:gd name="T110" fmla="*/ 200 w 248"/>
                <a:gd name="T111" fmla="*/ 0 h 210"/>
                <a:gd name="T112" fmla="*/ 210 w 248"/>
                <a:gd name="T113" fmla="*/ 0 h 210"/>
                <a:gd name="T114" fmla="*/ 219 w 248"/>
                <a:gd name="T115" fmla="*/ 0 h 210"/>
                <a:gd name="T116" fmla="*/ 219 w 248"/>
                <a:gd name="T117" fmla="*/ 9 h 210"/>
                <a:gd name="T118" fmla="*/ 229 w 248"/>
                <a:gd name="T119" fmla="*/ 19 h 210"/>
                <a:gd name="T120" fmla="*/ 238 w 248"/>
                <a:gd name="T121" fmla="*/ 29 h 210"/>
                <a:gd name="T122" fmla="*/ 248 w 248"/>
                <a:gd name="T123" fmla="*/ 38 h 2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8"/>
                <a:gd name="T187" fmla="*/ 0 h 210"/>
                <a:gd name="T188" fmla="*/ 248 w 248"/>
                <a:gd name="T189" fmla="*/ 210 h 2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8" h="210">
                  <a:moveTo>
                    <a:pt x="248" y="38"/>
                  </a:moveTo>
                  <a:lnTo>
                    <a:pt x="229" y="38"/>
                  </a:lnTo>
                  <a:lnTo>
                    <a:pt x="210" y="38"/>
                  </a:lnTo>
                  <a:lnTo>
                    <a:pt x="200" y="38"/>
                  </a:lnTo>
                  <a:lnTo>
                    <a:pt x="200" y="57"/>
                  </a:lnTo>
                  <a:lnTo>
                    <a:pt x="210" y="67"/>
                  </a:lnTo>
                  <a:lnTo>
                    <a:pt x="219" y="76"/>
                  </a:lnTo>
                  <a:lnTo>
                    <a:pt x="219" y="86"/>
                  </a:lnTo>
                  <a:lnTo>
                    <a:pt x="210" y="86"/>
                  </a:lnTo>
                  <a:lnTo>
                    <a:pt x="200" y="105"/>
                  </a:lnTo>
                  <a:lnTo>
                    <a:pt x="191" y="105"/>
                  </a:lnTo>
                  <a:lnTo>
                    <a:pt x="191" y="124"/>
                  </a:lnTo>
                  <a:lnTo>
                    <a:pt x="162" y="143"/>
                  </a:lnTo>
                  <a:lnTo>
                    <a:pt x="153" y="143"/>
                  </a:lnTo>
                  <a:lnTo>
                    <a:pt x="143" y="143"/>
                  </a:lnTo>
                  <a:lnTo>
                    <a:pt x="133" y="162"/>
                  </a:lnTo>
                  <a:lnTo>
                    <a:pt x="153" y="191"/>
                  </a:lnTo>
                  <a:lnTo>
                    <a:pt x="153" y="200"/>
                  </a:lnTo>
                  <a:lnTo>
                    <a:pt x="133" y="191"/>
                  </a:lnTo>
                  <a:lnTo>
                    <a:pt x="114" y="200"/>
                  </a:lnTo>
                  <a:lnTo>
                    <a:pt x="114" y="210"/>
                  </a:lnTo>
                  <a:lnTo>
                    <a:pt x="105" y="210"/>
                  </a:lnTo>
                  <a:lnTo>
                    <a:pt x="105" y="200"/>
                  </a:lnTo>
                  <a:lnTo>
                    <a:pt x="95" y="200"/>
                  </a:lnTo>
                  <a:lnTo>
                    <a:pt x="95" y="191"/>
                  </a:lnTo>
                  <a:lnTo>
                    <a:pt x="76" y="181"/>
                  </a:lnTo>
                  <a:lnTo>
                    <a:pt x="76" y="191"/>
                  </a:lnTo>
                  <a:lnTo>
                    <a:pt x="57" y="191"/>
                  </a:lnTo>
                  <a:lnTo>
                    <a:pt x="48" y="191"/>
                  </a:lnTo>
                  <a:lnTo>
                    <a:pt x="29" y="191"/>
                  </a:lnTo>
                  <a:lnTo>
                    <a:pt x="19" y="191"/>
                  </a:lnTo>
                  <a:lnTo>
                    <a:pt x="19" y="181"/>
                  </a:lnTo>
                  <a:lnTo>
                    <a:pt x="19" y="172"/>
                  </a:lnTo>
                  <a:lnTo>
                    <a:pt x="38" y="162"/>
                  </a:lnTo>
                  <a:lnTo>
                    <a:pt x="38" y="153"/>
                  </a:lnTo>
                  <a:lnTo>
                    <a:pt x="29" y="153"/>
                  </a:lnTo>
                  <a:lnTo>
                    <a:pt x="29" y="143"/>
                  </a:lnTo>
                  <a:lnTo>
                    <a:pt x="0" y="124"/>
                  </a:lnTo>
                  <a:lnTo>
                    <a:pt x="0" y="114"/>
                  </a:lnTo>
                  <a:lnTo>
                    <a:pt x="19" y="114"/>
                  </a:lnTo>
                  <a:lnTo>
                    <a:pt x="29" y="114"/>
                  </a:lnTo>
                  <a:lnTo>
                    <a:pt x="67" y="124"/>
                  </a:lnTo>
                  <a:lnTo>
                    <a:pt x="86" y="114"/>
                  </a:lnTo>
                  <a:lnTo>
                    <a:pt x="86" y="105"/>
                  </a:lnTo>
                  <a:lnTo>
                    <a:pt x="86" y="95"/>
                  </a:lnTo>
                  <a:lnTo>
                    <a:pt x="95" y="95"/>
                  </a:lnTo>
                  <a:lnTo>
                    <a:pt x="105" y="86"/>
                  </a:lnTo>
                  <a:lnTo>
                    <a:pt x="124" y="86"/>
                  </a:lnTo>
                  <a:lnTo>
                    <a:pt x="124" y="67"/>
                  </a:lnTo>
                  <a:lnTo>
                    <a:pt x="143" y="48"/>
                  </a:lnTo>
                  <a:lnTo>
                    <a:pt x="153" y="48"/>
                  </a:lnTo>
                  <a:lnTo>
                    <a:pt x="162" y="29"/>
                  </a:lnTo>
                  <a:lnTo>
                    <a:pt x="162" y="9"/>
                  </a:lnTo>
                  <a:lnTo>
                    <a:pt x="191" y="0"/>
                  </a:lnTo>
                  <a:lnTo>
                    <a:pt x="200" y="0"/>
                  </a:lnTo>
                  <a:lnTo>
                    <a:pt x="210" y="0"/>
                  </a:lnTo>
                  <a:lnTo>
                    <a:pt x="219" y="0"/>
                  </a:lnTo>
                  <a:lnTo>
                    <a:pt x="219" y="9"/>
                  </a:lnTo>
                  <a:lnTo>
                    <a:pt x="229" y="19"/>
                  </a:lnTo>
                  <a:lnTo>
                    <a:pt x="238" y="29"/>
                  </a:lnTo>
                  <a:lnTo>
                    <a:pt x="248"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53" name="Freeform 231">
              <a:extLst>
                <a:ext uri="{FF2B5EF4-FFF2-40B4-BE49-F238E27FC236}">
                  <a16:creationId xmlns:a16="http://schemas.microsoft.com/office/drawing/2014/main" id="{AE55F52C-5677-4A33-A7E6-0D4BBC23B1FD}"/>
                </a:ext>
              </a:extLst>
            </p:cNvPr>
            <p:cNvSpPr>
              <a:spLocks/>
            </p:cNvSpPr>
            <p:nvPr/>
          </p:nvSpPr>
          <p:spPr bwMode="gray">
            <a:xfrm>
              <a:off x="3580" y="2328"/>
              <a:ext cx="248" cy="210"/>
            </a:xfrm>
            <a:custGeom>
              <a:avLst/>
              <a:gdLst>
                <a:gd name="T0" fmla="*/ 248 w 248"/>
                <a:gd name="T1" fmla="*/ 38 h 210"/>
                <a:gd name="T2" fmla="*/ 229 w 248"/>
                <a:gd name="T3" fmla="*/ 38 h 210"/>
                <a:gd name="T4" fmla="*/ 210 w 248"/>
                <a:gd name="T5" fmla="*/ 38 h 210"/>
                <a:gd name="T6" fmla="*/ 200 w 248"/>
                <a:gd name="T7" fmla="*/ 38 h 210"/>
                <a:gd name="T8" fmla="*/ 200 w 248"/>
                <a:gd name="T9" fmla="*/ 57 h 210"/>
                <a:gd name="T10" fmla="*/ 210 w 248"/>
                <a:gd name="T11" fmla="*/ 67 h 210"/>
                <a:gd name="T12" fmla="*/ 219 w 248"/>
                <a:gd name="T13" fmla="*/ 76 h 210"/>
                <a:gd name="T14" fmla="*/ 219 w 248"/>
                <a:gd name="T15" fmla="*/ 86 h 210"/>
                <a:gd name="T16" fmla="*/ 210 w 248"/>
                <a:gd name="T17" fmla="*/ 86 h 210"/>
                <a:gd name="T18" fmla="*/ 200 w 248"/>
                <a:gd name="T19" fmla="*/ 105 h 210"/>
                <a:gd name="T20" fmla="*/ 191 w 248"/>
                <a:gd name="T21" fmla="*/ 105 h 210"/>
                <a:gd name="T22" fmla="*/ 191 w 248"/>
                <a:gd name="T23" fmla="*/ 124 h 210"/>
                <a:gd name="T24" fmla="*/ 162 w 248"/>
                <a:gd name="T25" fmla="*/ 143 h 210"/>
                <a:gd name="T26" fmla="*/ 153 w 248"/>
                <a:gd name="T27" fmla="*/ 143 h 210"/>
                <a:gd name="T28" fmla="*/ 143 w 248"/>
                <a:gd name="T29" fmla="*/ 143 h 210"/>
                <a:gd name="T30" fmla="*/ 133 w 248"/>
                <a:gd name="T31" fmla="*/ 162 h 210"/>
                <a:gd name="T32" fmla="*/ 153 w 248"/>
                <a:gd name="T33" fmla="*/ 191 h 210"/>
                <a:gd name="T34" fmla="*/ 153 w 248"/>
                <a:gd name="T35" fmla="*/ 200 h 210"/>
                <a:gd name="T36" fmla="*/ 133 w 248"/>
                <a:gd name="T37" fmla="*/ 191 h 210"/>
                <a:gd name="T38" fmla="*/ 114 w 248"/>
                <a:gd name="T39" fmla="*/ 200 h 210"/>
                <a:gd name="T40" fmla="*/ 114 w 248"/>
                <a:gd name="T41" fmla="*/ 210 h 210"/>
                <a:gd name="T42" fmla="*/ 105 w 248"/>
                <a:gd name="T43" fmla="*/ 210 h 210"/>
                <a:gd name="T44" fmla="*/ 105 w 248"/>
                <a:gd name="T45" fmla="*/ 200 h 210"/>
                <a:gd name="T46" fmla="*/ 95 w 248"/>
                <a:gd name="T47" fmla="*/ 200 h 210"/>
                <a:gd name="T48" fmla="*/ 95 w 248"/>
                <a:gd name="T49" fmla="*/ 191 h 210"/>
                <a:gd name="T50" fmla="*/ 95 w 248"/>
                <a:gd name="T51" fmla="*/ 191 h 210"/>
                <a:gd name="T52" fmla="*/ 76 w 248"/>
                <a:gd name="T53" fmla="*/ 181 h 210"/>
                <a:gd name="T54" fmla="*/ 76 w 248"/>
                <a:gd name="T55" fmla="*/ 191 h 210"/>
                <a:gd name="T56" fmla="*/ 57 w 248"/>
                <a:gd name="T57" fmla="*/ 191 h 210"/>
                <a:gd name="T58" fmla="*/ 48 w 248"/>
                <a:gd name="T59" fmla="*/ 191 h 210"/>
                <a:gd name="T60" fmla="*/ 29 w 248"/>
                <a:gd name="T61" fmla="*/ 191 h 210"/>
                <a:gd name="T62" fmla="*/ 19 w 248"/>
                <a:gd name="T63" fmla="*/ 191 h 210"/>
                <a:gd name="T64" fmla="*/ 19 w 248"/>
                <a:gd name="T65" fmla="*/ 181 h 210"/>
                <a:gd name="T66" fmla="*/ 19 w 248"/>
                <a:gd name="T67" fmla="*/ 172 h 210"/>
                <a:gd name="T68" fmla="*/ 38 w 248"/>
                <a:gd name="T69" fmla="*/ 162 h 210"/>
                <a:gd name="T70" fmla="*/ 38 w 248"/>
                <a:gd name="T71" fmla="*/ 153 h 210"/>
                <a:gd name="T72" fmla="*/ 29 w 248"/>
                <a:gd name="T73" fmla="*/ 153 h 210"/>
                <a:gd name="T74" fmla="*/ 29 w 248"/>
                <a:gd name="T75" fmla="*/ 143 h 210"/>
                <a:gd name="T76" fmla="*/ 0 w 248"/>
                <a:gd name="T77" fmla="*/ 124 h 210"/>
                <a:gd name="T78" fmla="*/ 0 w 248"/>
                <a:gd name="T79" fmla="*/ 114 h 210"/>
                <a:gd name="T80" fmla="*/ 19 w 248"/>
                <a:gd name="T81" fmla="*/ 114 h 210"/>
                <a:gd name="T82" fmla="*/ 29 w 248"/>
                <a:gd name="T83" fmla="*/ 114 h 210"/>
                <a:gd name="T84" fmla="*/ 67 w 248"/>
                <a:gd name="T85" fmla="*/ 124 h 210"/>
                <a:gd name="T86" fmla="*/ 86 w 248"/>
                <a:gd name="T87" fmla="*/ 114 h 210"/>
                <a:gd name="T88" fmla="*/ 86 w 248"/>
                <a:gd name="T89" fmla="*/ 105 h 210"/>
                <a:gd name="T90" fmla="*/ 86 w 248"/>
                <a:gd name="T91" fmla="*/ 95 h 210"/>
                <a:gd name="T92" fmla="*/ 95 w 248"/>
                <a:gd name="T93" fmla="*/ 95 h 210"/>
                <a:gd name="T94" fmla="*/ 105 w 248"/>
                <a:gd name="T95" fmla="*/ 86 h 210"/>
                <a:gd name="T96" fmla="*/ 124 w 248"/>
                <a:gd name="T97" fmla="*/ 86 h 210"/>
                <a:gd name="T98" fmla="*/ 124 w 248"/>
                <a:gd name="T99" fmla="*/ 67 h 210"/>
                <a:gd name="T100" fmla="*/ 143 w 248"/>
                <a:gd name="T101" fmla="*/ 48 h 210"/>
                <a:gd name="T102" fmla="*/ 153 w 248"/>
                <a:gd name="T103" fmla="*/ 48 h 210"/>
                <a:gd name="T104" fmla="*/ 162 w 248"/>
                <a:gd name="T105" fmla="*/ 29 h 210"/>
                <a:gd name="T106" fmla="*/ 162 w 248"/>
                <a:gd name="T107" fmla="*/ 9 h 210"/>
                <a:gd name="T108" fmla="*/ 191 w 248"/>
                <a:gd name="T109" fmla="*/ 0 h 210"/>
                <a:gd name="T110" fmla="*/ 200 w 248"/>
                <a:gd name="T111" fmla="*/ 0 h 210"/>
                <a:gd name="T112" fmla="*/ 210 w 248"/>
                <a:gd name="T113" fmla="*/ 0 h 210"/>
                <a:gd name="T114" fmla="*/ 219 w 248"/>
                <a:gd name="T115" fmla="*/ 0 h 210"/>
                <a:gd name="T116" fmla="*/ 219 w 248"/>
                <a:gd name="T117" fmla="*/ 9 h 210"/>
                <a:gd name="T118" fmla="*/ 229 w 248"/>
                <a:gd name="T119" fmla="*/ 19 h 210"/>
                <a:gd name="T120" fmla="*/ 238 w 248"/>
                <a:gd name="T121" fmla="*/ 29 h 210"/>
                <a:gd name="T122" fmla="*/ 248 w 248"/>
                <a:gd name="T123" fmla="*/ 38 h 2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8"/>
                <a:gd name="T187" fmla="*/ 0 h 210"/>
                <a:gd name="T188" fmla="*/ 248 w 248"/>
                <a:gd name="T189" fmla="*/ 210 h 2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8" h="210">
                  <a:moveTo>
                    <a:pt x="248" y="38"/>
                  </a:moveTo>
                  <a:lnTo>
                    <a:pt x="229" y="38"/>
                  </a:lnTo>
                  <a:lnTo>
                    <a:pt x="210" y="38"/>
                  </a:lnTo>
                  <a:lnTo>
                    <a:pt x="200" y="38"/>
                  </a:lnTo>
                  <a:lnTo>
                    <a:pt x="200" y="57"/>
                  </a:lnTo>
                  <a:lnTo>
                    <a:pt x="210" y="67"/>
                  </a:lnTo>
                  <a:lnTo>
                    <a:pt x="219" y="76"/>
                  </a:lnTo>
                  <a:lnTo>
                    <a:pt x="219" y="86"/>
                  </a:lnTo>
                  <a:lnTo>
                    <a:pt x="210" y="86"/>
                  </a:lnTo>
                  <a:lnTo>
                    <a:pt x="200" y="105"/>
                  </a:lnTo>
                  <a:lnTo>
                    <a:pt x="191" y="105"/>
                  </a:lnTo>
                  <a:lnTo>
                    <a:pt x="191" y="124"/>
                  </a:lnTo>
                  <a:lnTo>
                    <a:pt x="162" y="143"/>
                  </a:lnTo>
                  <a:lnTo>
                    <a:pt x="153" y="143"/>
                  </a:lnTo>
                  <a:lnTo>
                    <a:pt x="143" y="143"/>
                  </a:lnTo>
                  <a:lnTo>
                    <a:pt x="133" y="162"/>
                  </a:lnTo>
                  <a:lnTo>
                    <a:pt x="153" y="191"/>
                  </a:lnTo>
                  <a:lnTo>
                    <a:pt x="153" y="200"/>
                  </a:lnTo>
                  <a:lnTo>
                    <a:pt x="133" y="191"/>
                  </a:lnTo>
                  <a:lnTo>
                    <a:pt x="114" y="200"/>
                  </a:lnTo>
                  <a:lnTo>
                    <a:pt x="114" y="210"/>
                  </a:lnTo>
                  <a:lnTo>
                    <a:pt x="105" y="210"/>
                  </a:lnTo>
                  <a:lnTo>
                    <a:pt x="105" y="200"/>
                  </a:lnTo>
                  <a:lnTo>
                    <a:pt x="95" y="200"/>
                  </a:lnTo>
                  <a:lnTo>
                    <a:pt x="95" y="191"/>
                  </a:lnTo>
                  <a:lnTo>
                    <a:pt x="76" y="181"/>
                  </a:lnTo>
                  <a:lnTo>
                    <a:pt x="76" y="191"/>
                  </a:lnTo>
                  <a:lnTo>
                    <a:pt x="57" y="191"/>
                  </a:lnTo>
                  <a:lnTo>
                    <a:pt x="48" y="191"/>
                  </a:lnTo>
                  <a:lnTo>
                    <a:pt x="29" y="191"/>
                  </a:lnTo>
                  <a:lnTo>
                    <a:pt x="19" y="191"/>
                  </a:lnTo>
                  <a:lnTo>
                    <a:pt x="19" y="181"/>
                  </a:lnTo>
                  <a:lnTo>
                    <a:pt x="19" y="172"/>
                  </a:lnTo>
                  <a:lnTo>
                    <a:pt x="38" y="162"/>
                  </a:lnTo>
                  <a:lnTo>
                    <a:pt x="38" y="153"/>
                  </a:lnTo>
                  <a:lnTo>
                    <a:pt x="29" y="153"/>
                  </a:lnTo>
                  <a:lnTo>
                    <a:pt x="29" y="143"/>
                  </a:lnTo>
                  <a:lnTo>
                    <a:pt x="0" y="124"/>
                  </a:lnTo>
                  <a:lnTo>
                    <a:pt x="0" y="114"/>
                  </a:lnTo>
                  <a:lnTo>
                    <a:pt x="19" y="114"/>
                  </a:lnTo>
                  <a:lnTo>
                    <a:pt x="29" y="114"/>
                  </a:lnTo>
                  <a:lnTo>
                    <a:pt x="67" y="124"/>
                  </a:lnTo>
                  <a:lnTo>
                    <a:pt x="86" y="114"/>
                  </a:lnTo>
                  <a:lnTo>
                    <a:pt x="86" y="105"/>
                  </a:lnTo>
                  <a:lnTo>
                    <a:pt x="86" y="95"/>
                  </a:lnTo>
                  <a:lnTo>
                    <a:pt x="95" y="95"/>
                  </a:lnTo>
                  <a:lnTo>
                    <a:pt x="105" y="86"/>
                  </a:lnTo>
                  <a:lnTo>
                    <a:pt x="124" y="86"/>
                  </a:lnTo>
                  <a:lnTo>
                    <a:pt x="124" y="67"/>
                  </a:lnTo>
                  <a:lnTo>
                    <a:pt x="143" y="48"/>
                  </a:lnTo>
                  <a:lnTo>
                    <a:pt x="153" y="48"/>
                  </a:lnTo>
                  <a:lnTo>
                    <a:pt x="162" y="29"/>
                  </a:lnTo>
                  <a:lnTo>
                    <a:pt x="162" y="9"/>
                  </a:lnTo>
                  <a:lnTo>
                    <a:pt x="191" y="0"/>
                  </a:lnTo>
                  <a:lnTo>
                    <a:pt x="200" y="0"/>
                  </a:lnTo>
                  <a:lnTo>
                    <a:pt x="210" y="0"/>
                  </a:lnTo>
                  <a:lnTo>
                    <a:pt x="219" y="0"/>
                  </a:lnTo>
                  <a:lnTo>
                    <a:pt x="219" y="9"/>
                  </a:lnTo>
                  <a:lnTo>
                    <a:pt x="229" y="19"/>
                  </a:lnTo>
                  <a:lnTo>
                    <a:pt x="238" y="29"/>
                  </a:lnTo>
                  <a:lnTo>
                    <a:pt x="248"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54" name="Freeform 232">
              <a:extLst>
                <a:ext uri="{FF2B5EF4-FFF2-40B4-BE49-F238E27FC236}">
                  <a16:creationId xmlns:a16="http://schemas.microsoft.com/office/drawing/2014/main" id="{B75E74BF-D434-4000-8979-67C067E6CB9C}"/>
                </a:ext>
              </a:extLst>
            </p:cNvPr>
            <p:cNvSpPr>
              <a:spLocks/>
            </p:cNvSpPr>
            <p:nvPr/>
          </p:nvSpPr>
          <p:spPr bwMode="gray">
            <a:xfrm>
              <a:off x="3990" y="2490"/>
              <a:ext cx="67" cy="86"/>
            </a:xfrm>
            <a:custGeom>
              <a:avLst/>
              <a:gdLst>
                <a:gd name="T0" fmla="*/ 67 w 67"/>
                <a:gd name="T1" fmla="*/ 77 h 86"/>
                <a:gd name="T2" fmla="*/ 57 w 67"/>
                <a:gd name="T3" fmla="*/ 86 h 86"/>
                <a:gd name="T4" fmla="*/ 57 w 67"/>
                <a:gd name="T5" fmla="*/ 77 h 86"/>
                <a:gd name="T6" fmla="*/ 57 w 67"/>
                <a:gd name="T7" fmla="*/ 67 h 86"/>
                <a:gd name="T8" fmla="*/ 38 w 67"/>
                <a:gd name="T9" fmla="*/ 57 h 86"/>
                <a:gd name="T10" fmla="*/ 38 w 67"/>
                <a:gd name="T11" fmla="*/ 57 h 86"/>
                <a:gd name="T12" fmla="*/ 38 w 67"/>
                <a:gd name="T13" fmla="*/ 57 h 86"/>
                <a:gd name="T14" fmla="*/ 38 w 67"/>
                <a:gd name="T15" fmla="*/ 67 h 86"/>
                <a:gd name="T16" fmla="*/ 19 w 67"/>
                <a:gd name="T17" fmla="*/ 77 h 86"/>
                <a:gd name="T18" fmla="*/ 9 w 67"/>
                <a:gd name="T19" fmla="*/ 77 h 86"/>
                <a:gd name="T20" fmla="*/ 9 w 67"/>
                <a:gd name="T21" fmla="*/ 67 h 86"/>
                <a:gd name="T22" fmla="*/ 9 w 67"/>
                <a:gd name="T23" fmla="*/ 48 h 86"/>
                <a:gd name="T24" fmla="*/ 9 w 67"/>
                <a:gd name="T25" fmla="*/ 48 h 86"/>
                <a:gd name="T26" fmla="*/ 9 w 67"/>
                <a:gd name="T27" fmla="*/ 29 h 86"/>
                <a:gd name="T28" fmla="*/ 0 w 67"/>
                <a:gd name="T29" fmla="*/ 29 h 86"/>
                <a:gd name="T30" fmla="*/ 0 w 67"/>
                <a:gd name="T31" fmla="*/ 19 h 86"/>
                <a:gd name="T32" fmla="*/ 9 w 67"/>
                <a:gd name="T33" fmla="*/ 19 h 86"/>
                <a:gd name="T34" fmla="*/ 9 w 67"/>
                <a:gd name="T35" fmla="*/ 19 h 86"/>
                <a:gd name="T36" fmla="*/ 9 w 67"/>
                <a:gd name="T37" fmla="*/ 10 h 86"/>
                <a:gd name="T38" fmla="*/ 0 w 67"/>
                <a:gd name="T39" fmla="*/ 10 h 86"/>
                <a:gd name="T40" fmla="*/ 9 w 67"/>
                <a:gd name="T41" fmla="*/ 0 h 86"/>
                <a:gd name="T42" fmla="*/ 19 w 67"/>
                <a:gd name="T43" fmla="*/ 0 h 86"/>
                <a:gd name="T44" fmla="*/ 28 w 67"/>
                <a:gd name="T45" fmla="*/ 10 h 86"/>
                <a:gd name="T46" fmla="*/ 48 w 67"/>
                <a:gd name="T47" fmla="*/ 10 h 86"/>
                <a:gd name="T48" fmla="*/ 57 w 67"/>
                <a:gd name="T49" fmla="*/ 19 h 86"/>
                <a:gd name="T50" fmla="*/ 57 w 67"/>
                <a:gd name="T51" fmla="*/ 29 h 86"/>
                <a:gd name="T52" fmla="*/ 48 w 67"/>
                <a:gd name="T53" fmla="*/ 29 h 86"/>
                <a:gd name="T54" fmla="*/ 48 w 67"/>
                <a:gd name="T55" fmla="*/ 38 h 86"/>
                <a:gd name="T56" fmla="*/ 57 w 67"/>
                <a:gd name="T57" fmla="*/ 48 h 86"/>
                <a:gd name="T58" fmla="*/ 67 w 67"/>
                <a:gd name="T59" fmla="*/ 57 h 86"/>
                <a:gd name="T60" fmla="*/ 67 w 67"/>
                <a:gd name="T61" fmla="*/ 67 h 86"/>
                <a:gd name="T62" fmla="*/ 67 w 67"/>
                <a:gd name="T63" fmla="*/ 77 h 8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
                <a:gd name="T97" fmla="*/ 0 h 86"/>
                <a:gd name="T98" fmla="*/ 67 w 67"/>
                <a:gd name="T99" fmla="*/ 86 h 8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 h="86">
                  <a:moveTo>
                    <a:pt x="67" y="77"/>
                  </a:moveTo>
                  <a:lnTo>
                    <a:pt x="57" y="86"/>
                  </a:lnTo>
                  <a:lnTo>
                    <a:pt x="57" y="77"/>
                  </a:lnTo>
                  <a:lnTo>
                    <a:pt x="57" y="67"/>
                  </a:lnTo>
                  <a:lnTo>
                    <a:pt x="38" y="57"/>
                  </a:lnTo>
                  <a:lnTo>
                    <a:pt x="38" y="67"/>
                  </a:lnTo>
                  <a:lnTo>
                    <a:pt x="19" y="77"/>
                  </a:lnTo>
                  <a:lnTo>
                    <a:pt x="9" y="77"/>
                  </a:lnTo>
                  <a:lnTo>
                    <a:pt x="9" y="67"/>
                  </a:lnTo>
                  <a:lnTo>
                    <a:pt x="9" y="48"/>
                  </a:lnTo>
                  <a:lnTo>
                    <a:pt x="9" y="29"/>
                  </a:lnTo>
                  <a:lnTo>
                    <a:pt x="0" y="29"/>
                  </a:lnTo>
                  <a:lnTo>
                    <a:pt x="0" y="19"/>
                  </a:lnTo>
                  <a:lnTo>
                    <a:pt x="9" y="19"/>
                  </a:lnTo>
                  <a:lnTo>
                    <a:pt x="9" y="10"/>
                  </a:lnTo>
                  <a:lnTo>
                    <a:pt x="0" y="10"/>
                  </a:lnTo>
                  <a:lnTo>
                    <a:pt x="9" y="0"/>
                  </a:lnTo>
                  <a:lnTo>
                    <a:pt x="19" y="0"/>
                  </a:lnTo>
                  <a:lnTo>
                    <a:pt x="28" y="10"/>
                  </a:lnTo>
                  <a:lnTo>
                    <a:pt x="48" y="10"/>
                  </a:lnTo>
                  <a:lnTo>
                    <a:pt x="57" y="19"/>
                  </a:lnTo>
                  <a:lnTo>
                    <a:pt x="57" y="29"/>
                  </a:lnTo>
                  <a:lnTo>
                    <a:pt x="48" y="29"/>
                  </a:lnTo>
                  <a:lnTo>
                    <a:pt x="48" y="38"/>
                  </a:lnTo>
                  <a:lnTo>
                    <a:pt x="57" y="48"/>
                  </a:lnTo>
                  <a:lnTo>
                    <a:pt x="67" y="57"/>
                  </a:lnTo>
                  <a:lnTo>
                    <a:pt x="67" y="67"/>
                  </a:lnTo>
                  <a:lnTo>
                    <a:pt x="67" y="7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55" name="Freeform 233">
              <a:extLst>
                <a:ext uri="{FF2B5EF4-FFF2-40B4-BE49-F238E27FC236}">
                  <a16:creationId xmlns:a16="http://schemas.microsoft.com/office/drawing/2014/main" id="{836C54FA-18BD-4678-898F-BFC3D979825A}"/>
                </a:ext>
              </a:extLst>
            </p:cNvPr>
            <p:cNvSpPr>
              <a:spLocks/>
            </p:cNvSpPr>
            <p:nvPr/>
          </p:nvSpPr>
          <p:spPr bwMode="gray">
            <a:xfrm>
              <a:off x="3990" y="2490"/>
              <a:ext cx="67" cy="86"/>
            </a:xfrm>
            <a:custGeom>
              <a:avLst/>
              <a:gdLst>
                <a:gd name="T0" fmla="*/ 67 w 67"/>
                <a:gd name="T1" fmla="*/ 77 h 86"/>
                <a:gd name="T2" fmla="*/ 57 w 67"/>
                <a:gd name="T3" fmla="*/ 86 h 86"/>
                <a:gd name="T4" fmla="*/ 57 w 67"/>
                <a:gd name="T5" fmla="*/ 77 h 86"/>
                <a:gd name="T6" fmla="*/ 57 w 67"/>
                <a:gd name="T7" fmla="*/ 67 h 86"/>
                <a:gd name="T8" fmla="*/ 38 w 67"/>
                <a:gd name="T9" fmla="*/ 57 h 86"/>
                <a:gd name="T10" fmla="*/ 38 w 67"/>
                <a:gd name="T11" fmla="*/ 57 h 86"/>
                <a:gd name="T12" fmla="*/ 38 w 67"/>
                <a:gd name="T13" fmla="*/ 57 h 86"/>
                <a:gd name="T14" fmla="*/ 38 w 67"/>
                <a:gd name="T15" fmla="*/ 67 h 86"/>
                <a:gd name="T16" fmla="*/ 19 w 67"/>
                <a:gd name="T17" fmla="*/ 77 h 86"/>
                <a:gd name="T18" fmla="*/ 9 w 67"/>
                <a:gd name="T19" fmla="*/ 77 h 86"/>
                <a:gd name="T20" fmla="*/ 9 w 67"/>
                <a:gd name="T21" fmla="*/ 67 h 86"/>
                <a:gd name="T22" fmla="*/ 9 w 67"/>
                <a:gd name="T23" fmla="*/ 48 h 86"/>
                <a:gd name="T24" fmla="*/ 9 w 67"/>
                <a:gd name="T25" fmla="*/ 48 h 86"/>
                <a:gd name="T26" fmla="*/ 9 w 67"/>
                <a:gd name="T27" fmla="*/ 29 h 86"/>
                <a:gd name="T28" fmla="*/ 0 w 67"/>
                <a:gd name="T29" fmla="*/ 29 h 86"/>
                <a:gd name="T30" fmla="*/ 0 w 67"/>
                <a:gd name="T31" fmla="*/ 19 h 86"/>
                <a:gd name="T32" fmla="*/ 9 w 67"/>
                <a:gd name="T33" fmla="*/ 19 h 86"/>
                <a:gd name="T34" fmla="*/ 9 w 67"/>
                <a:gd name="T35" fmla="*/ 19 h 86"/>
                <a:gd name="T36" fmla="*/ 9 w 67"/>
                <a:gd name="T37" fmla="*/ 10 h 86"/>
                <a:gd name="T38" fmla="*/ 0 w 67"/>
                <a:gd name="T39" fmla="*/ 10 h 86"/>
                <a:gd name="T40" fmla="*/ 9 w 67"/>
                <a:gd name="T41" fmla="*/ 0 h 86"/>
                <a:gd name="T42" fmla="*/ 19 w 67"/>
                <a:gd name="T43" fmla="*/ 0 h 86"/>
                <a:gd name="T44" fmla="*/ 28 w 67"/>
                <a:gd name="T45" fmla="*/ 10 h 86"/>
                <a:gd name="T46" fmla="*/ 48 w 67"/>
                <a:gd name="T47" fmla="*/ 10 h 86"/>
                <a:gd name="T48" fmla="*/ 57 w 67"/>
                <a:gd name="T49" fmla="*/ 19 h 86"/>
                <a:gd name="T50" fmla="*/ 57 w 67"/>
                <a:gd name="T51" fmla="*/ 29 h 86"/>
                <a:gd name="T52" fmla="*/ 48 w 67"/>
                <a:gd name="T53" fmla="*/ 29 h 86"/>
                <a:gd name="T54" fmla="*/ 48 w 67"/>
                <a:gd name="T55" fmla="*/ 38 h 86"/>
                <a:gd name="T56" fmla="*/ 57 w 67"/>
                <a:gd name="T57" fmla="*/ 48 h 86"/>
                <a:gd name="T58" fmla="*/ 67 w 67"/>
                <a:gd name="T59" fmla="*/ 57 h 86"/>
                <a:gd name="T60" fmla="*/ 67 w 67"/>
                <a:gd name="T61" fmla="*/ 67 h 86"/>
                <a:gd name="T62" fmla="*/ 67 w 67"/>
                <a:gd name="T63" fmla="*/ 77 h 8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
                <a:gd name="T97" fmla="*/ 0 h 86"/>
                <a:gd name="T98" fmla="*/ 67 w 67"/>
                <a:gd name="T99" fmla="*/ 86 h 8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 h="86">
                  <a:moveTo>
                    <a:pt x="67" y="77"/>
                  </a:moveTo>
                  <a:lnTo>
                    <a:pt x="57" y="86"/>
                  </a:lnTo>
                  <a:lnTo>
                    <a:pt x="57" y="77"/>
                  </a:lnTo>
                  <a:lnTo>
                    <a:pt x="57" y="67"/>
                  </a:lnTo>
                  <a:lnTo>
                    <a:pt x="38" y="57"/>
                  </a:lnTo>
                  <a:lnTo>
                    <a:pt x="38" y="67"/>
                  </a:lnTo>
                  <a:lnTo>
                    <a:pt x="19" y="77"/>
                  </a:lnTo>
                  <a:lnTo>
                    <a:pt x="9" y="77"/>
                  </a:lnTo>
                  <a:lnTo>
                    <a:pt x="9" y="67"/>
                  </a:lnTo>
                  <a:lnTo>
                    <a:pt x="9" y="48"/>
                  </a:lnTo>
                  <a:lnTo>
                    <a:pt x="9" y="29"/>
                  </a:lnTo>
                  <a:lnTo>
                    <a:pt x="0" y="29"/>
                  </a:lnTo>
                  <a:lnTo>
                    <a:pt x="0" y="19"/>
                  </a:lnTo>
                  <a:lnTo>
                    <a:pt x="9" y="19"/>
                  </a:lnTo>
                  <a:lnTo>
                    <a:pt x="9" y="10"/>
                  </a:lnTo>
                  <a:lnTo>
                    <a:pt x="0" y="10"/>
                  </a:lnTo>
                  <a:lnTo>
                    <a:pt x="9" y="0"/>
                  </a:lnTo>
                  <a:lnTo>
                    <a:pt x="19" y="0"/>
                  </a:lnTo>
                  <a:lnTo>
                    <a:pt x="28" y="10"/>
                  </a:lnTo>
                  <a:lnTo>
                    <a:pt x="48" y="10"/>
                  </a:lnTo>
                  <a:lnTo>
                    <a:pt x="57" y="19"/>
                  </a:lnTo>
                  <a:lnTo>
                    <a:pt x="57" y="29"/>
                  </a:lnTo>
                  <a:lnTo>
                    <a:pt x="48" y="29"/>
                  </a:lnTo>
                  <a:lnTo>
                    <a:pt x="48" y="38"/>
                  </a:lnTo>
                  <a:lnTo>
                    <a:pt x="57" y="48"/>
                  </a:lnTo>
                  <a:lnTo>
                    <a:pt x="67" y="57"/>
                  </a:lnTo>
                  <a:lnTo>
                    <a:pt x="67" y="67"/>
                  </a:lnTo>
                  <a:lnTo>
                    <a:pt x="67" y="7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56" name="Freeform 234">
              <a:extLst>
                <a:ext uri="{FF2B5EF4-FFF2-40B4-BE49-F238E27FC236}">
                  <a16:creationId xmlns:a16="http://schemas.microsoft.com/office/drawing/2014/main" id="{3371B708-F1A0-49F4-9C6A-0098F1FC740F}"/>
                </a:ext>
              </a:extLst>
            </p:cNvPr>
            <p:cNvSpPr>
              <a:spLocks/>
            </p:cNvSpPr>
            <p:nvPr/>
          </p:nvSpPr>
          <p:spPr bwMode="gray">
            <a:xfrm>
              <a:off x="4047" y="2462"/>
              <a:ext cx="134" cy="267"/>
            </a:xfrm>
            <a:custGeom>
              <a:avLst/>
              <a:gdLst>
                <a:gd name="T0" fmla="*/ 124 w 134"/>
                <a:gd name="T1" fmla="*/ 114 h 267"/>
                <a:gd name="T2" fmla="*/ 105 w 134"/>
                <a:gd name="T3" fmla="*/ 124 h 267"/>
                <a:gd name="T4" fmla="*/ 95 w 134"/>
                <a:gd name="T5" fmla="*/ 133 h 267"/>
                <a:gd name="T6" fmla="*/ 95 w 134"/>
                <a:gd name="T7" fmla="*/ 133 h 267"/>
                <a:gd name="T8" fmla="*/ 86 w 134"/>
                <a:gd name="T9" fmla="*/ 133 h 267"/>
                <a:gd name="T10" fmla="*/ 86 w 134"/>
                <a:gd name="T11" fmla="*/ 152 h 267"/>
                <a:gd name="T12" fmla="*/ 95 w 134"/>
                <a:gd name="T13" fmla="*/ 162 h 267"/>
                <a:gd name="T14" fmla="*/ 95 w 134"/>
                <a:gd name="T15" fmla="*/ 181 h 267"/>
                <a:gd name="T16" fmla="*/ 95 w 134"/>
                <a:gd name="T17" fmla="*/ 190 h 267"/>
                <a:gd name="T18" fmla="*/ 105 w 134"/>
                <a:gd name="T19" fmla="*/ 210 h 267"/>
                <a:gd name="T20" fmla="*/ 105 w 134"/>
                <a:gd name="T21" fmla="*/ 238 h 267"/>
                <a:gd name="T22" fmla="*/ 105 w 134"/>
                <a:gd name="T23" fmla="*/ 248 h 267"/>
                <a:gd name="T24" fmla="*/ 105 w 134"/>
                <a:gd name="T25" fmla="*/ 257 h 267"/>
                <a:gd name="T26" fmla="*/ 95 w 134"/>
                <a:gd name="T27" fmla="*/ 267 h 267"/>
                <a:gd name="T28" fmla="*/ 95 w 134"/>
                <a:gd name="T29" fmla="*/ 248 h 267"/>
                <a:gd name="T30" fmla="*/ 95 w 134"/>
                <a:gd name="T31" fmla="*/ 238 h 267"/>
                <a:gd name="T32" fmla="*/ 95 w 134"/>
                <a:gd name="T33" fmla="*/ 229 h 267"/>
                <a:gd name="T34" fmla="*/ 95 w 134"/>
                <a:gd name="T35" fmla="*/ 219 h 267"/>
                <a:gd name="T36" fmla="*/ 86 w 134"/>
                <a:gd name="T37" fmla="*/ 210 h 267"/>
                <a:gd name="T38" fmla="*/ 86 w 134"/>
                <a:gd name="T39" fmla="*/ 200 h 267"/>
                <a:gd name="T40" fmla="*/ 86 w 134"/>
                <a:gd name="T41" fmla="*/ 181 h 267"/>
                <a:gd name="T42" fmla="*/ 76 w 134"/>
                <a:gd name="T43" fmla="*/ 171 h 267"/>
                <a:gd name="T44" fmla="*/ 76 w 134"/>
                <a:gd name="T45" fmla="*/ 171 h 267"/>
                <a:gd name="T46" fmla="*/ 67 w 134"/>
                <a:gd name="T47" fmla="*/ 181 h 267"/>
                <a:gd name="T48" fmla="*/ 57 w 134"/>
                <a:gd name="T49" fmla="*/ 181 h 267"/>
                <a:gd name="T50" fmla="*/ 38 w 134"/>
                <a:gd name="T51" fmla="*/ 190 h 267"/>
                <a:gd name="T52" fmla="*/ 29 w 134"/>
                <a:gd name="T53" fmla="*/ 190 h 267"/>
                <a:gd name="T54" fmla="*/ 38 w 134"/>
                <a:gd name="T55" fmla="*/ 181 h 267"/>
                <a:gd name="T56" fmla="*/ 29 w 134"/>
                <a:gd name="T57" fmla="*/ 171 h 267"/>
                <a:gd name="T58" fmla="*/ 29 w 134"/>
                <a:gd name="T59" fmla="*/ 152 h 267"/>
                <a:gd name="T60" fmla="*/ 19 w 134"/>
                <a:gd name="T61" fmla="*/ 143 h 267"/>
                <a:gd name="T62" fmla="*/ 19 w 134"/>
                <a:gd name="T63" fmla="*/ 133 h 267"/>
                <a:gd name="T64" fmla="*/ 0 w 134"/>
                <a:gd name="T65" fmla="*/ 124 h 267"/>
                <a:gd name="T66" fmla="*/ 0 w 134"/>
                <a:gd name="T67" fmla="*/ 114 h 267"/>
                <a:gd name="T68" fmla="*/ 10 w 134"/>
                <a:gd name="T69" fmla="*/ 105 h 267"/>
                <a:gd name="T70" fmla="*/ 10 w 134"/>
                <a:gd name="T71" fmla="*/ 95 h 267"/>
                <a:gd name="T72" fmla="*/ 19 w 134"/>
                <a:gd name="T73" fmla="*/ 95 h 267"/>
                <a:gd name="T74" fmla="*/ 19 w 134"/>
                <a:gd name="T75" fmla="*/ 76 h 267"/>
                <a:gd name="T76" fmla="*/ 19 w 134"/>
                <a:gd name="T77" fmla="*/ 76 h 267"/>
                <a:gd name="T78" fmla="*/ 29 w 134"/>
                <a:gd name="T79" fmla="*/ 66 h 267"/>
                <a:gd name="T80" fmla="*/ 29 w 134"/>
                <a:gd name="T81" fmla="*/ 66 h 267"/>
                <a:gd name="T82" fmla="*/ 48 w 134"/>
                <a:gd name="T83" fmla="*/ 19 h 267"/>
                <a:gd name="T84" fmla="*/ 67 w 134"/>
                <a:gd name="T85" fmla="*/ 9 h 267"/>
                <a:gd name="T86" fmla="*/ 76 w 134"/>
                <a:gd name="T87" fmla="*/ 0 h 267"/>
                <a:gd name="T88" fmla="*/ 86 w 134"/>
                <a:gd name="T89" fmla="*/ 0 h 267"/>
                <a:gd name="T90" fmla="*/ 95 w 134"/>
                <a:gd name="T91" fmla="*/ 19 h 267"/>
                <a:gd name="T92" fmla="*/ 95 w 134"/>
                <a:gd name="T93" fmla="*/ 38 h 267"/>
                <a:gd name="T94" fmla="*/ 86 w 134"/>
                <a:gd name="T95" fmla="*/ 47 h 267"/>
                <a:gd name="T96" fmla="*/ 86 w 134"/>
                <a:gd name="T97" fmla="*/ 66 h 267"/>
                <a:gd name="T98" fmla="*/ 95 w 134"/>
                <a:gd name="T99" fmla="*/ 66 h 267"/>
                <a:gd name="T100" fmla="*/ 105 w 134"/>
                <a:gd name="T101" fmla="*/ 85 h 267"/>
                <a:gd name="T102" fmla="*/ 105 w 134"/>
                <a:gd name="T103" fmla="*/ 95 h 267"/>
                <a:gd name="T104" fmla="*/ 124 w 134"/>
                <a:gd name="T105" fmla="*/ 95 h 267"/>
                <a:gd name="T106" fmla="*/ 124 w 134"/>
                <a:gd name="T107" fmla="*/ 95 h 267"/>
                <a:gd name="T108" fmla="*/ 134 w 134"/>
                <a:gd name="T109" fmla="*/ 105 h 267"/>
                <a:gd name="T110" fmla="*/ 134 w 134"/>
                <a:gd name="T111" fmla="*/ 105 h 267"/>
                <a:gd name="T112" fmla="*/ 134 w 134"/>
                <a:gd name="T113" fmla="*/ 105 h 267"/>
                <a:gd name="T114" fmla="*/ 124 w 134"/>
                <a:gd name="T115" fmla="*/ 114 h 26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4"/>
                <a:gd name="T175" fmla="*/ 0 h 267"/>
                <a:gd name="T176" fmla="*/ 134 w 134"/>
                <a:gd name="T177" fmla="*/ 267 h 26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4" h="267">
                  <a:moveTo>
                    <a:pt x="124" y="114"/>
                  </a:moveTo>
                  <a:lnTo>
                    <a:pt x="105" y="124"/>
                  </a:lnTo>
                  <a:lnTo>
                    <a:pt x="95" y="133"/>
                  </a:lnTo>
                  <a:lnTo>
                    <a:pt x="86" y="133"/>
                  </a:lnTo>
                  <a:lnTo>
                    <a:pt x="86" y="152"/>
                  </a:lnTo>
                  <a:lnTo>
                    <a:pt x="95" y="162"/>
                  </a:lnTo>
                  <a:lnTo>
                    <a:pt x="95" y="181"/>
                  </a:lnTo>
                  <a:lnTo>
                    <a:pt x="95" y="190"/>
                  </a:lnTo>
                  <a:lnTo>
                    <a:pt x="105" y="210"/>
                  </a:lnTo>
                  <a:lnTo>
                    <a:pt x="105" y="238"/>
                  </a:lnTo>
                  <a:lnTo>
                    <a:pt x="105" y="248"/>
                  </a:lnTo>
                  <a:lnTo>
                    <a:pt x="105" y="257"/>
                  </a:lnTo>
                  <a:lnTo>
                    <a:pt x="95" y="267"/>
                  </a:lnTo>
                  <a:lnTo>
                    <a:pt x="95" y="248"/>
                  </a:lnTo>
                  <a:lnTo>
                    <a:pt x="95" y="238"/>
                  </a:lnTo>
                  <a:lnTo>
                    <a:pt x="95" y="229"/>
                  </a:lnTo>
                  <a:lnTo>
                    <a:pt x="95" y="219"/>
                  </a:lnTo>
                  <a:lnTo>
                    <a:pt x="86" y="210"/>
                  </a:lnTo>
                  <a:lnTo>
                    <a:pt x="86" y="200"/>
                  </a:lnTo>
                  <a:lnTo>
                    <a:pt x="86" y="181"/>
                  </a:lnTo>
                  <a:lnTo>
                    <a:pt x="76" y="171"/>
                  </a:lnTo>
                  <a:lnTo>
                    <a:pt x="67" y="181"/>
                  </a:lnTo>
                  <a:lnTo>
                    <a:pt x="57" y="181"/>
                  </a:lnTo>
                  <a:lnTo>
                    <a:pt x="38" y="190"/>
                  </a:lnTo>
                  <a:lnTo>
                    <a:pt x="29" y="190"/>
                  </a:lnTo>
                  <a:lnTo>
                    <a:pt x="38" y="181"/>
                  </a:lnTo>
                  <a:lnTo>
                    <a:pt x="29" y="171"/>
                  </a:lnTo>
                  <a:lnTo>
                    <a:pt x="29" y="152"/>
                  </a:lnTo>
                  <a:lnTo>
                    <a:pt x="19" y="143"/>
                  </a:lnTo>
                  <a:lnTo>
                    <a:pt x="19" y="133"/>
                  </a:lnTo>
                  <a:lnTo>
                    <a:pt x="0" y="124"/>
                  </a:lnTo>
                  <a:lnTo>
                    <a:pt x="0" y="114"/>
                  </a:lnTo>
                  <a:lnTo>
                    <a:pt x="10" y="105"/>
                  </a:lnTo>
                  <a:lnTo>
                    <a:pt x="10" y="95"/>
                  </a:lnTo>
                  <a:lnTo>
                    <a:pt x="19" y="95"/>
                  </a:lnTo>
                  <a:lnTo>
                    <a:pt x="19" y="76"/>
                  </a:lnTo>
                  <a:lnTo>
                    <a:pt x="29" y="66"/>
                  </a:lnTo>
                  <a:lnTo>
                    <a:pt x="48" y="19"/>
                  </a:lnTo>
                  <a:lnTo>
                    <a:pt x="67" y="9"/>
                  </a:lnTo>
                  <a:lnTo>
                    <a:pt x="76" y="0"/>
                  </a:lnTo>
                  <a:lnTo>
                    <a:pt x="86" y="0"/>
                  </a:lnTo>
                  <a:lnTo>
                    <a:pt x="95" y="19"/>
                  </a:lnTo>
                  <a:lnTo>
                    <a:pt x="95" y="38"/>
                  </a:lnTo>
                  <a:lnTo>
                    <a:pt x="86" y="47"/>
                  </a:lnTo>
                  <a:lnTo>
                    <a:pt x="86" y="66"/>
                  </a:lnTo>
                  <a:lnTo>
                    <a:pt x="95" y="66"/>
                  </a:lnTo>
                  <a:lnTo>
                    <a:pt x="105" y="85"/>
                  </a:lnTo>
                  <a:lnTo>
                    <a:pt x="105" y="95"/>
                  </a:lnTo>
                  <a:lnTo>
                    <a:pt x="124" y="95"/>
                  </a:lnTo>
                  <a:lnTo>
                    <a:pt x="134" y="105"/>
                  </a:lnTo>
                  <a:lnTo>
                    <a:pt x="124" y="11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57" name="Freeform 235">
              <a:extLst>
                <a:ext uri="{FF2B5EF4-FFF2-40B4-BE49-F238E27FC236}">
                  <a16:creationId xmlns:a16="http://schemas.microsoft.com/office/drawing/2014/main" id="{620212F7-42D3-4CB1-921D-47828AF62E87}"/>
                </a:ext>
              </a:extLst>
            </p:cNvPr>
            <p:cNvSpPr>
              <a:spLocks/>
            </p:cNvSpPr>
            <p:nvPr/>
          </p:nvSpPr>
          <p:spPr bwMode="gray">
            <a:xfrm>
              <a:off x="4171" y="2776"/>
              <a:ext cx="57" cy="77"/>
            </a:xfrm>
            <a:custGeom>
              <a:avLst/>
              <a:gdLst>
                <a:gd name="T0" fmla="*/ 29 w 57"/>
                <a:gd name="T1" fmla="*/ 10 h 77"/>
                <a:gd name="T2" fmla="*/ 38 w 57"/>
                <a:gd name="T3" fmla="*/ 29 h 77"/>
                <a:gd name="T4" fmla="*/ 48 w 57"/>
                <a:gd name="T5" fmla="*/ 48 h 77"/>
                <a:gd name="T6" fmla="*/ 48 w 57"/>
                <a:gd name="T7" fmla="*/ 48 h 77"/>
                <a:gd name="T8" fmla="*/ 57 w 57"/>
                <a:gd name="T9" fmla="*/ 67 h 77"/>
                <a:gd name="T10" fmla="*/ 57 w 57"/>
                <a:gd name="T11" fmla="*/ 77 h 77"/>
                <a:gd name="T12" fmla="*/ 48 w 57"/>
                <a:gd name="T13" fmla="*/ 77 h 77"/>
                <a:gd name="T14" fmla="*/ 38 w 57"/>
                <a:gd name="T15" fmla="*/ 67 h 77"/>
                <a:gd name="T16" fmla="*/ 29 w 57"/>
                <a:gd name="T17" fmla="*/ 58 h 77"/>
                <a:gd name="T18" fmla="*/ 29 w 57"/>
                <a:gd name="T19" fmla="*/ 58 h 77"/>
                <a:gd name="T20" fmla="*/ 19 w 57"/>
                <a:gd name="T21" fmla="*/ 58 h 77"/>
                <a:gd name="T22" fmla="*/ 10 w 57"/>
                <a:gd name="T23" fmla="*/ 48 h 77"/>
                <a:gd name="T24" fmla="*/ 10 w 57"/>
                <a:gd name="T25" fmla="*/ 39 h 77"/>
                <a:gd name="T26" fmla="*/ 0 w 57"/>
                <a:gd name="T27" fmla="*/ 20 h 77"/>
                <a:gd name="T28" fmla="*/ 0 w 57"/>
                <a:gd name="T29" fmla="*/ 10 h 77"/>
                <a:gd name="T30" fmla="*/ 0 w 57"/>
                <a:gd name="T31" fmla="*/ 0 h 77"/>
                <a:gd name="T32" fmla="*/ 10 w 57"/>
                <a:gd name="T33" fmla="*/ 0 h 77"/>
                <a:gd name="T34" fmla="*/ 10 w 57"/>
                <a:gd name="T35" fmla="*/ 10 h 77"/>
                <a:gd name="T36" fmla="*/ 19 w 57"/>
                <a:gd name="T37" fmla="*/ 10 h 77"/>
                <a:gd name="T38" fmla="*/ 29 w 57"/>
                <a:gd name="T39" fmla="*/ 10 h 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77"/>
                <a:gd name="T62" fmla="*/ 57 w 57"/>
                <a:gd name="T63" fmla="*/ 77 h 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77">
                  <a:moveTo>
                    <a:pt x="29" y="10"/>
                  </a:moveTo>
                  <a:lnTo>
                    <a:pt x="38" y="29"/>
                  </a:lnTo>
                  <a:lnTo>
                    <a:pt x="48" y="48"/>
                  </a:lnTo>
                  <a:lnTo>
                    <a:pt x="57" y="67"/>
                  </a:lnTo>
                  <a:lnTo>
                    <a:pt x="57" y="77"/>
                  </a:lnTo>
                  <a:lnTo>
                    <a:pt x="48" y="77"/>
                  </a:lnTo>
                  <a:lnTo>
                    <a:pt x="38" y="67"/>
                  </a:lnTo>
                  <a:lnTo>
                    <a:pt x="29" y="58"/>
                  </a:lnTo>
                  <a:lnTo>
                    <a:pt x="19" y="58"/>
                  </a:lnTo>
                  <a:lnTo>
                    <a:pt x="10" y="48"/>
                  </a:lnTo>
                  <a:lnTo>
                    <a:pt x="10" y="39"/>
                  </a:lnTo>
                  <a:lnTo>
                    <a:pt x="0" y="20"/>
                  </a:lnTo>
                  <a:lnTo>
                    <a:pt x="0" y="10"/>
                  </a:lnTo>
                  <a:lnTo>
                    <a:pt x="0" y="0"/>
                  </a:lnTo>
                  <a:lnTo>
                    <a:pt x="10" y="0"/>
                  </a:lnTo>
                  <a:lnTo>
                    <a:pt x="10" y="10"/>
                  </a:lnTo>
                  <a:lnTo>
                    <a:pt x="19" y="10"/>
                  </a:lnTo>
                  <a:lnTo>
                    <a:pt x="29"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58" name="Freeform 236">
              <a:extLst>
                <a:ext uri="{FF2B5EF4-FFF2-40B4-BE49-F238E27FC236}">
                  <a16:creationId xmlns:a16="http://schemas.microsoft.com/office/drawing/2014/main" id="{88734578-BB32-48EC-BB32-7546DFCAB4EC}"/>
                </a:ext>
              </a:extLst>
            </p:cNvPr>
            <p:cNvSpPr>
              <a:spLocks/>
            </p:cNvSpPr>
            <p:nvPr/>
          </p:nvSpPr>
          <p:spPr bwMode="gray">
            <a:xfrm>
              <a:off x="4171" y="2776"/>
              <a:ext cx="57" cy="77"/>
            </a:xfrm>
            <a:custGeom>
              <a:avLst/>
              <a:gdLst>
                <a:gd name="T0" fmla="*/ 29 w 57"/>
                <a:gd name="T1" fmla="*/ 10 h 77"/>
                <a:gd name="T2" fmla="*/ 38 w 57"/>
                <a:gd name="T3" fmla="*/ 29 h 77"/>
                <a:gd name="T4" fmla="*/ 48 w 57"/>
                <a:gd name="T5" fmla="*/ 48 h 77"/>
                <a:gd name="T6" fmla="*/ 48 w 57"/>
                <a:gd name="T7" fmla="*/ 48 h 77"/>
                <a:gd name="T8" fmla="*/ 57 w 57"/>
                <a:gd name="T9" fmla="*/ 67 h 77"/>
                <a:gd name="T10" fmla="*/ 57 w 57"/>
                <a:gd name="T11" fmla="*/ 77 h 77"/>
                <a:gd name="T12" fmla="*/ 48 w 57"/>
                <a:gd name="T13" fmla="*/ 77 h 77"/>
                <a:gd name="T14" fmla="*/ 38 w 57"/>
                <a:gd name="T15" fmla="*/ 67 h 77"/>
                <a:gd name="T16" fmla="*/ 29 w 57"/>
                <a:gd name="T17" fmla="*/ 58 h 77"/>
                <a:gd name="T18" fmla="*/ 29 w 57"/>
                <a:gd name="T19" fmla="*/ 58 h 77"/>
                <a:gd name="T20" fmla="*/ 19 w 57"/>
                <a:gd name="T21" fmla="*/ 58 h 77"/>
                <a:gd name="T22" fmla="*/ 10 w 57"/>
                <a:gd name="T23" fmla="*/ 48 h 77"/>
                <a:gd name="T24" fmla="*/ 10 w 57"/>
                <a:gd name="T25" fmla="*/ 39 h 77"/>
                <a:gd name="T26" fmla="*/ 0 w 57"/>
                <a:gd name="T27" fmla="*/ 20 h 77"/>
                <a:gd name="T28" fmla="*/ 0 w 57"/>
                <a:gd name="T29" fmla="*/ 10 h 77"/>
                <a:gd name="T30" fmla="*/ 0 w 57"/>
                <a:gd name="T31" fmla="*/ 0 h 77"/>
                <a:gd name="T32" fmla="*/ 10 w 57"/>
                <a:gd name="T33" fmla="*/ 0 h 77"/>
                <a:gd name="T34" fmla="*/ 10 w 57"/>
                <a:gd name="T35" fmla="*/ 10 h 77"/>
                <a:gd name="T36" fmla="*/ 19 w 57"/>
                <a:gd name="T37" fmla="*/ 10 h 77"/>
                <a:gd name="T38" fmla="*/ 29 w 57"/>
                <a:gd name="T39" fmla="*/ 10 h 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77"/>
                <a:gd name="T62" fmla="*/ 57 w 57"/>
                <a:gd name="T63" fmla="*/ 77 h 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77">
                  <a:moveTo>
                    <a:pt x="29" y="10"/>
                  </a:moveTo>
                  <a:lnTo>
                    <a:pt x="38" y="29"/>
                  </a:lnTo>
                  <a:lnTo>
                    <a:pt x="48" y="48"/>
                  </a:lnTo>
                  <a:lnTo>
                    <a:pt x="57" y="67"/>
                  </a:lnTo>
                  <a:lnTo>
                    <a:pt x="57" y="77"/>
                  </a:lnTo>
                  <a:lnTo>
                    <a:pt x="48" y="77"/>
                  </a:lnTo>
                  <a:lnTo>
                    <a:pt x="38" y="67"/>
                  </a:lnTo>
                  <a:lnTo>
                    <a:pt x="29" y="58"/>
                  </a:lnTo>
                  <a:lnTo>
                    <a:pt x="19" y="58"/>
                  </a:lnTo>
                  <a:lnTo>
                    <a:pt x="10" y="48"/>
                  </a:lnTo>
                  <a:lnTo>
                    <a:pt x="10" y="39"/>
                  </a:lnTo>
                  <a:lnTo>
                    <a:pt x="0" y="20"/>
                  </a:lnTo>
                  <a:lnTo>
                    <a:pt x="0" y="10"/>
                  </a:lnTo>
                  <a:lnTo>
                    <a:pt x="0" y="0"/>
                  </a:lnTo>
                  <a:lnTo>
                    <a:pt x="10" y="0"/>
                  </a:lnTo>
                  <a:lnTo>
                    <a:pt x="10" y="10"/>
                  </a:lnTo>
                  <a:lnTo>
                    <a:pt x="19" y="10"/>
                  </a:lnTo>
                  <a:lnTo>
                    <a:pt x="29"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59" name="Freeform 237">
              <a:extLst>
                <a:ext uri="{FF2B5EF4-FFF2-40B4-BE49-F238E27FC236}">
                  <a16:creationId xmlns:a16="http://schemas.microsoft.com/office/drawing/2014/main" id="{09858E74-1431-494E-97F1-7DAF2C621E9F}"/>
                </a:ext>
              </a:extLst>
            </p:cNvPr>
            <p:cNvSpPr>
              <a:spLocks/>
            </p:cNvSpPr>
            <p:nvPr/>
          </p:nvSpPr>
          <p:spPr bwMode="gray">
            <a:xfrm>
              <a:off x="4200" y="2662"/>
              <a:ext cx="76" cy="67"/>
            </a:xfrm>
            <a:custGeom>
              <a:avLst/>
              <a:gdLst>
                <a:gd name="T0" fmla="*/ 76 w 76"/>
                <a:gd name="T1" fmla="*/ 10 h 67"/>
                <a:gd name="T2" fmla="*/ 76 w 76"/>
                <a:gd name="T3" fmla="*/ 19 h 67"/>
                <a:gd name="T4" fmla="*/ 76 w 76"/>
                <a:gd name="T5" fmla="*/ 38 h 67"/>
                <a:gd name="T6" fmla="*/ 57 w 76"/>
                <a:gd name="T7" fmla="*/ 38 h 67"/>
                <a:gd name="T8" fmla="*/ 47 w 76"/>
                <a:gd name="T9" fmla="*/ 38 h 67"/>
                <a:gd name="T10" fmla="*/ 47 w 76"/>
                <a:gd name="T11" fmla="*/ 48 h 67"/>
                <a:gd name="T12" fmla="*/ 38 w 76"/>
                <a:gd name="T13" fmla="*/ 57 h 67"/>
                <a:gd name="T14" fmla="*/ 28 w 76"/>
                <a:gd name="T15" fmla="*/ 57 h 67"/>
                <a:gd name="T16" fmla="*/ 28 w 76"/>
                <a:gd name="T17" fmla="*/ 67 h 67"/>
                <a:gd name="T18" fmla="*/ 19 w 76"/>
                <a:gd name="T19" fmla="*/ 67 h 67"/>
                <a:gd name="T20" fmla="*/ 9 w 76"/>
                <a:gd name="T21" fmla="*/ 57 h 67"/>
                <a:gd name="T22" fmla="*/ 9 w 76"/>
                <a:gd name="T23" fmla="*/ 48 h 67"/>
                <a:gd name="T24" fmla="*/ 0 w 76"/>
                <a:gd name="T25" fmla="*/ 38 h 67"/>
                <a:gd name="T26" fmla="*/ 9 w 76"/>
                <a:gd name="T27" fmla="*/ 29 h 67"/>
                <a:gd name="T28" fmla="*/ 0 w 76"/>
                <a:gd name="T29" fmla="*/ 19 h 67"/>
                <a:gd name="T30" fmla="*/ 0 w 76"/>
                <a:gd name="T31" fmla="*/ 19 h 67"/>
                <a:gd name="T32" fmla="*/ 9 w 76"/>
                <a:gd name="T33" fmla="*/ 10 h 67"/>
                <a:gd name="T34" fmla="*/ 9 w 76"/>
                <a:gd name="T35" fmla="*/ 0 h 67"/>
                <a:gd name="T36" fmla="*/ 19 w 76"/>
                <a:gd name="T37" fmla="*/ 0 h 67"/>
                <a:gd name="T38" fmla="*/ 38 w 76"/>
                <a:gd name="T39" fmla="*/ 10 h 67"/>
                <a:gd name="T40" fmla="*/ 57 w 76"/>
                <a:gd name="T41" fmla="*/ 10 h 67"/>
                <a:gd name="T42" fmla="*/ 57 w 76"/>
                <a:gd name="T43" fmla="*/ 0 h 67"/>
                <a:gd name="T44" fmla="*/ 66 w 76"/>
                <a:gd name="T45" fmla="*/ 0 h 67"/>
                <a:gd name="T46" fmla="*/ 66 w 76"/>
                <a:gd name="T47" fmla="*/ 10 h 67"/>
                <a:gd name="T48" fmla="*/ 76 w 76"/>
                <a:gd name="T49" fmla="*/ 1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6"/>
                <a:gd name="T76" fmla="*/ 0 h 67"/>
                <a:gd name="T77" fmla="*/ 76 w 76"/>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6" h="67">
                  <a:moveTo>
                    <a:pt x="76" y="10"/>
                  </a:moveTo>
                  <a:lnTo>
                    <a:pt x="76" y="19"/>
                  </a:lnTo>
                  <a:lnTo>
                    <a:pt x="76" y="38"/>
                  </a:lnTo>
                  <a:lnTo>
                    <a:pt x="57" y="38"/>
                  </a:lnTo>
                  <a:lnTo>
                    <a:pt x="47" y="38"/>
                  </a:lnTo>
                  <a:lnTo>
                    <a:pt x="47" y="48"/>
                  </a:lnTo>
                  <a:lnTo>
                    <a:pt x="38" y="57"/>
                  </a:lnTo>
                  <a:lnTo>
                    <a:pt x="28" y="57"/>
                  </a:lnTo>
                  <a:lnTo>
                    <a:pt x="28" y="67"/>
                  </a:lnTo>
                  <a:lnTo>
                    <a:pt x="19" y="67"/>
                  </a:lnTo>
                  <a:lnTo>
                    <a:pt x="9" y="57"/>
                  </a:lnTo>
                  <a:lnTo>
                    <a:pt x="9" y="48"/>
                  </a:lnTo>
                  <a:lnTo>
                    <a:pt x="0" y="38"/>
                  </a:lnTo>
                  <a:lnTo>
                    <a:pt x="9" y="29"/>
                  </a:lnTo>
                  <a:lnTo>
                    <a:pt x="0" y="19"/>
                  </a:lnTo>
                  <a:lnTo>
                    <a:pt x="9" y="10"/>
                  </a:lnTo>
                  <a:lnTo>
                    <a:pt x="9" y="0"/>
                  </a:lnTo>
                  <a:lnTo>
                    <a:pt x="19" y="0"/>
                  </a:lnTo>
                  <a:lnTo>
                    <a:pt x="38" y="10"/>
                  </a:lnTo>
                  <a:lnTo>
                    <a:pt x="57" y="10"/>
                  </a:lnTo>
                  <a:lnTo>
                    <a:pt x="57" y="0"/>
                  </a:lnTo>
                  <a:lnTo>
                    <a:pt x="66" y="0"/>
                  </a:lnTo>
                  <a:lnTo>
                    <a:pt x="66" y="10"/>
                  </a:lnTo>
                  <a:lnTo>
                    <a:pt x="76"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60" name="Freeform 238">
              <a:extLst>
                <a:ext uri="{FF2B5EF4-FFF2-40B4-BE49-F238E27FC236}">
                  <a16:creationId xmlns:a16="http://schemas.microsoft.com/office/drawing/2014/main" id="{20476849-BF20-4EA1-B3DA-C412F2E74D5B}"/>
                </a:ext>
              </a:extLst>
            </p:cNvPr>
            <p:cNvSpPr>
              <a:spLocks/>
            </p:cNvSpPr>
            <p:nvPr/>
          </p:nvSpPr>
          <p:spPr bwMode="gray">
            <a:xfrm>
              <a:off x="4200" y="2662"/>
              <a:ext cx="76" cy="67"/>
            </a:xfrm>
            <a:custGeom>
              <a:avLst/>
              <a:gdLst>
                <a:gd name="T0" fmla="*/ 76 w 76"/>
                <a:gd name="T1" fmla="*/ 10 h 67"/>
                <a:gd name="T2" fmla="*/ 76 w 76"/>
                <a:gd name="T3" fmla="*/ 19 h 67"/>
                <a:gd name="T4" fmla="*/ 76 w 76"/>
                <a:gd name="T5" fmla="*/ 38 h 67"/>
                <a:gd name="T6" fmla="*/ 57 w 76"/>
                <a:gd name="T7" fmla="*/ 38 h 67"/>
                <a:gd name="T8" fmla="*/ 47 w 76"/>
                <a:gd name="T9" fmla="*/ 38 h 67"/>
                <a:gd name="T10" fmla="*/ 47 w 76"/>
                <a:gd name="T11" fmla="*/ 48 h 67"/>
                <a:gd name="T12" fmla="*/ 38 w 76"/>
                <a:gd name="T13" fmla="*/ 57 h 67"/>
                <a:gd name="T14" fmla="*/ 28 w 76"/>
                <a:gd name="T15" fmla="*/ 57 h 67"/>
                <a:gd name="T16" fmla="*/ 28 w 76"/>
                <a:gd name="T17" fmla="*/ 67 h 67"/>
                <a:gd name="T18" fmla="*/ 19 w 76"/>
                <a:gd name="T19" fmla="*/ 67 h 67"/>
                <a:gd name="T20" fmla="*/ 9 w 76"/>
                <a:gd name="T21" fmla="*/ 57 h 67"/>
                <a:gd name="T22" fmla="*/ 9 w 76"/>
                <a:gd name="T23" fmla="*/ 48 h 67"/>
                <a:gd name="T24" fmla="*/ 0 w 76"/>
                <a:gd name="T25" fmla="*/ 38 h 67"/>
                <a:gd name="T26" fmla="*/ 9 w 76"/>
                <a:gd name="T27" fmla="*/ 29 h 67"/>
                <a:gd name="T28" fmla="*/ 0 w 76"/>
                <a:gd name="T29" fmla="*/ 19 h 67"/>
                <a:gd name="T30" fmla="*/ 0 w 76"/>
                <a:gd name="T31" fmla="*/ 19 h 67"/>
                <a:gd name="T32" fmla="*/ 9 w 76"/>
                <a:gd name="T33" fmla="*/ 10 h 67"/>
                <a:gd name="T34" fmla="*/ 9 w 76"/>
                <a:gd name="T35" fmla="*/ 0 h 67"/>
                <a:gd name="T36" fmla="*/ 19 w 76"/>
                <a:gd name="T37" fmla="*/ 0 h 67"/>
                <a:gd name="T38" fmla="*/ 38 w 76"/>
                <a:gd name="T39" fmla="*/ 10 h 67"/>
                <a:gd name="T40" fmla="*/ 57 w 76"/>
                <a:gd name="T41" fmla="*/ 10 h 67"/>
                <a:gd name="T42" fmla="*/ 57 w 76"/>
                <a:gd name="T43" fmla="*/ 0 h 67"/>
                <a:gd name="T44" fmla="*/ 66 w 76"/>
                <a:gd name="T45" fmla="*/ 0 h 67"/>
                <a:gd name="T46" fmla="*/ 66 w 76"/>
                <a:gd name="T47" fmla="*/ 10 h 67"/>
                <a:gd name="T48" fmla="*/ 76 w 76"/>
                <a:gd name="T49" fmla="*/ 1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6"/>
                <a:gd name="T76" fmla="*/ 0 h 67"/>
                <a:gd name="T77" fmla="*/ 76 w 76"/>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6" h="67">
                  <a:moveTo>
                    <a:pt x="76" y="10"/>
                  </a:moveTo>
                  <a:lnTo>
                    <a:pt x="76" y="19"/>
                  </a:lnTo>
                  <a:lnTo>
                    <a:pt x="76" y="38"/>
                  </a:lnTo>
                  <a:lnTo>
                    <a:pt x="57" y="38"/>
                  </a:lnTo>
                  <a:lnTo>
                    <a:pt x="47" y="38"/>
                  </a:lnTo>
                  <a:lnTo>
                    <a:pt x="47" y="48"/>
                  </a:lnTo>
                  <a:lnTo>
                    <a:pt x="38" y="57"/>
                  </a:lnTo>
                  <a:lnTo>
                    <a:pt x="28" y="57"/>
                  </a:lnTo>
                  <a:lnTo>
                    <a:pt x="28" y="67"/>
                  </a:lnTo>
                  <a:lnTo>
                    <a:pt x="19" y="67"/>
                  </a:lnTo>
                  <a:lnTo>
                    <a:pt x="9" y="57"/>
                  </a:lnTo>
                  <a:lnTo>
                    <a:pt x="9" y="48"/>
                  </a:lnTo>
                  <a:lnTo>
                    <a:pt x="0" y="38"/>
                  </a:lnTo>
                  <a:lnTo>
                    <a:pt x="9" y="29"/>
                  </a:lnTo>
                  <a:lnTo>
                    <a:pt x="0" y="19"/>
                  </a:lnTo>
                  <a:lnTo>
                    <a:pt x="9" y="10"/>
                  </a:lnTo>
                  <a:lnTo>
                    <a:pt x="9" y="0"/>
                  </a:lnTo>
                  <a:lnTo>
                    <a:pt x="19" y="0"/>
                  </a:lnTo>
                  <a:lnTo>
                    <a:pt x="38" y="10"/>
                  </a:lnTo>
                  <a:lnTo>
                    <a:pt x="57" y="10"/>
                  </a:lnTo>
                  <a:lnTo>
                    <a:pt x="57" y="0"/>
                  </a:lnTo>
                  <a:lnTo>
                    <a:pt x="66" y="0"/>
                  </a:lnTo>
                  <a:lnTo>
                    <a:pt x="66" y="10"/>
                  </a:lnTo>
                  <a:lnTo>
                    <a:pt x="76"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61" name="Freeform 239">
              <a:extLst>
                <a:ext uri="{FF2B5EF4-FFF2-40B4-BE49-F238E27FC236}">
                  <a16:creationId xmlns:a16="http://schemas.microsoft.com/office/drawing/2014/main" id="{E064893C-CD02-4E99-9613-F66F2BCBF4F9}"/>
                </a:ext>
              </a:extLst>
            </p:cNvPr>
            <p:cNvSpPr>
              <a:spLocks/>
            </p:cNvSpPr>
            <p:nvPr/>
          </p:nvSpPr>
          <p:spPr bwMode="gray">
            <a:xfrm>
              <a:off x="4200" y="2538"/>
              <a:ext cx="104" cy="210"/>
            </a:xfrm>
            <a:custGeom>
              <a:avLst/>
              <a:gdLst>
                <a:gd name="T0" fmla="*/ 85 w 104"/>
                <a:gd name="T1" fmla="*/ 29 h 210"/>
                <a:gd name="T2" fmla="*/ 85 w 104"/>
                <a:gd name="T3" fmla="*/ 29 h 210"/>
                <a:gd name="T4" fmla="*/ 66 w 104"/>
                <a:gd name="T5" fmla="*/ 38 h 210"/>
                <a:gd name="T6" fmla="*/ 57 w 104"/>
                <a:gd name="T7" fmla="*/ 48 h 210"/>
                <a:gd name="T8" fmla="*/ 57 w 104"/>
                <a:gd name="T9" fmla="*/ 48 h 210"/>
                <a:gd name="T10" fmla="*/ 47 w 104"/>
                <a:gd name="T11" fmla="*/ 57 h 210"/>
                <a:gd name="T12" fmla="*/ 47 w 104"/>
                <a:gd name="T13" fmla="*/ 76 h 210"/>
                <a:gd name="T14" fmla="*/ 57 w 104"/>
                <a:gd name="T15" fmla="*/ 76 h 210"/>
                <a:gd name="T16" fmla="*/ 76 w 104"/>
                <a:gd name="T17" fmla="*/ 95 h 210"/>
                <a:gd name="T18" fmla="*/ 76 w 104"/>
                <a:gd name="T19" fmla="*/ 95 h 210"/>
                <a:gd name="T20" fmla="*/ 85 w 104"/>
                <a:gd name="T21" fmla="*/ 114 h 210"/>
                <a:gd name="T22" fmla="*/ 104 w 104"/>
                <a:gd name="T23" fmla="*/ 124 h 210"/>
                <a:gd name="T24" fmla="*/ 104 w 104"/>
                <a:gd name="T25" fmla="*/ 153 h 210"/>
                <a:gd name="T26" fmla="*/ 104 w 104"/>
                <a:gd name="T27" fmla="*/ 162 h 210"/>
                <a:gd name="T28" fmla="*/ 95 w 104"/>
                <a:gd name="T29" fmla="*/ 172 h 210"/>
                <a:gd name="T30" fmla="*/ 85 w 104"/>
                <a:gd name="T31" fmla="*/ 181 h 210"/>
                <a:gd name="T32" fmla="*/ 66 w 104"/>
                <a:gd name="T33" fmla="*/ 191 h 210"/>
                <a:gd name="T34" fmla="*/ 66 w 104"/>
                <a:gd name="T35" fmla="*/ 191 h 210"/>
                <a:gd name="T36" fmla="*/ 57 w 104"/>
                <a:gd name="T37" fmla="*/ 200 h 210"/>
                <a:gd name="T38" fmla="*/ 57 w 104"/>
                <a:gd name="T39" fmla="*/ 200 h 210"/>
                <a:gd name="T40" fmla="*/ 38 w 104"/>
                <a:gd name="T41" fmla="*/ 210 h 210"/>
                <a:gd name="T42" fmla="*/ 38 w 104"/>
                <a:gd name="T43" fmla="*/ 210 h 210"/>
                <a:gd name="T44" fmla="*/ 38 w 104"/>
                <a:gd name="T45" fmla="*/ 191 h 210"/>
                <a:gd name="T46" fmla="*/ 28 w 104"/>
                <a:gd name="T47" fmla="*/ 191 h 210"/>
                <a:gd name="T48" fmla="*/ 38 w 104"/>
                <a:gd name="T49" fmla="*/ 181 h 210"/>
                <a:gd name="T50" fmla="*/ 38 w 104"/>
                <a:gd name="T51" fmla="*/ 181 h 210"/>
                <a:gd name="T52" fmla="*/ 47 w 104"/>
                <a:gd name="T53" fmla="*/ 172 h 210"/>
                <a:gd name="T54" fmla="*/ 47 w 104"/>
                <a:gd name="T55" fmla="*/ 162 h 210"/>
                <a:gd name="T56" fmla="*/ 57 w 104"/>
                <a:gd name="T57" fmla="*/ 162 h 210"/>
                <a:gd name="T58" fmla="*/ 76 w 104"/>
                <a:gd name="T59" fmla="*/ 162 h 210"/>
                <a:gd name="T60" fmla="*/ 76 w 104"/>
                <a:gd name="T61" fmla="*/ 143 h 210"/>
                <a:gd name="T62" fmla="*/ 76 w 104"/>
                <a:gd name="T63" fmla="*/ 134 h 210"/>
                <a:gd name="T64" fmla="*/ 76 w 104"/>
                <a:gd name="T65" fmla="*/ 105 h 210"/>
                <a:gd name="T66" fmla="*/ 66 w 104"/>
                <a:gd name="T67" fmla="*/ 105 h 210"/>
                <a:gd name="T68" fmla="*/ 66 w 104"/>
                <a:gd name="T69" fmla="*/ 95 h 210"/>
                <a:gd name="T70" fmla="*/ 47 w 104"/>
                <a:gd name="T71" fmla="*/ 86 h 210"/>
                <a:gd name="T72" fmla="*/ 38 w 104"/>
                <a:gd name="T73" fmla="*/ 67 h 210"/>
                <a:gd name="T74" fmla="*/ 38 w 104"/>
                <a:gd name="T75" fmla="*/ 48 h 210"/>
                <a:gd name="T76" fmla="*/ 28 w 104"/>
                <a:gd name="T77" fmla="*/ 38 h 210"/>
                <a:gd name="T78" fmla="*/ 9 w 104"/>
                <a:gd name="T79" fmla="*/ 38 h 210"/>
                <a:gd name="T80" fmla="*/ 9 w 104"/>
                <a:gd name="T81" fmla="*/ 19 h 210"/>
                <a:gd name="T82" fmla="*/ 0 w 104"/>
                <a:gd name="T83" fmla="*/ 19 h 210"/>
                <a:gd name="T84" fmla="*/ 0 w 104"/>
                <a:gd name="T85" fmla="*/ 9 h 210"/>
                <a:gd name="T86" fmla="*/ 9 w 104"/>
                <a:gd name="T87" fmla="*/ 9 h 210"/>
                <a:gd name="T88" fmla="*/ 19 w 104"/>
                <a:gd name="T89" fmla="*/ 9 h 210"/>
                <a:gd name="T90" fmla="*/ 38 w 104"/>
                <a:gd name="T91" fmla="*/ 9 h 210"/>
                <a:gd name="T92" fmla="*/ 38 w 104"/>
                <a:gd name="T93" fmla="*/ 0 h 210"/>
                <a:gd name="T94" fmla="*/ 47 w 104"/>
                <a:gd name="T95" fmla="*/ 9 h 210"/>
                <a:gd name="T96" fmla="*/ 66 w 104"/>
                <a:gd name="T97" fmla="*/ 9 h 210"/>
                <a:gd name="T98" fmla="*/ 66 w 104"/>
                <a:gd name="T99" fmla="*/ 9 h 210"/>
                <a:gd name="T100" fmla="*/ 66 w 104"/>
                <a:gd name="T101" fmla="*/ 19 h 210"/>
                <a:gd name="T102" fmla="*/ 76 w 104"/>
                <a:gd name="T103" fmla="*/ 29 h 210"/>
                <a:gd name="T104" fmla="*/ 85 w 104"/>
                <a:gd name="T105" fmla="*/ 29 h 210"/>
                <a:gd name="T106" fmla="*/ 85 w 104"/>
                <a:gd name="T107" fmla="*/ 29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4"/>
                <a:gd name="T163" fmla="*/ 0 h 210"/>
                <a:gd name="T164" fmla="*/ 104 w 104"/>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4" h="210">
                  <a:moveTo>
                    <a:pt x="85" y="29"/>
                  </a:moveTo>
                  <a:lnTo>
                    <a:pt x="85" y="29"/>
                  </a:lnTo>
                  <a:lnTo>
                    <a:pt x="66" y="38"/>
                  </a:lnTo>
                  <a:lnTo>
                    <a:pt x="57" y="48"/>
                  </a:lnTo>
                  <a:lnTo>
                    <a:pt x="47" y="57"/>
                  </a:lnTo>
                  <a:lnTo>
                    <a:pt x="47" y="76"/>
                  </a:lnTo>
                  <a:lnTo>
                    <a:pt x="57" y="76"/>
                  </a:lnTo>
                  <a:lnTo>
                    <a:pt x="76" y="95"/>
                  </a:lnTo>
                  <a:lnTo>
                    <a:pt x="85" y="114"/>
                  </a:lnTo>
                  <a:lnTo>
                    <a:pt x="104" y="124"/>
                  </a:lnTo>
                  <a:lnTo>
                    <a:pt x="104" y="153"/>
                  </a:lnTo>
                  <a:lnTo>
                    <a:pt x="104" y="162"/>
                  </a:lnTo>
                  <a:lnTo>
                    <a:pt x="95" y="172"/>
                  </a:lnTo>
                  <a:lnTo>
                    <a:pt x="85" y="181"/>
                  </a:lnTo>
                  <a:lnTo>
                    <a:pt x="66" y="191"/>
                  </a:lnTo>
                  <a:lnTo>
                    <a:pt x="57" y="200"/>
                  </a:lnTo>
                  <a:lnTo>
                    <a:pt x="38" y="210"/>
                  </a:lnTo>
                  <a:lnTo>
                    <a:pt x="38" y="191"/>
                  </a:lnTo>
                  <a:lnTo>
                    <a:pt x="28" y="191"/>
                  </a:lnTo>
                  <a:lnTo>
                    <a:pt x="38" y="181"/>
                  </a:lnTo>
                  <a:lnTo>
                    <a:pt x="47" y="172"/>
                  </a:lnTo>
                  <a:lnTo>
                    <a:pt x="47" y="162"/>
                  </a:lnTo>
                  <a:lnTo>
                    <a:pt x="57" y="162"/>
                  </a:lnTo>
                  <a:lnTo>
                    <a:pt x="76" y="162"/>
                  </a:lnTo>
                  <a:lnTo>
                    <a:pt x="76" y="143"/>
                  </a:lnTo>
                  <a:lnTo>
                    <a:pt x="76" y="134"/>
                  </a:lnTo>
                  <a:lnTo>
                    <a:pt x="76" y="105"/>
                  </a:lnTo>
                  <a:lnTo>
                    <a:pt x="66" y="105"/>
                  </a:lnTo>
                  <a:lnTo>
                    <a:pt x="66" y="95"/>
                  </a:lnTo>
                  <a:lnTo>
                    <a:pt x="47" y="86"/>
                  </a:lnTo>
                  <a:lnTo>
                    <a:pt x="38" y="67"/>
                  </a:lnTo>
                  <a:lnTo>
                    <a:pt x="38" y="48"/>
                  </a:lnTo>
                  <a:lnTo>
                    <a:pt x="28" y="38"/>
                  </a:lnTo>
                  <a:lnTo>
                    <a:pt x="9" y="38"/>
                  </a:lnTo>
                  <a:lnTo>
                    <a:pt x="9" y="19"/>
                  </a:lnTo>
                  <a:lnTo>
                    <a:pt x="0" y="19"/>
                  </a:lnTo>
                  <a:lnTo>
                    <a:pt x="0" y="9"/>
                  </a:lnTo>
                  <a:lnTo>
                    <a:pt x="9" y="9"/>
                  </a:lnTo>
                  <a:lnTo>
                    <a:pt x="19" y="9"/>
                  </a:lnTo>
                  <a:lnTo>
                    <a:pt x="38" y="9"/>
                  </a:lnTo>
                  <a:lnTo>
                    <a:pt x="38" y="0"/>
                  </a:lnTo>
                  <a:lnTo>
                    <a:pt x="47" y="9"/>
                  </a:lnTo>
                  <a:lnTo>
                    <a:pt x="66" y="9"/>
                  </a:lnTo>
                  <a:lnTo>
                    <a:pt x="66" y="19"/>
                  </a:lnTo>
                  <a:lnTo>
                    <a:pt x="76" y="29"/>
                  </a:lnTo>
                  <a:lnTo>
                    <a:pt x="85" y="2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62" name="Freeform 240">
              <a:extLst>
                <a:ext uri="{FF2B5EF4-FFF2-40B4-BE49-F238E27FC236}">
                  <a16:creationId xmlns:a16="http://schemas.microsoft.com/office/drawing/2014/main" id="{F2CFF5DC-9BCB-47B7-BB89-006F4894F2D5}"/>
                </a:ext>
              </a:extLst>
            </p:cNvPr>
            <p:cNvSpPr>
              <a:spLocks/>
            </p:cNvSpPr>
            <p:nvPr/>
          </p:nvSpPr>
          <p:spPr bwMode="gray">
            <a:xfrm>
              <a:off x="4200" y="2538"/>
              <a:ext cx="104" cy="210"/>
            </a:xfrm>
            <a:custGeom>
              <a:avLst/>
              <a:gdLst>
                <a:gd name="T0" fmla="*/ 85 w 104"/>
                <a:gd name="T1" fmla="*/ 29 h 210"/>
                <a:gd name="T2" fmla="*/ 85 w 104"/>
                <a:gd name="T3" fmla="*/ 29 h 210"/>
                <a:gd name="T4" fmla="*/ 66 w 104"/>
                <a:gd name="T5" fmla="*/ 38 h 210"/>
                <a:gd name="T6" fmla="*/ 57 w 104"/>
                <a:gd name="T7" fmla="*/ 48 h 210"/>
                <a:gd name="T8" fmla="*/ 57 w 104"/>
                <a:gd name="T9" fmla="*/ 48 h 210"/>
                <a:gd name="T10" fmla="*/ 47 w 104"/>
                <a:gd name="T11" fmla="*/ 57 h 210"/>
                <a:gd name="T12" fmla="*/ 47 w 104"/>
                <a:gd name="T13" fmla="*/ 76 h 210"/>
                <a:gd name="T14" fmla="*/ 57 w 104"/>
                <a:gd name="T15" fmla="*/ 76 h 210"/>
                <a:gd name="T16" fmla="*/ 76 w 104"/>
                <a:gd name="T17" fmla="*/ 95 h 210"/>
                <a:gd name="T18" fmla="*/ 76 w 104"/>
                <a:gd name="T19" fmla="*/ 95 h 210"/>
                <a:gd name="T20" fmla="*/ 85 w 104"/>
                <a:gd name="T21" fmla="*/ 114 h 210"/>
                <a:gd name="T22" fmla="*/ 104 w 104"/>
                <a:gd name="T23" fmla="*/ 124 h 210"/>
                <a:gd name="T24" fmla="*/ 104 w 104"/>
                <a:gd name="T25" fmla="*/ 153 h 210"/>
                <a:gd name="T26" fmla="*/ 104 w 104"/>
                <a:gd name="T27" fmla="*/ 162 h 210"/>
                <a:gd name="T28" fmla="*/ 95 w 104"/>
                <a:gd name="T29" fmla="*/ 172 h 210"/>
                <a:gd name="T30" fmla="*/ 85 w 104"/>
                <a:gd name="T31" fmla="*/ 181 h 210"/>
                <a:gd name="T32" fmla="*/ 66 w 104"/>
                <a:gd name="T33" fmla="*/ 191 h 210"/>
                <a:gd name="T34" fmla="*/ 66 w 104"/>
                <a:gd name="T35" fmla="*/ 191 h 210"/>
                <a:gd name="T36" fmla="*/ 57 w 104"/>
                <a:gd name="T37" fmla="*/ 200 h 210"/>
                <a:gd name="T38" fmla="*/ 57 w 104"/>
                <a:gd name="T39" fmla="*/ 200 h 210"/>
                <a:gd name="T40" fmla="*/ 38 w 104"/>
                <a:gd name="T41" fmla="*/ 210 h 210"/>
                <a:gd name="T42" fmla="*/ 38 w 104"/>
                <a:gd name="T43" fmla="*/ 210 h 210"/>
                <a:gd name="T44" fmla="*/ 38 w 104"/>
                <a:gd name="T45" fmla="*/ 191 h 210"/>
                <a:gd name="T46" fmla="*/ 28 w 104"/>
                <a:gd name="T47" fmla="*/ 191 h 210"/>
                <a:gd name="T48" fmla="*/ 38 w 104"/>
                <a:gd name="T49" fmla="*/ 181 h 210"/>
                <a:gd name="T50" fmla="*/ 38 w 104"/>
                <a:gd name="T51" fmla="*/ 181 h 210"/>
                <a:gd name="T52" fmla="*/ 47 w 104"/>
                <a:gd name="T53" fmla="*/ 172 h 210"/>
                <a:gd name="T54" fmla="*/ 47 w 104"/>
                <a:gd name="T55" fmla="*/ 162 h 210"/>
                <a:gd name="T56" fmla="*/ 57 w 104"/>
                <a:gd name="T57" fmla="*/ 162 h 210"/>
                <a:gd name="T58" fmla="*/ 76 w 104"/>
                <a:gd name="T59" fmla="*/ 162 h 210"/>
                <a:gd name="T60" fmla="*/ 76 w 104"/>
                <a:gd name="T61" fmla="*/ 143 h 210"/>
                <a:gd name="T62" fmla="*/ 76 w 104"/>
                <a:gd name="T63" fmla="*/ 134 h 210"/>
                <a:gd name="T64" fmla="*/ 76 w 104"/>
                <a:gd name="T65" fmla="*/ 105 h 210"/>
                <a:gd name="T66" fmla="*/ 66 w 104"/>
                <a:gd name="T67" fmla="*/ 105 h 210"/>
                <a:gd name="T68" fmla="*/ 66 w 104"/>
                <a:gd name="T69" fmla="*/ 95 h 210"/>
                <a:gd name="T70" fmla="*/ 47 w 104"/>
                <a:gd name="T71" fmla="*/ 86 h 210"/>
                <a:gd name="T72" fmla="*/ 38 w 104"/>
                <a:gd name="T73" fmla="*/ 67 h 210"/>
                <a:gd name="T74" fmla="*/ 38 w 104"/>
                <a:gd name="T75" fmla="*/ 48 h 210"/>
                <a:gd name="T76" fmla="*/ 28 w 104"/>
                <a:gd name="T77" fmla="*/ 38 h 210"/>
                <a:gd name="T78" fmla="*/ 9 w 104"/>
                <a:gd name="T79" fmla="*/ 38 h 210"/>
                <a:gd name="T80" fmla="*/ 9 w 104"/>
                <a:gd name="T81" fmla="*/ 19 h 210"/>
                <a:gd name="T82" fmla="*/ 0 w 104"/>
                <a:gd name="T83" fmla="*/ 19 h 210"/>
                <a:gd name="T84" fmla="*/ 0 w 104"/>
                <a:gd name="T85" fmla="*/ 9 h 210"/>
                <a:gd name="T86" fmla="*/ 9 w 104"/>
                <a:gd name="T87" fmla="*/ 9 h 210"/>
                <a:gd name="T88" fmla="*/ 19 w 104"/>
                <a:gd name="T89" fmla="*/ 9 h 210"/>
                <a:gd name="T90" fmla="*/ 38 w 104"/>
                <a:gd name="T91" fmla="*/ 9 h 210"/>
                <a:gd name="T92" fmla="*/ 38 w 104"/>
                <a:gd name="T93" fmla="*/ 0 h 210"/>
                <a:gd name="T94" fmla="*/ 47 w 104"/>
                <a:gd name="T95" fmla="*/ 9 h 210"/>
                <a:gd name="T96" fmla="*/ 66 w 104"/>
                <a:gd name="T97" fmla="*/ 9 h 210"/>
                <a:gd name="T98" fmla="*/ 66 w 104"/>
                <a:gd name="T99" fmla="*/ 9 h 210"/>
                <a:gd name="T100" fmla="*/ 66 w 104"/>
                <a:gd name="T101" fmla="*/ 19 h 210"/>
                <a:gd name="T102" fmla="*/ 76 w 104"/>
                <a:gd name="T103" fmla="*/ 29 h 210"/>
                <a:gd name="T104" fmla="*/ 85 w 104"/>
                <a:gd name="T105" fmla="*/ 29 h 210"/>
                <a:gd name="T106" fmla="*/ 85 w 104"/>
                <a:gd name="T107" fmla="*/ 29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4"/>
                <a:gd name="T163" fmla="*/ 0 h 210"/>
                <a:gd name="T164" fmla="*/ 104 w 104"/>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4" h="210">
                  <a:moveTo>
                    <a:pt x="85" y="29"/>
                  </a:moveTo>
                  <a:lnTo>
                    <a:pt x="85" y="29"/>
                  </a:lnTo>
                  <a:lnTo>
                    <a:pt x="66" y="38"/>
                  </a:lnTo>
                  <a:lnTo>
                    <a:pt x="57" y="48"/>
                  </a:lnTo>
                  <a:lnTo>
                    <a:pt x="47" y="57"/>
                  </a:lnTo>
                  <a:lnTo>
                    <a:pt x="47" y="76"/>
                  </a:lnTo>
                  <a:lnTo>
                    <a:pt x="57" y="76"/>
                  </a:lnTo>
                  <a:lnTo>
                    <a:pt x="76" y="95"/>
                  </a:lnTo>
                  <a:lnTo>
                    <a:pt x="85" y="114"/>
                  </a:lnTo>
                  <a:lnTo>
                    <a:pt x="104" y="124"/>
                  </a:lnTo>
                  <a:lnTo>
                    <a:pt x="104" y="153"/>
                  </a:lnTo>
                  <a:lnTo>
                    <a:pt x="104" y="162"/>
                  </a:lnTo>
                  <a:lnTo>
                    <a:pt x="95" y="172"/>
                  </a:lnTo>
                  <a:lnTo>
                    <a:pt x="85" y="181"/>
                  </a:lnTo>
                  <a:lnTo>
                    <a:pt x="66" y="191"/>
                  </a:lnTo>
                  <a:lnTo>
                    <a:pt x="57" y="200"/>
                  </a:lnTo>
                  <a:lnTo>
                    <a:pt x="38" y="210"/>
                  </a:lnTo>
                  <a:lnTo>
                    <a:pt x="38" y="191"/>
                  </a:lnTo>
                  <a:lnTo>
                    <a:pt x="28" y="191"/>
                  </a:lnTo>
                  <a:lnTo>
                    <a:pt x="38" y="181"/>
                  </a:lnTo>
                  <a:lnTo>
                    <a:pt x="47" y="172"/>
                  </a:lnTo>
                  <a:lnTo>
                    <a:pt x="47" y="162"/>
                  </a:lnTo>
                  <a:lnTo>
                    <a:pt x="57" y="162"/>
                  </a:lnTo>
                  <a:lnTo>
                    <a:pt x="76" y="162"/>
                  </a:lnTo>
                  <a:lnTo>
                    <a:pt x="76" y="143"/>
                  </a:lnTo>
                  <a:lnTo>
                    <a:pt x="76" y="134"/>
                  </a:lnTo>
                  <a:lnTo>
                    <a:pt x="76" y="105"/>
                  </a:lnTo>
                  <a:lnTo>
                    <a:pt x="66" y="105"/>
                  </a:lnTo>
                  <a:lnTo>
                    <a:pt x="66" y="95"/>
                  </a:lnTo>
                  <a:lnTo>
                    <a:pt x="47" y="86"/>
                  </a:lnTo>
                  <a:lnTo>
                    <a:pt x="38" y="67"/>
                  </a:lnTo>
                  <a:lnTo>
                    <a:pt x="38" y="48"/>
                  </a:lnTo>
                  <a:lnTo>
                    <a:pt x="28" y="38"/>
                  </a:lnTo>
                  <a:lnTo>
                    <a:pt x="9" y="38"/>
                  </a:lnTo>
                  <a:lnTo>
                    <a:pt x="9" y="19"/>
                  </a:lnTo>
                  <a:lnTo>
                    <a:pt x="0" y="19"/>
                  </a:lnTo>
                  <a:lnTo>
                    <a:pt x="0" y="9"/>
                  </a:lnTo>
                  <a:lnTo>
                    <a:pt x="9" y="9"/>
                  </a:lnTo>
                  <a:lnTo>
                    <a:pt x="19" y="9"/>
                  </a:lnTo>
                  <a:lnTo>
                    <a:pt x="38" y="9"/>
                  </a:lnTo>
                  <a:lnTo>
                    <a:pt x="38" y="0"/>
                  </a:lnTo>
                  <a:lnTo>
                    <a:pt x="47" y="9"/>
                  </a:lnTo>
                  <a:lnTo>
                    <a:pt x="66" y="9"/>
                  </a:lnTo>
                  <a:lnTo>
                    <a:pt x="66" y="19"/>
                  </a:lnTo>
                  <a:lnTo>
                    <a:pt x="76" y="29"/>
                  </a:lnTo>
                  <a:lnTo>
                    <a:pt x="85" y="2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63" name="Freeform 241">
              <a:extLst>
                <a:ext uri="{FF2B5EF4-FFF2-40B4-BE49-F238E27FC236}">
                  <a16:creationId xmlns:a16="http://schemas.microsoft.com/office/drawing/2014/main" id="{2A25B0E3-8181-4413-ABBF-F7EEA5D75472}"/>
                </a:ext>
              </a:extLst>
            </p:cNvPr>
            <p:cNvSpPr>
              <a:spLocks/>
            </p:cNvSpPr>
            <p:nvPr/>
          </p:nvSpPr>
          <p:spPr bwMode="gray">
            <a:xfrm>
              <a:off x="4524" y="2223"/>
              <a:ext cx="95" cy="95"/>
            </a:xfrm>
            <a:custGeom>
              <a:avLst/>
              <a:gdLst>
                <a:gd name="T0" fmla="*/ 95 w 95"/>
                <a:gd name="T1" fmla="*/ 10 h 95"/>
                <a:gd name="T2" fmla="*/ 95 w 95"/>
                <a:gd name="T3" fmla="*/ 0 h 95"/>
                <a:gd name="T4" fmla="*/ 85 w 95"/>
                <a:gd name="T5" fmla="*/ 0 h 95"/>
                <a:gd name="T6" fmla="*/ 66 w 95"/>
                <a:gd name="T7" fmla="*/ 10 h 95"/>
                <a:gd name="T8" fmla="*/ 57 w 95"/>
                <a:gd name="T9" fmla="*/ 10 h 95"/>
                <a:gd name="T10" fmla="*/ 57 w 95"/>
                <a:gd name="T11" fmla="*/ 19 h 95"/>
                <a:gd name="T12" fmla="*/ 57 w 95"/>
                <a:gd name="T13" fmla="*/ 29 h 95"/>
                <a:gd name="T14" fmla="*/ 47 w 95"/>
                <a:gd name="T15" fmla="*/ 29 h 95"/>
                <a:gd name="T16" fmla="*/ 47 w 95"/>
                <a:gd name="T17" fmla="*/ 19 h 95"/>
                <a:gd name="T18" fmla="*/ 38 w 95"/>
                <a:gd name="T19" fmla="*/ 19 h 95"/>
                <a:gd name="T20" fmla="*/ 28 w 95"/>
                <a:gd name="T21" fmla="*/ 38 h 95"/>
                <a:gd name="T22" fmla="*/ 9 w 95"/>
                <a:gd name="T23" fmla="*/ 38 h 95"/>
                <a:gd name="T24" fmla="*/ 0 w 95"/>
                <a:gd name="T25" fmla="*/ 57 h 95"/>
                <a:gd name="T26" fmla="*/ 0 w 95"/>
                <a:gd name="T27" fmla="*/ 57 h 95"/>
                <a:gd name="T28" fmla="*/ 9 w 95"/>
                <a:gd name="T29" fmla="*/ 57 h 95"/>
                <a:gd name="T30" fmla="*/ 9 w 95"/>
                <a:gd name="T31" fmla="*/ 57 h 95"/>
                <a:gd name="T32" fmla="*/ 9 w 95"/>
                <a:gd name="T33" fmla="*/ 67 h 95"/>
                <a:gd name="T34" fmla="*/ 19 w 95"/>
                <a:gd name="T35" fmla="*/ 76 h 95"/>
                <a:gd name="T36" fmla="*/ 9 w 95"/>
                <a:gd name="T37" fmla="*/ 86 h 95"/>
                <a:gd name="T38" fmla="*/ 9 w 95"/>
                <a:gd name="T39" fmla="*/ 95 h 95"/>
                <a:gd name="T40" fmla="*/ 19 w 95"/>
                <a:gd name="T41" fmla="*/ 95 h 95"/>
                <a:gd name="T42" fmla="*/ 28 w 95"/>
                <a:gd name="T43" fmla="*/ 86 h 95"/>
                <a:gd name="T44" fmla="*/ 28 w 95"/>
                <a:gd name="T45" fmla="*/ 86 h 95"/>
                <a:gd name="T46" fmla="*/ 38 w 95"/>
                <a:gd name="T47" fmla="*/ 76 h 95"/>
                <a:gd name="T48" fmla="*/ 66 w 95"/>
                <a:gd name="T49" fmla="*/ 76 h 95"/>
                <a:gd name="T50" fmla="*/ 57 w 95"/>
                <a:gd name="T51" fmla="*/ 67 h 95"/>
                <a:gd name="T52" fmla="*/ 47 w 95"/>
                <a:gd name="T53" fmla="*/ 67 h 95"/>
                <a:gd name="T54" fmla="*/ 47 w 95"/>
                <a:gd name="T55" fmla="*/ 57 h 95"/>
                <a:gd name="T56" fmla="*/ 47 w 95"/>
                <a:gd name="T57" fmla="*/ 48 h 95"/>
                <a:gd name="T58" fmla="*/ 57 w 95"/>
                <a:gd name="T59" fmla="*/ 48 h 95"/>
                <a:gd name="T60" fmla="*/ 76 w 95"/>
                <a:gd name="T61" fmla="*/ 38 h 95"/>
                <a:gd name="T62" fmla="*/ 85 w 95"/>
                <a:gd name="T63" fmla="*/ 29 h 95"/>
                <a:gd name="T64" fmla="*/ 85 w 95"/>
                <a:gd name="T65" fmla="*/ 19 h 95"/>
                <a:gd name="T66" fmla="*/ 85 w 95"/>
                <a:gd name="T67" fmla="*/ 10 h 95"/>
                <a:gd name="T68" fmla="*/ 95 w 95"/>
                <a:gd name="T69" fmla="*/ 10 h 9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5"/>
                <a:gd name="T106" fmla="*/ 0 h 95"/>
                <a:gd name="T107" fmla="*/ 95 w 95"/>
                <a:gd name="T108" fmla="*/ 95 h 9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5" h="95">
                  <a:moveTo>
                    <a:pt x="95" y="10"/>
                  </a:moveTo>
                  <a:lnTo>
                    <a:pt x="95" y="0"/>
                  </a:lnTo>
                  <a:lnTo>
                    <a:pt x="85" y="0"/>
                  </a:lnTo>
                  <a:lnTo>
                    <a:pt x="66" y="10"/>
                  </a:lnTo>
                  <a:lnTo>
                    <a:pt x="57" y="10"/>
                  </a:lnTo>
                  <a:lnTo>
                    <a:pt x="57" y="19"/>
                  </a:lnTo>
                  <a:lnTo>
                    <a:pt x="57" y="29"/>
                  </a:lnTo>
                  <a:lnTo>
                    <a:pt x="47" y="29"/>
                  </a:lnTo>
                  <a:lnTo>
                    <a:pt x="47" y="19"/>
                  </a:lnTo>
                  <a:lnTo>
                    <a:pt x="38" y="19"/>
                  </a:lnTo>
                  <a:lnTo>
                    <a:pt x="28" y="38"/>
                  </a:lnTo>
                  <a:lnTo>
                    <a:pt x="9" y="38"/>
                  </a:lnTo>
                  <a:lnTo>
                    <a:pt x="0" y="57"/>
                  </a:lnTo>
                  <a:lnTo>
                    <a:pt x="9" y="57"/>
                  </a:lnTo>
                  <a:lnTo>
                    <a:pt x="9" y="67"/>
                  </a:lnTo>
                  <a:lnTo>
                    <a:pt x="19" y="76"/>
                  </a:lnTo>
                  <a:lnTo>
                    <a:pt x="9" y="86"/>
                  </a:lnTo>
                  <a:lnTo>
                    <a:pt x="9" y="95"/>
                  </a:lnTo>
                  <a:lnTo>
                    <a:pt x="19" y="95"/>
                  </a:lnTo>
                  <a:lnTo>
                    <a:pt x="28" y="86"/>
                  </a:lnTo>
                  <a:lnTo>
                    <a:pt x="38" y="76"/>
                  </a:lnTo>
                  <a:lnTo>
                    <a:pt x="66" y="76"/>
                  </a:lnTo>
                  <a:lnTo>
                    <a:pt x="57" y="67"/>
                  </a:lnTo>
                  <a:lnTo>
                    <a:pt x="47" y="67"/>
                  </a:lnTo>
                  <a:lnTo>
                    <a:pt x="47" y="57"/>
                  </a:lnTo>
                  <a:lnTo>
                    <a:pt x="47" y="48"/>
                  </a:lnTo>
                  <a:lnTo>
                    <a:pt x="57" y="48"/>
                  </a:lnTo>
                  <a:lnTo>
                    <a:pt x="76" y="38"/>
                  </a:lnTo>
                  <a:lnTo>
                    <a:pt x="85" y="29"/>
                  </a:lnTo>
                  <a:lnTo>
                    <a:pt x="85" y="19"/>
                  </a:lnTo>
                  <a:lnTo>
                    <a:pt x="85" y="10"/>
                  </a:lnTo>
                  <a:lnTo>
                    <a:pt x="95"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64" name="Freeform 242">
              <a:extLst>
                <a:ext uri="{FF2B5EF4-FFF2-40B4-BE49-F238E27FC236}">
                  <a16:creationId xmlns:a16="http://schemas.microsoft.com/office/drawing/2014/main" id="{2D9A73E5-1FCC-45E6-A0C2-4ABA427B04E8}"/>
                </a:ext>
              </a:extLst>
            </p:cNvPr>
            <p:cNvSpPr>
              <a:spLocks/>
            </p:cNvSpPr>
            <p:nvPr/>
          </p:nvSpPr>
          <p:spPr bwMode="gray">
            <a:xfrm>
              <a:off x="2560" y="2213"/>
              <a:ext cx="181" cy="134"/>
            </a:xfrm>
            <a:custGeom>
              <a:avLst/>
              <a:gdLst>
                <a:gd name="T0" fmla="*/ 172 w 181"/>
                <a:gd name="T1" fmla="*/ 20 h 134"/>
                <a:gd name="T2" fmla="*/ 181 w 181"/>
                <a:gd name="T3" fmla="*/ 29 h 134"/>
                <a:gd name="T4" fmla="*/ 172 w 181"/>
                <a:gd name="T5" fmla="*/ 39 h 134"/>
                <a:gd name="T6" fmla="*/ 162 w 181"/>
                <a:gd name="T7" fmla="*/ 48 h 134"/>
                <a:gd name="T8" fmla="*/ 153 w 181"/>
                <a:gd name="T9" fmla="*/ 48 h 134"/>
                <a:gd name="T10" fmla="*/ 143 w 181"/>
                <a:gd name="T11" fmla="*/ 48 h 134"/>
                <a:gd name="T12" fmla="*/ 143 w 181"/>
                <a:gd name="T13" fmla="*/ 58 h 134"/>
                <a:gd name="T14" fmla="*/ 134 w 181"/>
                <a:gd name="T15" fmla="*/ 67 h 134"/>
                <a:gd name="T16" fmla="*/ 134 w 181"/>
                <a:gd name="T17" fmla="*/ 77 h 134"/>
                <a:gd name="T18" fmla="*/ 134 w 181"/>
                <a:gd name="T19" fmla="*/ 96 h 134"/>
                <a:gd name="T20" fmla="*/ 124 w 181"/>
                <a:gd name="T21" fmla="*/ 96 h 134"/>
                <a:gd name="T22" fmla="*/ 124 w 181"/>
                <a:gd name="T23" fmla="*/ 105 h 134"/>
                <a:gd name="T24" fmla="*/ 114 w 181"/>
                <a:gd name="T25" fmla="*/ 115 h 134"/>
                <a:gd name="T26" fmla="*/ 114 w 181"/>
                <a:gd name="T27" fmla="*/ 115 h 134"/>
                <a:gd name="T28" fmla="*/ 105 w 181"/>
                <a:gd name="T29" fmla="*/ 115 h 134"/>
                <a:gd name="T30" fmla="*/ 105 w 181"/>
                <a:gd name="T31" fmla="*/ 124 h 134"/>
                <a:gd name="T32" fmla="*/ 95 w 181"/>
                <a:gd name="T33" fmla="*/ 134 h 134"/>
                <a:gd name="T34" fmla="*/ 86 w 181"/>
                <a:gd name="T35" fmla="*/ 124 h 134"/>
                <a:gd name="T36" fmla="*/ 76 w 181"/>
                <a:gd name="T37" fmla="*/ 124 h 134"/>
                <a:gd name="T38" fmla="*/ 67 w 181"/>
                <a:gd name="T39" fmla="*/ 124 h 134"/>
                <a:gd name="T40" fmla="*/ 57 w 181"/>
                <a:gd name="T41" fmla="*/ 134 h 134"/>
                <a:gd name="T42" fmla="*/ 48 w 181"/>
                <a:gd name="T43" fmla="*/ 134 h 134"/>
                <a:gd name="T44" fmla="*/ 48 w 181"/>
                <a:gd name="T45" fmla="*/ 134 h 134"/>
                <a:gd name="T46" fmla="*/ 38 w 181"/>
                <a:gd name="T47" fmla="*/ 134 h 134"/>
                <a:gd name="T48" fmla="*/ 38 w 181"/>
                <a:gd name="T49" fmla="*/ 115 h 134"/>
                <a:gd name="T50" fmla="*/ 29 w 181"/>
                <a:gd name="T51" fmla="*/ 115 h 134"/>
                <a:gd name="T52" fmla="*/ 29 w 181"/>
                <a:gd name="T53" fmla="*/ 115 h 134"/>
                <a:gd name="T54" fmla="*/ 29 w 181"/>
                <a:gd name="T55" fmla="*/ 105 h 134"/>
                <a:gd name="T56" fmla="*/ 29 w 181"/>
                <a:gd name="T57" fmla="*/ 105 h 134"/>
                <a:gd name="T58" fmla="*/ 29 w 181"/>
                <a:gd name="T59" fmla="*/ 86 h 134"/>
                <a:gd name="T60" fmla="*/ 29 w 181"/>
                <a:gd name="T61" fmla="*/ 77 h 134"/>
                <a:gd name="T62" fmla="*/ 29 w 181"/>
                <a:gd name="T63" fmla="*/ 67 h 134"/>
                <a:gd name="T64" fmla="*/ 29 w 181"/>
                <a:gd name="T65" fmla="*/ 58 h 134"/>
                <a:gd name="T66" fmla="*/ 38 w 181"/>
                <a:gd name="T67" fmla="*/ 48 h 134"/>
                <a:gd name="T68" fmla="*/ 38 w 181"/>
                <a:gd name="T69" fmla="*/ 39 h 134"/>
                <a:gd name="T70" fmla="*/ 38 w 181"/>
                <a:gd name="T71" fmla="*/ 29 h 134"/>
                <a:gd name="T72" fmla="*/ 29 w 181"/>
                <a:gd name="T73" fmla="*/ 29 h 134"/>
                <a:gd name="T74" fmla="*/ 10 w 181"/>
                <a:gd name="T75" fmla="*/ 39 h 134"/>
                <a:gd name="T76" fmla="*/ 10 w 181"/>
                <a:gd name="T77" fmla="*/ 29 h 134"/>
                <a:gd name="T78" fmla="*/ 10 w 181"/>
                <a:gd name="T79" fmla="*/ 29 h 134"/>
                <a:gd name="T80" fmla="*/ 0 w 181"/>
                <a:gd name="T81" fmla="*/ 20 h 134"/>
                <a:gd name="T82" fmla="*/ 0 w 181"/>
                <a:gd name="T83" fmla="*/ 10 h 134"/>
                <a:gd name="T84" fmla="*/ 10 w 181"/>
                <a:gd name="T85" fmla="*/ 0 h 134"/>
                <a:gd name="T86" fmla="*/ 10 w 181"/>
                <a:gd name="T87" fmla="*/ 0 h 134"/>
                <a:gd name="T88" fmla="*/ 19 w 181"/>
                <a:gd name="T89" fmla="*/ 0 h 134"/>
                <a:gd name="T90" fmla="*/ 29 w 181"/>
                <a:gd name="T91" fmla="*/ 0 h 134"/>
                <a:gd name="T92" fmla="*/ 38 w 181"/>
                <a:gd name="T93" fmla="*/ 0 h 134"/>
                <a:gd name="T94" fmla="*/ 48 w 181"/>
                <a:gd name="T95" fmla="*/ 0 h 134"/>
                <a:gd name="T96" fmla="*/ 57 w 181"/>
                <a:gd name="T97" fmla="*/ 0 h 134"/>
                <a:gd name="T98" fmla="*/ 67 w 181"/>
                <a:gd name="T99" fmla="*/ 0 h 134"/>
                <a:gd name="T100" fmla="*/ 76 w 181"/>
                <a:gd name="T101" fmla="*/ 0 h 134"/>
                <a:gd name="T102" fmla="*/ 95 w 181"/>
                <a:gd name="T103" fmla="*/ 10 h 134"/>
                <a:gd name="T104" fmla="*/ 114 w 181"/>
                <a:gd name="T105" fmla="*/ 10 h 134"/>
                <a:gd name="T106" fmla="*/ 124 w 181"/>
                <a:gd name="T107" fmla="*/ 10 h 134"/>
                <a:gd name="T108" fmla="*/ 124 w 181"/>
                <a:gd name="T109" fmla="*/ 10 h 134"/>
                <a:gd name="T110" fmla="*/ 134 w 181"/>
                <a:gd name="T111" fmla="*/ 20 h 134"/>
                <a:gd name="T112" fmla="*/ 153 w 181"/>
                <a:gd name="T113" fmla="*/ 20 h 134"/>
                <a:gd name="T114" fmla="*/ 153 w 181"/>
                <a:gd name="T115" fmla="*/ 20 h 134"/>
                <a:gd name="T116" fmla="*/ 153 w 181"/>
                <a:gd name="T117" fmla="*/ 20 h 134"/>
                <a:gd name="T118" fmla="*/ 162 w 181"/>
                <a:gd name="T119" fmla="*/ 20 h 134"/>
                <a:gd name="T120" fmla="*/ 172 w 181"/>
                <a:gd name="T121" fmla="*/ 20 h 1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1"/>
                <a:gd name="T184" fmla="*/ 0 h 134"/>
                <a:gd name="T185" fmla="*/ 181 w 181"/>
                <a:gd name="T186" fmla="*/ 134 h 1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1" h="134">
                  <a:moveTo>
                    <a:pt x="172" y="20"/>
                  </a:moveTo>
                  <a:lnTo>
                    <a:pt x="181" y="29"/>
                  </a:lnTo>
                  <a:lnTo>
                    <a:pt x="172" y="39"/>
                  </a:lnTo>
                  <a:lnTo>
                    <a:pt x="162" y="48"/>
                  </a:lnTo>
                  <a:lnTo>
                    <a:pt x="153" y="48"/>
                  </a:lnTo>
                  <a:lnTo>
                    <a:pt x="143" y="48"/>
                  </a:lnTo>
                  <a:lnTo>
                    <a:pt x="143" y="58"/>
                  </a:lnTo>
                  <a:lnTo>
                    <a:pt x="134" y="67"/>
                  </a:lnTo>
                  <a:lnTo>
                    <a:pt x="134" y="77"/>
                  </a:lnTo>
                  <a:lnTo>
                    <a:pt x="134" y="96"/>
                  </a:lnTo>
                  <a:lnTo>
                    <a:pt x="124" y="96"/>
                  </a:lnTo>
                  <a:lnTo>
                    <a:pt x="124" y="105"/>
                  </a:lnTo>
                  <a:lnTo>
                    <a:pt x="114" y="115"/>
                  </a:lnTo>
                  <a:lnTo>
                    <a:pt x="105" y="115"/>
                  </a:lnTo>
                  <a:lnTo>
                    <a:pt x="105" y="124"/>
                  </a:lnTo>
                  <a:lnTo>
                    <a:pt x="95" y="134"/>
                  </a:lnTo>
                  <a:lnTo>
                    <a:pt x="86" y="124"/>
                  </a:lnTo>
                  <a:lnTo>
                    <a:pt x="76" y="124"/>
                  </a:lnTo>
                  <a:lnTo>
                    <a:pt x="67" y="124"/>
                  </a:lnTo>
                  <a:lnTo>
                    <a:pt x="57" y="134"/>
                  </a:lnTo>
                  <a:lnTo>
                    <a:pt x="48" y="134"/>
                  </a:lnTo>
                  <a:lnTo>
                    <a:pt x="38" y="134"/>
                  </a:lnTo>
                  <a:lnTo>
                    <a:pt x="38" y="115"/>
                  </a:lnTo>
                  <a:lnTo>
                    <a:pt x="29" y="115"/>
                  </a:lnTo>
                  <a:lnTo>
                    <a:pt x="29" y="105"/>
                  </a:lnTo>
                  <a:lnTo>
                    <a:pt x="29" y="86"/>
                  </a:lnTo>
                  <a:lnTo>
                    <a:pt x="29" y="77"/>
                  </a:lnTo>
                  <a:lnTo>
                    <a:pt x="29" y="67"/>
                  </a:lnTo>
                  <a:lnTo>
                    <a:pt x="29" y="58"/>
                  </a:lnTo>
                  <a:lnTo>
                    <a:pt x="38" y="48"/>
                  </a:lnTo>
                  <a:lnTo>
                    <a:pt x="38" y="39"/>
                  </a:lnTo>
                  <a:lnTo>
                    <a:pt x="38" y="29"/>
                  </a:lnTo>
                  <a:lnTo>
                    <a:pt x="29" y="29"/>
                  </a:lnTo>
                  <a:lnTo>
                    <a:pt x="10" y="39"/>
                  </a:lnTo>
                  <a:lnTo>
                    <a:pt x="10" y="29"/>
                  </a:lnTo>
                  <a:lnTo>
                    <a:pt x="0" y="20"/>
                  </a:lnTo>
                  <a:lnTo>
                    <a:pt x="0" y="10"/>
                  </a:lnTo>
                  <a:lnTo>
                    <a:pt x="10" y="0"/>
                  </a:lnTo>
                  <a:lnTo>
                    <a:pt x="19" y="0"/>
                  </a:lnTo>
                  <a:lnTo>
                    <a:pt x="29" y="0"/>
                  </a:lnTo>
                  <a:lnTo>
                    <a:pt x="38" y="0"/>
                  </a:lnTo>
                  <a:lnTo>
                    <a:pt x="48" y="0"/>
                  </a:lnTo>
                  <a:lnTo>
                    <a:pt x="57" y="0"/>
                  </a:lnTo>
                  <a:lnTo>
                    <a:pt x="67" y="0"/>
                  </a:lnTo>
                  <a:lnTo>
                    <a:pt x="76" y="0"/>
                  </a:lnTo>
                  <a:lnTo>
                    <a:pt x="95" y="10"/>
                  </a:lnTo>
                  <a:lnTo>
                    <a:pt x="114" y="10"/>
                  </a:lnTo>
                  <a:lnTo>
                    <a:pt x="124" y="10"/>
                  </a:lnTo>
                  <a:lnTo>
                    <a:pt x="134" y="20"/>
                  </a:lnTo>
                  <a:lnTo>
                    <a:pt x="153" y="20"/>
                  </a:lnTo>
                  <a:lnTo>
                    <a:pt x="162" y="20"/>
                  </a:lnTo>
                  <a:lnTo>
                    <a:pt x="172" y="2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65" name="Freeform 243">
              <a:extLst>
                <a:ext uri="{FF2B5EF4-FFF2-40B4-BE49-F238E27FC236}">
                  <a16:creationId xmlns:a16="http://schemas.microsoft.com/office/drawing/2014/main" id="{82F7D00B-FB07-45A1-BA9D-1A59AC12E87F}"/>
                </a:ext>
              </a:extLst>
            </p:cNvPr>
            <p:cNvSpPr>
              <a:spLocks/>
            </p:cNvSpPr>
            <p:nvPr/>
          </p:nvSpPr>
          <p:spPr bwMode="gray">
            <a:xfrm>
              <a:off x="2627" y="2070"/>
              <a:ext cx="190" cy="163"/>
            </a:xfrm>
            <a:custGeom>
              <a:avLst/>
              <a:gdLst>
                <a:gd name="T0" fmla="*/ 114 w 190"/>
                <a:gd name="T1" fmla="*/ 153 h 163"/>
                <a:gd name="T2" fmla="*/ 133 w 190"/>
                <a:gd name="T3" fmla="*/ 153 h 163"/>
                <a:gd name="T4" fmla="*/ 152 w 190"/>
                <a:gd name="T5" fmla="*/ 153 h 163"/>
                <a:gd name="T6" fmla="*/ 162 w 190"/>
                <a:gd name="T7" fmla="*/ 143 h 163"/>
                <a:gd name="T8" fmla="*/ 181 w 190"/>
                <a:gd name="T9" fmla="*/ 143 h 163"/>
                <a:gd name="T10" fmla="*/ 171 w 190"/>
                <a:gd name="T11" fmla="*/ 134 h 163"/>
                <a:gd name="T12" fmla="*/ 162 w 190"/>
                <a:gd name="T13" fmla="*/ 105 h 163"/>
                <a:gd name="T14" fmla="*/ 162 w 190"/>
                <a:gd name="T15" fmla="*/ 96 h 163"/>
                <a:gd name="T16" fmla="*/ 152 w 190"/>
                <a:gd name="T17" fmla="*/ 96 h 163"/>
                <a:gd name="T18" fmla="*/ 162 w 190"/>
                <a:gd name="T19" fmla="*/ 86 h 163"/>
                <a:gd name="T20" fmla="*/ 162 w 190"/>
                <a:gd name="T21" fmla="*/ 77 h 163"/>
                <a:gd name="T22" fmla="*/ 171 w 190"/>
                <a:gd name="T23" fmla="*/ 67 h 163"/>
                <a:gd name="T24" fmla="*/ 190 w 190"/>
                <a:gd name="T25" fmla="*/ 38 h 163"/>
                <a:gd name="T26" fmla="*/ 162 w 190"/>
                <a:gd name="T27" fmla="*/ 29 h 163"/>
                <a:gd name="T28" fmla="*/ 143 w 190"/>
                <a:gd name="T29" fmla="*/ 19 h 163"/>
                <a:gd name="T30" fmla="*/ 124 w 190"/>
                <a:gd name="T31" fmla="*/ 19 h 163"/>
                <a:gd name="T32" fmla="*/ 105 w 190"/>
                <a:gd name="T33" fmla="*/ 0 h 163"/>
                <a:gd name="T34" fmla="*/ 86 w 190"/>
                <a:gd name="T35" fmla="*/ 19 h 163"/>
                <a:gd name="T36" fmla="*/ 67 w 190"/>
                <a:gd name="T37" fmla="*/ 29 h 163"/>
                <a:gd name="T38" fmla="*/ 47 w 190"/>
                <a:gd name="T39" fmla="*/ 29 h 163"/>
                <a:gd name="T40" fmla="*/ 38 w 190"/>
                <a:gd name="T41" fmla="*/ 29 h 163"/>
                <a:gd name="T42" fmla="*/ 47 w 190"/>
                <a:gd name="T43" fmla="*/ 38 h 163"/>
                <a:gd name="T44" fmla="*/ 38 w 190"/>
                <a:gd name="T45" fmla="*/ 48 h 163"/>
                <a:gd name="T46" fmla="*/ 28 w 190"/>
                <a:gd name="T47" fmla="*/ 48 h 163"/>
                <a:gd name="T48" fmla="*/ 19 w 190"/>
                <a:gd name="T49" fmla="*/ 48 h 163"/>
                <a:gd name="T50" fmla="*/ 0 w 190"/>
                <a:gd name="T51" fmla="*/ 48 h 163"/>
                <a:gd name="T52" fmla="*/ 0 w 190"/>
                <a:gd name="T53" fmla="*/ 58 h 163"/>
                <a:gd name="T54" fmla="*/ 9 w 190"/>
                <a:gd name="T55" fmla="*/ 67 h 163"/>
                <a:gd name="T56" fmla="*/ 19 w 190"/>
                <a:gd name="T57" fmla="*/ 67 h 163"/>
                <a:gd name="T58" fmla="*/ 28 w 190"/>
                <a:gd name="T59" fmla="*/ 67 h 163"/>
                <a:gd name="T60" fmla="*/ 38 w 190"/>
                <a:gd name="T61" fmla="*/ 86 h 163"/>
                <a:gd name="T62" fmla="*/ 47 w 190"/>
                <a:gd name="T63" fmla="*/ 96 h 163"/>
                <a:gd name="T64" fmla="*/ 47 w 190"/>
                <a:gd name="T65" fmla="*/ 105 h 163"/>
                <a:gd name="T66" fmla="*/ 57 w 190"/>
                <a:gd name="T67" fmla="*/ 115 h 163"/>
                <a:gd name="T68" fmla="*/ 47 w 190"/>
                <a:gd name="T69" fmla="*/ 115 h 163"/>
                <a:gd name="T70" fmla="*/ 47 w 190"/>
                <a:gd name="T71" fmla="*/ 134 h 163"/>
                <a:gd name="T72" fmla="*/ 57 w 190"/>
                <a:gd name="T73" fmla="*/ 153 h 163"/>
                <a:gd name="T74" fmla="*/ 67 w 190"/>
                <a:gd name="T75" fmla="*/ 163 h 163"/>
                <a:gd name="T76" fmla="*/ 86 w 190"/>
                <a:gd name="T77" fmla="*/ 163 h 163"/>
                <a:gd name="T78" fmla="*/ 105 w 190"/>
                <a:gd name="T79" fmla="*/ 163 h 1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90"/>
                <a:gd name="T121" fmla="*/ 0 h 163"/>
                <a:gd name="T122" fmla="*/ 190 w 190"/>
                <a:gd name="T123" fmla="*/ 163 h 16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90" h="163">
                  <a:moveTo>
                    <a:pt x="105" y="163"/>
                  </a:moveTo>
                  <a:lnTo>
                    <a:pt x="114" y="153"/>
                  </a:lnTo>
                  <a:lnTo>
                    <a:pt x="124" y="143"/>
                  </a:lnTo>
                  <a:lnTo>
                    <a:pt x="133" y="153"/>
                  </a:lnTo>
                  <a:lnTo>
                    <a:pt x="143" y="153"/>
                  </a:lnTo>
                  <a:lnTo>
                    <a:pt x="152" y="153"/>
                  </a:lnTo>
                  <a:lnTo>
                    <a:pt x="162" y="153"/>
                  </a:lnTo>
                  <a:lnTo>
                    <a:pt x="162" y="143"/>
                  </a:lnTo>
                  <a:lnTo>
                    <a:pt x="171" y="143"/>
                  </a:lnTo>
                  <a:lnTo>
                    <a:pt x="181" y="143"/>
                  </a:lnTo>
                  <a:lnTo>
                    <a:pt x="171" y="134"/>
                  </a:lnTo>
                  <a:lnTo>
                    <a:pt x="162" y="115"/>
                  </a:lnTo>
                  <a:lnTo>
                    <a:pt x="162" y="105"/>
                  </a:lnTo>
                  <a:lnTo>
                    <a:pt x="162" y="96"/>
                  </a:lnTo>
                  <a:lnTo>
                    <a:pt x="152" y="96"/>
                  </a:lnTo>
                  <a:lnTo>
                    <a:pt x="152" y="86"/>
                  </a:lnTo>
                  <a:lnTo>
                    <a:pt x="162" y="86"/>
                  </a:lnTo>
                  <a:lnTo>
                    <a:pt x="162" y="77"/>
                  </a:lnTo>
                  <a:lnTo>
                    <a:pt x="162" y="67"/>
                  </a:lnTo>
                  <a:lnTo>
                    <a:pt x="171" y="67"/>
                  </a:lnTo>
                  <a:lnTo>
                    <a:pt x="181" y="48"/>
                  </a:lnTo>
                  <a:lnTo>
                    <a:pt x="190" y="38"/>
                  </a:lnTo>
                  <a:lnTo>
                    <a:pt x="171" y="29"/>
                  </a:lnTo>
                  <a:lnTo>
                    <a:pt x="162" y="29"/>
                  </a:lnTo>
                  <a:lnTo>
                    <a:pt x="152" y="29"/>
                  </a:lnTo>
                  <a:lnTo>
                    <a:pt x="143" y="19"/>
                  </a:lnTo>
                  <a:lnTo>
                    <a:pt x="133" y="19"/>
                  </a:lnTo>
                  <a:lnTo>
                    <a:pt x="124" y="19"/>
                  </a:lnTo>
                  <a:lnTo>
                    <a:pt x="114" y="10"/>
                  </a:lnTo>
                  <a:lnTo>
                    <a:pt x="105" y="0"/>
                  </a:lnTo>
                  <a:lnTo>
                    <a:pt x="86" y="0"/>
                  </a:lnTo>
                  <a:lnTo>
                    <a:pt x="86" y="19"/>
                  </a:lnTo>
                  <a:lnTo>
                    <a:pt x="67" y="19"/>
                  </a:lnTo>
                  <a:lnTo>
                    <a:pt x="67" y="29"/>
                  </a:lnTo>
                  <a:lnTo>
                    <a:pt x="47" y="29"/>
                  </a:lnTo>
                  <a:lnTo>
                    <a:pt x="38" y="29"/>
                  </a:lnTo>
                  <a:lnTo>
                    <a:pt x="47" y="38"/>
                  </a:lnTo>
                  <a:lnTo>
                    <a:pt x="47" y="48"/>
                  </a:lnTo>
                  <a:lnTo>
                    <a:pt x="38" y="48"/>
                  </a:lnTo>
                  <a:lnTo>
                    <a:pt x="28" y="48"/>
                  </a:lnTo>
                  <a:lnTo>
                    <a:pt x="19" y="48"/>
                  </a:lnTo>
                  <a:lnTo>
                    <a:pt x="9" y="48"/>
                  </a:lnTo>
                  <a:lnTo>
                    <a:pt x="0" y="48"/>
                  </a:lnTo>
                  <a:lnTo>
                    <a:pt x="0" y="58"/>
                  </a:lnTo>
                  <a:lnTo>
                    <a:pt x="9" y="67"/>
                  </a:lnTo>
                  <a:lnTo>
                    <a:pt x="19" y="67"/>
                  </a:lnTo>
                  <a:lnTo>
                    <a:pt x="28" y="67"/>
                  </a:lnTo>
                  <a:lnTo>
                    <a:pt x="38" y="77"/>
                  </a:lnTo>
                  <a:lnTo>
                    <a:pt x="38" y="86"/>
                  </a:lnTo>
                  <a:lnTo>
                    <a:pt x="47" y="96"/>
                  </a:lnTo>
                  <a:lnTo>
                    <a:pt x="47" y="105"/>
                  </a:lnTo>
                  <a:lnTo>
                    <a:pt x="47" y="115"/>
                  </a:lnTo>
                  <a:lnTo>
                    <a:pt x="57" y="115"/>
                  </a:lnTo>
                  <a:lnTo>
                    <a:pt x="57" y="124"/>
                  </a:lnTo>
                  <a:lnTo>
                    <a:pt x="47" y="115"/>
                  </a:lnTo>
                  <a:lnTo>
                    <a:pt x="47" y="124"/>
                  </a:lnTo>
                  <a:lnTo>
                    <a:pt x="47" y="134"/>
                  </a:lnTo>
                  <a:lnTo>
                    <a:pt x="47" y="153"/>
                  </a:lnTo>
                  <a:lnTo>
                    <a:pt x="57" y="153"/>
                  </a:lnTo>
                  <a:lnTo>
                    <a:pt x="67" y="163"/>
                  </a:lnTo>
                  <a:lnTo>
                    <a:pt x="86" y="163"/>
                  </a:lnTo>
                  <a:lnTo>
                    <a:pt x="95" y="163"/>
                  </a:lnTo>
                  <a:lnTo>
                    <a:pt x="105" y="163"/>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66" name="Freeform 244">
              <a:extLst>
                <a:ext uri="{FF2B5EF4-FFF2-40B4-BE49-F238E27FC236}">
                  <a16:creationId xmlns:a16="http://schemas.microsoft.com/office/drawing/2014/main" id="{8CF92418-3BCE-48B6-B8D8-ACCA918332C8}"/>
                </a:ext>
              </a:extLst>
            </p:cNvPr>
            <p:cNvSpPr>
              <a:spLocks/>
            </p:cNvSpPr>
            <p:nvPr/>
          </p:nvSpPr>
          <p:spPr bwMode="gray">
            <a:xfrm>
              <a:off x="2808" y="1927"/>
              <a:ext cx="48" cy="57"/>
            </a:xfrm>
            <a:custGeom>
              <a:avLst/>
              <a:gdLst>
                <a:gd name="T0" fmla="*/ 29 w 48"/>
                <a:gd name="T1" fmla="*/ 57 h 57"/>
                <a:gd name="T2" fmla="*/ 19 w 48"/>
                <a:gd name="T3" fmla="*/ 57 h 57"/>
                <a:gd name="T4" fmla="*/ 9 w 48"/>
                <a:gd name="T5" fmla="*/ 57 h 57"/>
                <a:gd name="T6" fmla="*/ 9 w 48"/>
                <a:gd name="T7" fmla="*/ 57 h 57"/>
                <a:gd name="T8" fmla="*/ 9 w 48"/>
                <a:gd name="T9" fmla="*/ 57 h 57"/>
                <a:gd name="T10" fmla="*/ 9 w 48"/>
                <a:gd name="T11" fmla="*/ 48 h 57"/>
                <a:gd name="T12" fmla="*/ 0 w 48"/>
                <a:gd name="T13" fmla="*/ 38 h 57"/>
                <a:gd name="T14" fmla="*/ 0 w 48"/>
                <a:gd name="T15" fmla="*/ 29 h 57"/>
                <a:gd name="T16" fmla="*/ 0 w 48"/>
                <a:gd name="T17" fmla="*/ 19 h 57"/>
                <a:gd name="T18" fmla="*/ 9 w 48"/>
                <a:gd name="T19" fmla="*/ 10 h 57"/>
                <a:gd name="T20" fmla="*/ 19 w 48"/>
                <a:gd name="T21" fmla="*/ 10 h 57"/>
                <a:gd name="T22" fmla="*/ 29 w 48"/>
                <a:gd name="T23" fmla="*/ 0 h 57"/>
                <a:gd name="T24" fmla="*/ 29 w 48"/>
                <a:gd name="T25" fmla="*/ 0 h 57"/>
                <a:gd name="T26" fmla="*/ 38 w 48"/>
                <a:gd name="T27" fmla="*/ 10 h 57"/>
                <a:gd name="T28" fmla="*/ 38 w 48"/>
                <a:gd name="T29" fmla="*/ 19 h 57"/>
                <a:gd name="T30" fmla="*/ 48 w 48"/>
                <a:gd name="T31" fmla="*/ 19 h 57"/>
                <a:gd name="T32" fmla="*/ 48 w 48"/>
                <a:gd name="T33" fmla="*/ 19 h 57"/>
                <a:gd name="T34" fmla="*/ 38 w 48"/>
                <a:gd name="T35" fmla="*/ 19 h 57"/>
                <a:gd name="T36" fmla="*/ 29 w 48"/>
                <a:gd name="T37" fmla="*/ 29 h 57"/>
                <a:gd name="T38" fmla="*/ 19 w 48"/>
                <a:gd name="T39" fmla="*/ 38 h 57"/>
                <a:gd name="T40" fmla="*/ 19 w 48"/>
                <a:gd name="T41" fmla="*/ 48 h 57"/>
                <a:gd name="T42" fmla="*/ 29 w 48"/>
                <a:gd name="T43" fmla="*/ 57 h 57"/>
                <a:gd name="T44" fmla="*/ 29 w 48"/>
                <a:gd name="T45" fmla="*/ 57 h 57"/>
                <a:gd name="T46" fmla="*/ 29 w 48"/>
                <a:gd name="T47" fmla="*/ 57 h 5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8"/>
                <a:gd name="T73" fmla="*/ 0 h 57"/>
                <a:gd name="T74" fmla="*/ 48 w 48"/>
                <a:gd name="T75" fmla="*/ 57 h 5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8" h="57">
                  <a:moveTo>
                    <a:pt x="29" y="57"/>
                  </a:moveTo>
                  <a:lnTo>
                    <a:pt x="19" y="57"/>
                  </a:lnTo>
                  <a:lnTo>
                    <a:pt x="9" y="57"/>
                  </a:lnTo>
                  <a:lnTo>
                    <a:pt x="9" y="48"/>
                  </a:lnTo>
                  <a:lnTo>
                    <a:pt x="0" y="38"/>
                  </a:lnTo>
                  <a:lnTo>
                    <a:pt x="0" y="29"/>
                  </a:lnTo>
                  <a:lnTo>
                    <a:pt x="0" y="19"/>
                  </a:lnTo>
                  <a:lnTo>
                    <a:pt x="9" y="10"/>
                  </a:lnTo>
                  <a:lnTo>
                    <a:pt x="19" y="10"/>
                  </a:lnTo>
                  <a:lnTo>
                    <a:pt x="29" y="0"/>
                  </a:lnTo>
                  <a:lnTo>
                    <a:pt x="38" y="10"/>
                  </a:lnTo>
                  <a:lnTo>
                    <a:pt x="38" y="19"/>
                  </a:lnTo>
                  <a:lnTo>
                    <a:pt x="48" y="19"/>
                  </a:lnTo>
                  <a:lnTo>
                    <a:pt x="38" y="19"/>
                  </a:lnTo>
                  <a:lnTo>
                    <a:pt x="29" y="29"/>
                  </a:lnTo>
                  <a:lnTo>
                    <a:pt x="19" y="38"/>
                  </a:lnTo>
                  <a:lnTo>
                    <a:pt x="19" y="48"/>
                  </a:lnTo>
                  <a:lnTo>
                    <a:pt x="29" y="5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67" name="Freeform 245">
              <a:extLst>
                <a:ext uri="{FF2B5EF4-FFF2-40B4-BE49-F238E27FC236}">
                  <a16:creationId xmlns:a16="http://schemas.microsoft.com/office/drawing/2014/main" id="{7CFB4846-3C90-4113-96EE-5D688360C366}"/>
                </a:ext>
              </a:extLst>
            </p:cNvPr>
            <p:cNvSpPr>
              <a:spLocks/>
            </p:cNvSpPr>
            <p:nvPr/>
          </p:nvSpPr>
          <p:spPr bwMode="gray">
            <a:xfrm>
              <a:off x="2741" y="2013"/>
              <a:ext cx="57" cy="57"/>
            </a:xfrm>
            <a:custGeom>
              <a:avLst/>
              <a:gdLst>
                <a:gd name="T0" fmla="*/ 38 w 57"/>
                <a:gd name="T1" fmla="*/ 38 h 57"/>
                <a:gd name="T2" fmla="*/ 38 w 57"/>
                <a:gd name="T3" fmla="*/ 38 h 57"/>
                <a:gd name="T4" fmla="*/ 57 w 57"/>
                <a:gd name="T5" fmla="*/ 29 h 57"/>
                <a:gd name="T6" fmla="*/ 57 w 57"/>
                <a:gd name="T7" fmla="*/ 19 h 57"/>
                <a:gd name="T8" fmla="*/ 48 w 57"/>
                <a:gd name="T9" fmla="*/ 10 h 57"/>
                <a:gd name="T10" fmla="*/ 57 w 57"/>
                <a:gd name="T11" fmla="*/ 10 h 57"/>
                <a:gd name="T12" fmla="*/ 48 w 57"/>
                <a:gd name="T13" fmla="*/ 0 h 57"/>
                <a:gd name="T14" fmla="*/ 38 w 57"/>
                <a:gd name="T15" fmla="*/ 0 h 57"/>
                <a:gd name="T16" fmla="*/ 29 w 57"/>
                <a:gd name="T17" fmla="*/ 10 h 57"/>
                <a:gd name="T18" fmla="*/ 29 w 57"/>
                <a:gd name="T19" fmla="*/ 10 h 57"/>
                <a:gd name="T20" fmla="*/ 38 w 57"/>
                <a:gd name="T21" fmla="*/ 19 h 57"/>
                <a:gd name="T22" fmla="*/ 38 w 57"/>
                <a:gd name="T23" fmla="*/ 19 h 57"/>
                <a:gd name="T24" fmla="*/ 29 w 57"/>
                <a:gd name="T25" fmla="*/ 29 h 57"/>
                <a:gd name="T26" fmla="*/ 29 w 57"/>
                <a:gd name="T27" fmla="*/ 19 h 57"/>
                <a:gd name="T28" fmla="*/ 29 w 57"/>
                <a:gd name="T29" fmla="*/ 19 h 57"/>
                <a:gd name="T30" fmla="*/ 29 w 57"/>
                <a:gd name="T31" fmla="*/ 10 h 57"/>
                <a:gd name="T32" fmla="*/ 19 w 57"/>
                <a:gd name="T33" fmla="*/ 19 h 57"/>
                <a:gd name="T34" fmla="*/ 19 w 57"/>
                <a:gd name="T35" fmla="*/ 29 h 57"/>
                <a:gd name="T36" fmla="*/ 10 w 57"/>
                <a:gd name="T37" fmla="*/ 29 h 57"/>
                <a:gd name="T38" fmla="*/ 10 w 57"/>
                <a:gd name="T39" fmla="*/ 38 h 57"/>
                <a:gd name="T40" fmla="*/ 10 w 57"/>
                <a:gd name="T41" fmla="*/ 38 h 57"/>
                <a:gd name="T42" fmla="*/ 10 w 57"/>
                <a:gd name="T43" fmla="*/ 48 h 57"/>
                <a:gd name="T44" fmla="*/ 0 w 57"/>
                <a:gd name="T45" fmla="*/ 48 h 57"/>
                <a:gd name="T46" fmla="*/ 0 w 57"/>
                <a:gd name="T47" fmla="*/ 48 h 57"/>
                <a:gd name="T48" fmla="*/ 0 w 57"/>
                <a:gd name="T49" fmla="*/ 48 h 57"/>
                <a:gd name="T50" fmla="*/ 10 w 57"/>
                <a:gd name="T51" fmla="*/ 48 h 57"/>
                <a:gd name="T52" fmla="*/ 19 w 57"/>
                <a:gd name="T53" fmla="*/ 48 h 57"/>
                <a:gd name="T54" fmla="*/ 19 w 57"/>
                <a:gd name="T55" fmla="*/ 48 h 57"/>
                <a:gd name="T56" fmla="*/ 29 w 57"/>
                <a:gd name="T57" fmla="*/ 48 h 57"/>
                <a:gd name="T58" fmla="*/ 29 w 57"/>
                <a:gd name="T59" fmla="*/ 48 h 57"/>
                <a:gd name="T60" fmla="*/ 38 w 57"/>
                <a:gd name="T61" fmla="*/ 57 h 57"/>
                <a:gd name="T62" fmla="*/ 38 w 57"/>
                <a:gd name="T63" fmla="*/ 57 h 57"/>
                <a:gd name="T64" fmla="*/ 38 w 57"/>
                <a:gd name="T65" fmla="*/ 48 h 57"/>
                <a:gd name="T66" fmla="*/ 38 w 57"/>
                <a:gd name="T67" fmla="*/ 38 h 57"/>
                <a:gd name="T68" fmla="*/ 38 w 57"/>
                <a:gd name="T69" fmla="*/ 38 h 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7"/>
                <a:gd name="T106" fmla="*/ 0 h 57"/>
                <a:gd name="T107" fmla="*/ 57 w 57"/>
                <a:gd name="T108" fmla="*/ 57 h 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7" h="57">
                  <a:moveTo>
                    <a:pt x="38" y="38"/>
                  </a:moveTo>
                  <a:lnTo>
                    <a:pt x="38" y="38"/>
                  </a:lnTo>
                  <a:lnTo>
                    <a:pt x="57" y="29"/>
                  </a:lnTo>
                  <a:lnTo>
                    <a:pt x="57" y="19"/>
                  </a:lnTo>
                  <a:lnTo>
                    <a:pt x="48" y="10"/>
                  </a:lnTo>
                  <a:lnTo>
                    <a:pt x="57" y="10"/>
                  </a:lnTo>
                  <a:lnTo>
                    <a:pt x="48" y="0"/>
                  </a:lnTo>
                  <a:lnTo>
                    <a:pt x="38" y="0"/>
                  </a:lnTo>
                  <a:lnTo>
                    <a:pt x="29" y="10"/>
                  </a:lnTo>
                  <a:lnTo>
                    <a:pt x="38" y="19"/>
                  </a:lnTo>
                  <a:lnTo>
                    <a:pt x="29" y="29"/>
                  </a:lnTo>
                  <a:lnTo>
                    <a:pt x="29" y="19"/>
                  </a:lnTo>
                  <a:lnTo>
                    <a:pt x="29" y="10"/>
                  </a:lnTo>
                  <a:lnTo>
                    <a:pt x="19" y="19"/>
                  </a:lnTo>
                  <a:lnTo>
                    <a:pt x="19" y="29"/>
                  </a:lnTo>
                  <a:lnTo>
                    <a:pt x="10" y="29"/>
                  </a:lnTo>
                  <a:lnTo>
                    <a:pt x="10" y="38"/>
                  </a:lnTo>
                  <a:lnTo>
                    <a:pt x="10" y="48"/>
                  </a:lnTo>
                  <a:lnTo>
                    <a:pt x="0" y="48"/>
                  </a:lnTo>
                  <a:lnTo>
                    <a:pt x="10" y="48"/>
                  </a:lnTo>
                  <a:lnTo>
                    <a:pt x="19" y="48"/>
                  </a:lnTo>
                  <a:lnTo>
                    <a:pt x="29" y="48"/>
                  </a:lnTo>
                  <a:lnTo>
                    <a:pt x="38" y="57"/>
                  </a:lnTo>
                  <a:lnTo>
                    <a:pt x="38" y="48"/>
                  </a:lnTo>
                  <a:lnTo>
                    <a:pt x="38"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68" name="Freeform 246">
              <a:extLst>
                <a:ext uri="{FF2B5EF4-FFF2-40B4-BE49-F238E27FC236}">
                  <a16:creationId xmlns:a16="http://schemas.microsoft.com/office/drawing/2014/main" id="{7FB9A3F1-5206-45E6-9C16-5EAAAF5C9F06}"/>
                </a:ext>
              </a:extLst>
            </p:cNvPr>
            <p:cNvSpPr>
              <a:spLocks/>
            </p:cNvSpPr>
            <p:nvPr/>
          </p:nvSpPr>
          <p:spPr bwMode="gray">
            <a:xfrm>
              <a:off x="2741" y="2013"/>
              <a:ext cx="57" cy="57"/>
            </a:xfrm>
            <a:custGeom>
              <a:avLst/>
              <a:gdLst>
                <a:gd name="T0" fmla="*/ 38 w 57"/>
                <a:gd name="T1" fmla="*/ 38 h 57"/>
                <a:gd name="T2" fmla="*/ 38 w 57"/>
                <a:gd name="T3" fmla="*/ 38 h 57"/>
                <a:gd name="T4" fmla="*/ 57 w 57"/>
                <a:gd name="T5" fmla="*/ 29 h 57"/>
                <a:gd name="T6" fmla="*/ 57 w 57"/>
                <a:gd name="T7" fmla="*/ 19 h 57"/>
                <a:gd name="T8" fmla="*/ 48 w 57"/>
                <a:gd name="T9" fmla="*/ 10 h 57"/>
                <a:gd name="T10" fmla="*/ 57 w 57"/>
                <a:gd name="T11" fmla="*/ 10 h 57"/>
                <a:gd name="T12" fmla="*/ 48 w 57"/>
                <a:gd name="T13" fmla="*/ 0 h 57"/>
                <a:gd name="T14" fmla="*/ 38 w 57"/>
                <a:gd name="T15" fmla="*/ 0 h 57"/>
                <a:gd name="T16" fmla="*/ 29 w 57"/>
                <a:gd name="T17" fmla="*/ 10 h 57"/>
                <a:gd name="T18" fmla="*/ 29 w 57"/>
                <a:gd name="T19" fmla="*/ 10 h 57"/>
                <a:gd name="T20" fmla="*/ 38 w 57"/>
                <a:gd name="T21" fmla="*/ 19 h 57"/>
                <a:gd name="T22" fmla="*/ 38 w 57"/>
                <a:gd name="T23" fmla="*/ 19 h 57"/>
                <a:gd name="T24" fmla="*/ 29 w 57"/>
                <a:gd name="T25" fmla="*/ 29 h 57"/>
                <a:gd name="T26" fmla="*/ 29 w 57"/>
                <a:gd name="T27" fmla="*/ 19 h 57"/>
                <a:gd name="T28" fmla="*/ 29 w 57"/>
                <a:gd name="T29" fmla="*/ 19 h 57"/>
                <a:gd name="T30" fmla="*/ 29 w 57"/>
                <a:gd name="T31" fmla="*/ 10 h 57"/>
                <a:gd name="T32" fmla="*/ 19 w 57"/>
                <a:gd name="T33" fmla="*/ 19 h 57"/>
                <a:gd name="T34" fmla="*/ 19 w 57"/>
                <a:gd name="T35" fmla="*/ 29 h 57"/>
                <a:gd name="T36" fmla="*/ 10 w 57"/>
                <a:gd name="T37" fmla="*/ 29 h 57"/>
                <a:gd name="T38" fmla="*/ 10 w 57"/>
                <a:gd name="T39" fmla="*/ 38 h 57"/>
                <a:gd name="T40" fmla="*/ 10 w 57"/>
                <a:gd name="T41" fmla="*/ 38 h 57"/>
                <a:gd name="T42" fmla="*/ 10 w 57"/>
                <a:gd name="T43" fmla="*/ 48 h 57"/>
                <a:gd name="T44" fmla="*/ 0 w 57"/>
                <a:gd name="T45" fmla="*/ 48 h 57"/>
                <a:gd name="T46" fmla="*/ 0 w 57"/>
                <a:gd name="T47" fmla="*/ 48 h 57"/>
                <a:gd name="T48" fmla="*/ 0 w 57"/>
                <a:gd name="T49" fmla="*/ 48 h 57"/>
                <a:gd name="T50" fmla="*/ 10 w 57"/>
                <a:gd name="T51" fmla="*/ 48 h 57"/>
                <a:gd name="T52" fmla="*/ 19 w 57"/>
                <a:gd name="T53" fmla="*/ 48 h 57"/>
                <a:gd name="T54" fmla="*/ 19 w 57"/>
                <a:gd name="T55" fmla="*/ 48 h 57"/>
                <a:gd name="T56" fmla="*/ 29 w 57"/>
                <a:gd name="T57" fmla="*/ 48 h 57"/>
                <a:gd name="T58" fmla="*/ 29 w 57"/>
                <a:gd name="T59" fmla="*/ 48 h 57"/>
                <a:gd name="T60" fmla="*/ 38 w 57"/>
                <a:gd name="T61" fmla="*/ 57 h 57"/>
                <a:gd name="T62" fmla="*/ 38 w 57"/>
                <a:gd name="T63" fmla="*/ 57 h 57"/>
                <a:gd name="T64" fmla="*/ 38 w 57"/>
                <a:gd name="T65" fmla="*/ 48 h 57"/>
                <a:gd name="T66" fmla="*/ 38 w 57"/>
                <a:gd name="T67" fmla="*/ 38 h 57"/>
                <a:gd name="T68" fmla="*/ 38 w 57"/>
                <a:gd name="T69" fmla="*/ 38 h 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7"/>
                <a:gd name="T106" fmla="*/ 0 h 57"/>
                <a:gd name="T107" fmla="*/ 57 w 57"/>
                <a:gd name="T108" fmla="*/ 57 h 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7" h="57">
                  <a:moveTo>
                    <a:pt x="38" y="38"/>
                  </a:moveTo>
                  <a:lnTo>
                    <a:pt x="38" y="38"/>
                  </a:lnTo>
                  <a:lnTo>
                    <a:pt x="57" y="29"/>
                  </a:lnTo>
                  <a:lnTo>
                    <a:pt x="57" y="19"/>
                  </a:lnTo>
                  <a:lnTo>
                    <a:pt x="48" y="10"/>
                  </a:lnTo>
                  <a:lnTo>
                    <a:pt x="57" y="10"/>
                  </a:lnTo>
                  <a:lnTo>
                    <a:pt x="48" y="0"/>
                  </a:lnTo>
                  <a:lnTo>
                    <a:pt x="38" y="0"/>
                  </a:lnTo>
                  <a:lnTo>
                    <a:pt x="29" y="10"/>
                  </a:lnTo>
                  <a:lnTo>
                    <a:pt x="38" y="19"/>
                  </a:lnTo>
                  <a:lnTo>
                    <a:pt x="29" y="29"/>
                  </a:lnTo>
                  <a:lnTo>
                    <a:pt x="29" y="19"/>
                  </a:lnTo>
                  <a:lnTo>
                    <a:pt x="29" y="10"/>
                  </a:lnTo>
                  <a:lnTo>
                    <a:pt x="19" y="19"/>
                  </a:lnTo>
                  <a:lnTo>
                    <a:pt x="19" y="29"/>
                  </a:lnTo>
                  <a:lnTo>
                    <a:pt x="10" y="29"/>
                  </a:lnTo>
                  <a:lnTo>
                    <a:pt x="10" y="38"/>
                  </a:lnTo>
                  <a:lnTo>
                    <a:pt x="10" y="48"/>
                  </a:lnTo>
                  <a:lnTo>
                    <a:pt x="0" y="48"/>
                  </a:lnTo>
                  <a:lnTo>
                    <a:pt x="10" y="48"/>
                  </a:lnTo>
                  <a:lnTo>
                    <a:pt x="19" y="48"/>
                  </a:lnTo>
                  <a:lnTo>
                    <a:pt x="29" y="48"/>
                  </a:lnTo>
                  <a:lnTo>
                    <a:pt x="38" y="57"/>
                  </a:lnTo>
                  <a:lnTo>
                    <a:pt x="38" y="48"/>
                  </a:lnTo>
                  <a:lnTo>
                    <a:pt x="38"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69" name="Freeform 247">
              <a:extLst>
                <a:ext uri="{FF2B5EF4-FFF2-40B4-BE49-F238E27FC236}">
                  <a16:creationId xmlns:a16="http://schemas.microsoft.com/office/drawing/2014/main" id="{8D6BB651-D9D9-4CF3-A26C-CB12CA59373D}"/>
                </a:ext>
              </a:extLst>
            </p:cNvPr>
            <p:cNvSpPr>
              <a:spLocks/>
            </p:cNvSpPr>
            <p:nvPr/>
          </p:nvSpPr>
          <p:spPr bwMode="gray">
            <a:xfrm>
              <a:off x="2779" y="2080"/>
              <a:ext cx="10" cy="19"/>
            </a:xfrm>
            <a:custGeom>
              <a:avLst/>
              <a:gdLst>
                <a:gd name="T0" fmla="*/ 10 w 10"/>
                <a:gd name="T1" fmla="*/ 19 h 19"/>
                <a:gd name="T2" fmla="*/ 10 w 10"/>
                <a:gd name="T3" fmla="*/ 9 h 19"/>
                <a:gd name="T4" fmla="*/ 0 w 10"/>
                <a:gd name="T5" fmla="*/ 0 h 19"/>
                <a:gd name="T6" fmla="*/ 0 w 10"/>
                <a:gd name="T7" fmla="*/ 9 h 19"/>
                <a:gd name="T8" fmla="*/ 0 w 10"/>
                <a:gd name="T9" fmla="*/ 9 h 19"/>
                <a:gd name="T10" fmla="*/ 0 w 10"/>
                <a:gd name="T11" fmla="*/ 19 h 19"/>
                <a:gd name="T12" fmla="*/ 10 w 10"/>
                <a:gd name="T13" fmla="*/ 19 h 19"/>
                <a:gd name="T14" fmla="*/ 0 60000 65536"/>
                <a:gd name="T15" fmla="*/ 0 60000 65536"/>
                <a:gd name="T16" fmla="*/ 0 60000 65536"/>
                <a:gd name="T17" fmla="*/ 0 60000 65536"/>
                <a:gd name="T18" fmla="*/ 0 60000 65536"/>
                <a:gd name="T19" fmla="*/ 0 60000 65536"/>
                <a:gd name="T20" fmla="*/ 0 60000 65536"/>
                <a:gd name="T21" fmla="*/ 0 w 10"/>
                <a:gd name="T22" fmla="*/ 0 h 19"/>
                <a:gd name="T23" fmla="*/ 10 w 1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9">
                  <a:moveTo>
                    <a:pt x="10" y="19"/>
                  </a:moveTo>
                  <a:lnTo>
                    <a:pt x="10" y="9"/>
                  </a:lnTo>
                  <a:lnTo>
                    <a:pt x="0" y="0"/>
                  </a:lnTo>
                  <a:lnTo>
                    <a:pt x="0" y="9"/>
                  </a:lnTo>
                  <a:lnTo>
                    <a:pt x="0" y="19"/>
                  </a:lnTo>
                  <a:lnTo>
                    <a:pt x="10"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70" name="Freeform 248">
              <a:extLst>
                <a:ext uri="{FF2B5EF4-FFF2-40B4-BE49-F238E27FC236}">
                  <a16:creationId xmlns:a16="http://schemas.microsoft.com/office/drawing/2014/main" id="{58DA6511-0405-4618-92BD-DA454F0F4A80}"/>
                </a:ext>
              </a:extLst>
            </p:cNvPr>
            <p:cNvSpPr>
              <a:spLocks/>
            </p:cNvSpPr>
            <p:nvPr/>
          </p:nvSpPr>
          <p:spPr bwMode="gray">
            <a:xfrm>
              <a:off x="2779" y="2080"/>
              <a:ext cx="10" cy="19"/>
            </a:xfrm>
            <a:custGeom>
              <a:avLst/>
              <a:gdLst>
                <a:gd name="T0" fmla="*/ 10 w 10"/>
                <a:gd name="T1" fmla="*/ 19 h 19"/>
                <a:gd name="T2" fmla="*/ 10 w 10"/>
                <a:gd name="T3" fmla="*/ 9 h 19"/>
                <a:gd name="T4" fmla="*/ 0 w 10"/>
                <a:gd name="T5" fmla="*/ 0 h 19"/>
                <a:gd name="T6" fmla="*/ 0 w 10"/>
                <a:gd name="T7" fmla="*/ 9 h 19"/>
                <a:gd name="T8" fmla="*/ 0 w 10"/>
                <a:gd name="T9" fmla="*/ 9 h 19"/>
                <a:gd name="T10" fmla="*/ 0 w 10"/>
                <a:gd name="T11" fmla="*/ 19 h 19"/>
                <a:gd name="T12" fmla="*/ 10 w 10"/>
                <a:gd name="T13" fmla="*/ 19 h 19"/>
                <a:gd name="T14" fmla="*/ 0 60000 65536"/>
                <a:gd name="T15" fmla="*/ 0 60000 65536"/>
                <a:gd name="T16" fmla="*/ 0 60000 65536"/>
                <a:gd name="T17" fmla="*/ 0 60000 65536"/>
                <a:gd name="T18" fmla="*/ 0 60000 65536"/>
                <a:gd name="T19" fmla="*/ 0 60000 65536"/>
                <a:gd name="T20" fmla="*/ 0 60000 65536"/>
                <a:gd name="T21" fmla="*/ 0 w 10"/>
                <a:gd name="T22" fmla="*/ 0 h 19"/>
                <a:gd name="T23" fmla="*/ 10 w 1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9">
                  <a:moveTo>
                    <a:pt x="10" y="19"/>
                  </a:moveTo>
                  <a:lnTo>
                    <a:pt x="10" y="9"/>
                  </a:lnTo>
                  <a:lnTo>
                    <a:pt x="0" y="0"/>
                  </a:lnTo>
                  <a:lnTo>
                    <a:pt x="0" y="9"/>
                  </a:lnTo>
                  <a:lnTo>
                    <a:pt x="0" y="19"/>
                  </a:lnTo>
                  <a:lnTo>
                    <a:pt x="10"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71" name="Freeform 249">
              <a:extLst>
                <a:ext uri="{FF2B5EF4-FFF2-40B4-BE49-F238E27FC236}">
                  <a16:creationId xmlns:a16="http://schemas.microsoft.com/office/drawing/2014/main" id="{5D5BCF65-4EF5-46A7-8463-2E1B0CF42C98}"/>
                </a:ext>
              </a:extLst>
            </p:cNvPr>
            <p:cNvSpPr>
              <a:spLocks/>
            </p:cNvSpPr>
            <p:nvPr/>
          </p:nvSpPr>
          <p:spPr bwMode="gray">
            <a:xfrm>
              <a:off x="2732" y="2061"/>
              <a:ext cx="47" cy="38"/>
            </a:xfrm>
            <a:custGeom>
              <a:avLst/>
              <a:gdLst>
                <a:gd name="T0" fmla="*/ 47 w 47"/>
                <a:gd name="T1" fmla="*/ 19 h 38"/>
                <a:gd name="T2" fmla="*/ 47 w 47"/>
                <a:gd name="T3" fmla="*/ 28 h 38"/>
                <a:gd name="T4" fmla="*/ 47 w 47"/>
                <a:gd name="T5" fmla="*/ 28 h 38"/>
                <a:gd name="T6" fmla="*/ 47 w 47"/>
                <a:gd name="T7" fmla="*/ 38 h 38"/>
                <a:gd name="T8" fmla="*/ 38 w 47"/>
                <a:gd name="T9" fmla="*/ 28 h 38"/>
                <a:gd name="T10" fmla="*/ 28 w 47"/>
                <a:gd name="T11" fmla="*/ 28 h 38"/>
                <a:gd name="T12" fmla="*/ 19 w 47"/>
                <a:gd name="T13" fmla="*/ 28 h 38"/>
                <a:gd name="T14" fmla="*/ 9 w 47"/>
                <a:gd name="T15" fmla="*/ 19 h 38"/>
                <a:gd name="T16" fmla="*/ 0 w 47"/>
                <a:gd name="T17" fmla="*/ 9 h 38"/>
                <a:gd name="T18" fmla="*/ 0 w 47"/>
                <a:gd name="T19" fmla="*/ 0 h 38"/>
                <a:gd name="T20" fmla="*/ 0 w 47"/>
                <a:gd name="T21" fmla="*/ 0 h 38"/>
                <a:gd name="T22" fmla="*/ 9 w 47"/>
                <a:gd name="T23" fmla="*/ 0 h 38"/>
                <a:gd name="T24" fmla="*/ 19 w 47"/>
                <a:gd name="T25" fmla="*/ 0 h 38"/>
                <a:gd name="T26" fmla="*/ 28 w 47"/>
                <a:gd name="T27" fmla="*/ 0 h 38"/>
                <a:gd name="T28" fmla="*/ 28 w 47"/>
                <a:gd name="T29" fmla="*/ 0 h 38"/>
                <a:gd name="T30" fmla="*/ 38 w 47"/>
                <a:gd name="T31" fmla="*/ 0 h 38"/>
                <a:gd name="T32" fmla="*/ 38 w 47"/>
                <a:gd name="T33" fmla="*/ 9 h 38"/>
                <a:gd name="T34" fmla="*/ 47 w 47"/>
                <a:gd name="T35" fmla="*/ 9 h 38"/>
                <a:gd name="T36" fmla="*/ 47 w 47"/>
                <a:gd name="T37" fmla="*/ 9 h 38"/>
                <a:gd name="T38" fmla="*/ 47 w 47"/>
                <a:gd name="T39" fmla="*/ 9 h 38"/>
                <a:gd name="T40" fmla="*/ 47 w 47"/>
                <a:gd name="T41" fmla="*/ 19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7"/>
                <a:gd name="T64" fmla="*/ 0 h 38"/>
                <a:gd name="T65" fmla="*/ 47 w 47"/>
                <a:gd name="T66" fmla="*/ 38 h 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7" h="38">
                  <a:moveTo>
                    <a:pt x="47" y="19"/>
                  </a:moveTo>
                  <a:lnTo>
                    <a:pt x="47" y="28"/>
                  </a:lnTo>
                  <a:lnTo>
                    <a:pt x="47" y="38"/>
                  </a:lnTo>
                  <a:lnTo>
                    <a:pt x="38" y="28"/>
                  </a:lnTo>
                  <a:lnTo>
                    <a:pt x="28" y="28"/>
                  </a:lnTo>
                  <a:lnTo>
                    <a:pt x="19" y="28"/>
                  </a:lnTo>
                  <a:lnTo>
                    <a:pt x="9" y="19"/>
                  </a:lnTo>
                  <a:lnTo>
                    <a:pt x="0" y="9"/>
                  </a:lnTo>
                  <a:lnTo>
                    <a:pt x="0" y="0"/>
                  </a:lnTo>
                  <a:lnTo>
                    <a:pt x="9" y="0"/>
                  </a:lnTo>
                  <a:lnTo>
                    <a:pt x="19" y="0"/>
                  </a:lnTo>
                  <a:lnTo>
                    <a:pt x="28" y="0"/>
                  </a:lnTo>
                  <a:lnTo>
                    <a:pt x="38" y="0"/>
                  </a:lnTo>
                  <a:lnTo>
                    <a:pt x="38" y="9"/>
                  </a:lnTo>
                  <a:lnTo>
                    <a:pt x="47" y="9"/>
                  </a:lnTo>
                  <a:lnTo>
                    <a:pt x="47"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72" name="Freeform 251">
              <a:extLst>
                <a:ext uri="{FF2B5EF4-FFF2-40B4-BE49-F238E27FC236}">
                  <a16:creationId xmlns:a16="http://schemas.microsoft.com/office/drawing/2014/main" id="{5AF95DFF-4407-4C84-A476-0D6125AF6B56}"/>
                </a:ext>
              </a:extLst>
            </p:cNvPr>
            <p:cNvSpPr>
              <a:spLocks/>
            </p:cNvSpPr>
            <p:nvPr/>
          </p:nvSpPr>
          <p:spPr bwMode="gray">
            <a:xfrm>
              <a:off x="2894" y="2147"/>
              <a:ext cx="38" cy="28"/>
            </a:xfrm>
            <a:custGeom>
              <a:avLst/>
              <a:gdLst>
                <a:gd name="T0" fmla="*/ 38 w 38"/>
                <a:gd name="T1" fmla="*/ 0 h 28"/>
                <a:gd name="T2" fmla="*/ 38 w 38"/>
                <a:gd name="T3" fmla="*/ 9 h 28"/>
                <a:gd name="T4" fmla="*/ 38 w 38"/>
                <a:gd name="T5" fmla="*/ 9 h 28"/>
                <a:gd name="T6" fmla="*/ 38 w 38"/>
                <a:gd name="T7" fmla="*/ 19 h 28"/>
                <a:gd name="T8" fmla="*/ 28 w 38"/>
                <a:gd name="T9" fmla="*/ 28 h 28"/>
                <a:gd name="T10" fmla="*/ 0 w 38"/>
                <a:gd name="T11" fmla="*/ 28 h 28"/>
                <a:gd name="T12" fmla="*/ 0 w 38"/>
                <a:gd name="T13" fmla="*/ 19 h 28"/>
                <a:gd name="T14" fmla="*/ 0 w 38"/>
                <a:gd name="T15" fmla="*/ 19 h 28"/>
                <a:gd name="T16" fmla="*/ 0 w 38"/>
                <a:gd name="T17" fmla="*/ 9 h 28"/>
                <a:gd name="T18" fmla="*/ 9 w 38"/>
                <a:gd name="T19" fmla="*/ 19 h 28"/>
                <a:gd name="T20" fmla="*/ 28 w 38"/>
                <a:gd name="T21" fmla="*/ 9 h 28"/>
                <a:gd name="T22" fmla="*/ 38 w 38"/>
                <a:gd name="T23" fmla="*/ 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28"/>
                <a:gd name="T38" fmla="*/ 38 w 38"/>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28">
                  <a:moveTo>
                    <a:pt x="38" y="0"/>
                  </a:moveTo>
                  <a:lnTo>
                    <a:pt x="38" y="9"/>
                  </a:lnTo>
                  <a:lnTo>
                    <a:pt x="38" y="19"/>
                  </a:lnTo>
                  <a:lnTo>
                    <a:pt x="28" y="28"/>
                  </a:lnTo>
                  <a:lnTo>
                    <a:pt x="0" y="28"/>
                  </a:lnTo>
                  <a:lnTo>
                    <a:pt x="0" y="19"/>
                  </a:lnTo>
                  <a:lnTo>
                    <a:pt x="0" y="9"/>
                  </a:lnTo>
                  <a:lnTo>
                    <a:pt x="9" y="19"/>
                  </a:lnTo>
                  <a:lnTo>
                    <a:pt x="28" y="9"/>
                  </a:lnTo>
                  <a:lnTo>
                    <a:pt x="38"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73" name="Freeform 252">
              <a:extLst>
                <a:ext uri="{FF2B5EF4-FFF2-40B4-BE49-F238E27FC236}">
                  <a16:creationId xmlns:a16="http://schemas.microsoft.com/office/drawing/2014/main" id="{E06240B7-C5A6-4748-98D9-2BEEB961043C}"/>
                </a:ext>
              </a:extLst>
            </p:cNvPr>
            <p:cNvSpPr>
              <a:spLocks/>
            </p:cNvSpPr>
            <p:nvPr/>
          </p:nvSpPr>
          <p:spPr bwMode="gray">
            <a:xfrm>
              <a:off x="2894" y="2147"/>
              <a:ext cx="38" cy="28"/>
            </a:xfrm>
            <a:custGeom>
              <a:avLst/>
              <a:gdLst>
                <a:gd name="T0" fmla="*/ 38 w 38"/>
                <a:gd name="T1" fmla="*/ 0 h 28"/>
                <a:gd name="T2" fmla="*/ 38 w 38"/>
                <a:gd name="T3" fmla="*/ 9 h 28"/>
                <a:gd name="T4" fmla="*/ 38 w 38"/>
                <a:gd name="T5" fmla="*/ 9 h 28"/>
                <a:gd name="T6" fmla="*/ 38 w 38"/>
                <a:gd name="T7" fmla="*/ 19 h 28"/>
                <a:gd name="T8" fmla="*/ 28 w 38"/>
                <a:gd name="T9" fmla="*/ 28 h 28"/>
                <a:gd name="T10" fmla="*/ 0 w 38"/>
                <a:gd name="T11" fmla="*/ 28 h 28"/>
                <a:gd name="T12" fmla="*/ 0 w 38"/>
                <a:gd name="T13" fmla="*/ 19 h 28"/>
                <a:gd name="T14" fmla="*/ 0 w 38"/>
                <a:gd name="T15" fmla="*/ 19 h 28"/>
                <a:gd name="T16" fmla="*/ 0 w 38"/>
                <a:gd name="T17" fmla="*/ 9 h 28"/>
                <a:gd name="T18" fmla="*/ 9 w 38"/>
                <a:gd name="T19" fmla="*/ 19 h 28"/>
                <a:gd name="T20" fmla="*/ 28 w 38"/>
                <a:gd name="T21" fmla="*/ 9 h 28"/>
                <a:gd name="T22" fmla="*/ 38 w 38"/>
                <a:gd name="T23" fmla="*/ 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28"/>
                <a:gd name="T38" fmla="*/ 38 w 38"/>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28">
                  <a:moveTo>
                    <a:pt x="38" y="0"/>
                  </a:moveTo>
                  <a:lnTo>
                    <a:pt x="38" y="9"/>
                  </a:lnTo>
                  <a:lnTo>
                    <a:pt x="38" y="19"/>
                  </a:lnTo>
                  <a:lnTo>
                    <a:pt x="28" y="28"/>
                  </a:lnTo>
                  <a:lnTo>
                    <a:pt x="0" y="28"/>
                  </a:lnTo>
                  <a:lnTo>
                    <a:pt x="0" y="19"/>
                  </a:lnTo>
                  <a:lnTo>
                    <a:pt x="0" y="9"/>
                  </a:lnTo>
                  <a:lnTo>
                    <a:pt x="9" y="19"/>
                  </a:lnTo>
                  <a:lnTo>
                    <a:pt x="28" y="9"/>
                  </a:lnTo>
                  <a:lnTo>
                    <a:pt x="38"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74" name="Freeform 253">
              <a:extLst>
                <a:ext uri="{FF2B5EF4-FFF2-40B4-BE49-F238E27FC236}">
                  <a16:creationId xmlns:a16="http://schemas.microsoft.com/office/drawing/2014/main" id="{A8B37B03-30ED-4C57-BFE7-FA3ABFB5629E}"/>
                </a:ext>
              </a:extLst>
            </p:cNvPr>
            <p:cNvSpPr>
              <a:spLocks/>
            </p:cNvSpPr>
            <p:nvPr/>
          </p:nvSpPr>
          <p:spPr bwMode="gray">
            <a:xfrm>
              <a:off x="2894" y="2156"/>
              <a:ext cx="76" cy="77"/>
            </a:xfrm>
            <a:custGeom>
              <a:avLst/>
              <a:gdLst>
                <a:gd name="T0" fmla="*/ 66 w 76"/>
                <a:gd name="T1" fmla="*/ 77 h 77"/>
                <a:gd name="T2" fmla="*/ 57 w 76"/>
                <a:gd name="T3" fmla="*/ 77 h 77"/>
                <a:gd name="T4" fmla="*/ 57 w 76"/>
                <a:gd name="T5" fmla="*/ 67 h 77"/>
                <a:gd name="T6" fmla="*/ 38 w 76"/>
                <a:gd name="T7" fmla="*/ 67 h 77"/>
                <a:gd name="T8" fmla="*/ 28 w 76"/>
                <a:gd name="T9" fmla="*/ 57 h 77"/>
                <a:gd name="T10" fmla="*/ 19 w 76"/>
                <a:gd name="T11" fmla="*/ 48 h 77"/>
                <a:gd name="T12" fmla="*/ 19 w 76"/>
                <a:gd name="T13" fmla="*/ 38 h 77"/>
                <a:gd name="T14" fmla="*/ 19 w 76"/>
                <a:gd name="T15" fmla="*/ 38 h 77"/>
                <a:gd name="T16" fmla="*/ 9 w 76"/>
                <a:gd name="T17" fmla="*/ 29 h 77"/>
                <a:gd name="T18" fmla="*/ 9 w 76"/>
                <a:gd name="T19" fmla="*/ 29 h 77"/>
                <a:gd name="T20" fmla="*/ 0 w 76"/>
                <a:gd name="T21" fmla="*/ 38 h 77"/>
                <a:gd name="T22" fmla="*/ 0 w 76"/>
                <a:gd name="T23" fmla="*/ 29 h 77"/>
                <a:gd name="T24" fmla="*/ 0 w 76"/>
                <a:gd name="T25" fmla="*/ 19 h 77"/>
                <a:gd name="T26" fmla="*/ 0 w 76"/>
                <a:gd name="T27" fmla="*/ 19 h 77"/>
                <a:gd name="T28" fmla="*/ 28 w 76"/>
                <a:gd name="T29" fmla="*/ 19 h 77"/>
                <a:gd name="T30" fmla="*/ 28 w 76"/>
                <a:gd name="T31" fmla="*/ 10 h 77"/>
                <a:gd name="T32" fmla="*/ 38 w 76"/>
                <a:gd name="T33" fmla="*/ 0 h 77"/>
                <a:gd name="T34" fmla="*/ 38 w 76"/>
                <a:gd name="T35" fmla="*/ 0 h 77"/>
                <a:gd name="T36" fmla="*/ 47 w 76"/>
                <a:gd name="T37" fmla="*/ 0 h 77"/>
                <a:gd name="T38" fmla="*/ 57 w 76"/>
                <a:gd name="T39" fmla="*/ 10 h 77"/>
                <a:gd name="T40" fmla="*/ 76 w 76"/>
                <a:gd name="T41" fmla="*/ 19 h 77"/>
                <a:gd name="T42" fmla="*/ 76 w 76"/>
                <a:gd name="T43" fmla="*/ 29 h 77"/>
                <a:gd name="T44" fmla="*/ 57 w 76"/>
                <a:gd name="T45" fmla="*/ 29 h 77"/>
                <a:gd name="T46" fmla="*/ 47 w 76"/>
                <a:gd name="T47" fmla="*/ 29 h 77"/>
                <a:gd name="T48" fmla="*/ 47 w 76"/>
                <a:gd name="T49" fmla="*/ 29 h 77"/>
                <a:gd name="T50" fmla="*/ 38 w 76"/>
                <a:gd name="T51" fmla="*/ 29 h 77"/>
                <a:gd name="T52" fmla="*/ 38 w 76"/>
                <a:gd name="T53" fmla="*/ 29 h 77"/>
                <a:gd name="T54" fmla="*/ 28 w 76"/>
                <a:gd name="T55" fmla="*/ 38 h 77"/>
                <a:gd name="T56" fmla="*/ 38 w 76"/>
                <a:gd name="T57" fmla="*/ 48 h 77"/>
                <a:gd name="T58" fmla="*/ 47 w 76"/>
                <a:gd name="T59" fmla="*/ 57 h 77"/>
                <a:gd name="T60" fmla="*/ 57 w 76"/>
                <a:gd name="T61" fmla="*/ 67 h 77"/>
                <a:gd name="T62" fmla="*/ 57 w 76"/>
                <a:gd name="T63" fmla="*/ 77 h 77"/>
                <a:gd name="T64" fmla="*/ 66 w 76"/>
                <a:gd name="T65" fmla="*/ 77 h 77"/>
                <a:gd name="T66" fmla="*/ 66 w 76"/>
                <a:gd name="T67" fmla="*/ 77 h 7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6"/>
                <a:gd name="T103" fmla="*/ 0 h 77"/>
                <a:gd name="T104" fmla="*/ 76 w 76"/>
                <a:gd name="T105" fmla="*/ 77 h 7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6" h="77">
                  <a:moveTo>
                    <a:pt x="66" y="77"/>
                  </a:moveTo>
                  <a:lnTo>
                    <a:pt x="57" y="77"/>
                  </a:lnTo>
                  <a:lnTo>
                    <a:pt x="57" y="67"/>
                  </a:lnTo>
                  <a:lnTo>
                    <a:pt x="38" y="67"/>
                  </a:lnTo>
                  <a:lnTo>
                    <a:pt x="28" y="57"/>
                  </a:lnTo>
                  <a:lnTo>
                    <a:pt x="19" y="48"/>
                  </a:lnTo>
                  <a:lnTo>
                    <a:pt x="19" y="38"/>
                  </a:lnTo>
                  <a:lnTo>
                    <a:pt x="9" y="29"/>
                  </a:lnTo>
                  <a:lnTo>
                    <a:pt x="0" y="38"/>
                  </a:lnTo>
                  <a:lnTo>
                    <a:pt x="0" y="29"/>
                  </a:lnTo>
                  <a:lnTo>
                    <a:pt x="0" y="19"/>
                  </a:lnTo>
                  <a:lnTo>
                    <a:pt x="28" y="19"/>
                  </a:lnTo>
                  <a:lnTo>
                    <a:pt x="28" y="10"/>
                  </a:lnTo>
                  <a:lnTo>
                    <a:pt x="38" y="0"/>
                  </a:lnTo>
                  <a:lnTo>
                    <a:pt x="47" y="0"/>
                  </a:lnTo>
                  <a:lnTo>
                    <a:pt x="57" y="10"/>
                  </a:lnTo>
                  <a:lnTo>
                    <a:pt x="76" y="19"/>
                  </a:lnTo>
                  <a:lnTo>
                    <a:pt x="76" y="29"/>
                  </a:lnTo>
                  <a:lnTo>
                    <a:pt x="57" y="29"/>
                  </a:lnTo>
                  <a:lnTo>
                    <a:pt x="47" y="29"/>
                  </a:lnTo>
                  <a:lnTo>
                    <a:pt x="38" y="29"/>
                  </a:lnTo>
                  <a:lnTo>
                    <a:pt x="28" y="38"/>
                  </a:lnTo>
                  <a:lnTo>
                    <a:pt x="38" y="48"/>
                  </a:lnTo>
                  <a:lnTo>
                    <a:pt x="47" y="57"/>
                  </a:lnTo>
                  <a:lnTo>
                    <a:pt x="57" y="67"/>
                  </a:lnTo>
                  <a:lnTo>
                    <a:pt x="57" y="77"/>
                  </a:lnTo>
                  <a:lnTo>
                    <a:pt x="66" y="7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75" name="Freeform 254">
              <a:extLst>
                <a:ext uri="{FF2B5EF4-FFF2-40B4-BE49-F238E27FC236}">
                  <a16:creationId xmlns:a16="http://schemas.microsoft.com/office/drawing/2014/main" id="{514F697B-4488-4FC6-8509-79BB35EC35FD}"/>
                </a:ext>
              </a:extLst>
            </p:cNvPr>
            <p:cNvSpPr>
              <a:spLocks/>
            </p:cNvSpPr>
            <p:nvPr/>
          </p:nvSpPr>
          <p:spPr bwMode="gray">
            <a:xfrm>
              <a:off x="2894" y="2156"/>
              <a:ext cx="76" cy="77"/>
            </a:xfrm>
            <a:custGeom>
              <a:avLst/>
              <a:gdLst>
                <a:gd name="T0" fmla="*/ 66 w 76"/>
                <a:gd name="T1" fmla="*/ 77 h 77"/>
                <a:gd name="T2" fmla="*/ 57 w 76"/>
                <a:gd name="T3" fmla="*/ 77 h 77"/>
                <a:gd name="T4" fmla="*/ 57 w 76"/>
                <a:gd name="T5" fmla="*/ 67 h 77"/>
                <a:gd name="T6" fmla="*/ 38 w 76"/>
                <a:gd name="T7" fmla="*/ 67 h 77"/>
                <a:gd name="T8" fmla="*/ 28 w 76"/>
                <a:gd name="T9" fmla="*/ 57 h 77"/>
                <a:gd name="T10" fmla="*/ 19 w 76"/>
                <a:gd name="T11" fmla="*/ 48 h 77"/>
                <a:gd name="T12" fmla="*/ 19 w 76"/>
                <a:gd name="T13" fmla="*/ 38 h 77"/>
                <a:gd name="T14" fmla="*/ 19 w 76"/>
                <a:gd name="T15" fmla="*/ 38 h 77"/>
                <a:gd name="T16" fmla="*/ 9 w 76"/>
                <a:gd name="T17" fmla="*/ 29 h 77"/>
                <a:gd name="T18" fmla="*/ 9 w 76"/>
                <a:gd name="T19" fmla="*/ 29 h 77"/>
                <a:gd name="T20" fmla="*/ 0 w 76"/>
                <a:gd name="T21" fmla="*/ 38 h 77"/>
                <a:gd name="T22" fmla="*/ 0 w 76"/>
                <a:gd name="T23" fmla="*/ 29 h 77"/>
                <a:gd name="T24" fmla="*/ 0 w 76"/>
                <a:gd name="T25" fmla="*/ 19 h 77"/>
                <a:gd name="T26" fmla="*/ 0 w 76"/>
                <a:gd name="T27" fmla="*/ 19 h 77"/>
                <a:gd name="T28" fmla="*/ 28 w 76"/>
                <a:gd name="T29" fmla="*/ 19 h 77"/>
                <a:gd name="T30" fmla="*/ 28 w 76"/>
                <a:gd name="T31" fmla="*/ 10 h 77"/>
                <a:gd name="T32" fmla="*/ 38 w 76"/>
                <a:gd name="T33" fmla="*/ 0 h 77"/>
                <a:gd name="T34" fmla="*/ 38 w 76"/>
                <a:gd name="T35" fmla="*/ 0 h 77"/>
                <a:gd name="T36" fmla="*/ 47 w 76"/>
                <a:gd name="T37" fmla="*/ 0 h 77"/>
                <a:gd name="T38" fmla="*/ 57 w 76"/>
                <a:gd name="T39" fmla="*/ 10 h 77"/>
                <a:gd name="T40" fmla="*/ 76 w 76"/>
                <a:gd name="T41" fmla="*/ 19 h 77"/>
                <a:gd name="T42" fmla="*/ 76 w 76"/>
                <a:gd name="T43" fmla="*/ 29 h 77"/>
                <a:gd name="T44" fmla="*/ 57 w 76"/>
                <a:gd name="T45" fmla="*/ 29 h 77"/>
                <a:gd name="T46" fmla="*/ 47 w 76"/>
                <a:gd name="T47" fmla="*/ 29 h 77"/>
                <a:gd name="T48" fmla="*/ 47 w 76"/>
                <a:gd name="T49" fmla="*/ 29 h 77"/>
                <a:gd name="T50" fmla="*/ 38 w 76"/>
                <a:gd name="T51" fmla="*/ 29 h 77"/>
                <a:gd name="T52" fmla="*/ 38 w 76"/>
                <a:gd name="T53" fmla="*/ 29 h 77"/>
                <a:gd name="T54" fmla="*/ 28 w 76"/>
                <a:gd name="T55" fmla="*/ 38 h 77"/>
                <a:gd name="T56" fmla="*/ 38 w 76"/>
                <a:gd name="T57" fmla="*/ 48 h 77"/>
                <a:gd name="T58" fmla="*/ 47 w 76"/>
                <a:gd name="T59" fmla="*/ 57 h 77"/>
                <a:gd name="T60" fmla="*/ 57 w 76"/>
                <a:gd name="T61" fmla="*/ 67 h 77"/>
                <a:gd name="T62" fmla="*/ 57 w 76"/>
                <a:gd name="T63" fmla="*/ 77 h 77"/>
                <a:gd name="T64" fmla="*/ 66 w 76"/>
                <a:gd name="T65" fmla="*/ 77 h 77"/>
                <a:gd name="T66" fmla="*/ 66 w 76"/>
                <a:gd name="T67" fmla="*/ 77 h 7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6"/>
                <a:gd name="T103" fmla="*/ 0 h 77"/>
                <a:gd name="T104" fmla="*/ 76 w 76"/>
                <a:gd name="T105" fmla="*/ 77 h 7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6" h="77">
                  <a:moveTo>
                    <a:pt x="66" y="77"/>
                  </a:moveTo>
                  <a:lnTo>
                    <a:pt x="57" y="77"/>
                  </a:lnTo>
                  <a:lnTo>
                    <a:pt x="57" y="67"/>
                  </a:lnTo>
                  <a:lnTo>
                    <a:pt x="38" y="67"/>
                  </a:lnTo>
                  <a:lnTo>
                    <a:pt x="28" y="57"/>
                  </a:lnTo>
                  <a:lnTo>
                    <a:pt x="19" y="48"/>
                  </a:lnTo>
                  <a:lnTo>
                    <a:pt x="19" y="38"/>
                  </a:lnTo>
                  <a:lnTo>
                    <a:pt x="9" y="29"/>
                  </a:lnTo>
                  <a:lnTo>
                    <a:pt x="0" y="38"/>
                  </a:lnTo>
                  <a:lnTo>
                    <a:pt x="0" y="29"/>
                  </a:lnTo>
                  <a:lnTo>
                    <a:pt x="0" y="19"/>
                  </a:lnTo>
                  <a:lnTo>
                    <a:pt x="28" y="19"/>
                  </a:lnTo>
                  <a:lnTo>
                    <a:pt x="28" y="10"/>
                  </a:lnTo>
                  <a:lnTo>
                    <a:pt x="38" y="0"/>
                  </a:lnTo>
                  <a:lnTo>
                    <a:pt x="47" y="0"/>
                  </a:lnTo>
                  <a:lnTo>
                    <a:pt x="57" y="10"/>
                  </a:lnTo>
                  <a:lnTo>
                    <a:pt x="76" y="19"/>
                  </a:lnTo>
                  <a:lnTo>
                    <a:pt x="76" y="29"/>
                  </a:lnTo>
                  <a:lnTo>
                    <a:pt x="57" y="29"/>
                  </a:lnTo>
                  <a:lnTo>
                    <a:pt x="47" y="29"/>
                  </a:lnTo>
                  <a:lnTo>
                    <a:pt x="38" y="29"/>
                  </a:lnTo>
                  <a:lnTo>
                    <a:pt x="28" y="38"/>
                  </a:lnTo>
                  <a:lnTo>
                    <a:pt x="38" y="48"/>
                  </a:lnTo>
                  <a:lnTo>
                    <a:pt x="47" y="57"/>
                  </a:lnTo>
                  <a:lnTo>
                    <a:pt x="57" y="67"/>
                  </a:lnTo>
                  <a:lnTo>
                    <a:pt x="57" y="77"/>
                  </a:lnTo>
                  <a:lnTo>
                    <a:pt x="66" y="7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76" name="Freeform 255">
              <a:extLst>
                <a:ext uri="{FF2B5EF4-FFF2-40B4-BE49-F238E27FC236}">
                  <a16:creationId xmlns:a16="http://schemas.microsoft.com/office/drawing/2014/main" id="{0018E999-5450-456A-ADA6-0001AB9472B0}"/>
                </a:ext>
              </a:extLst>
            </p:cNvPr>
            <p:cNvSpPr>
              <a:spLocks/>
            </p:cNvSpPr>
            <p:nvPr/>
          </p:nvSpPr>
          <p:spPr bwMode="gray">
            <a:xfrm>
              <a:off x="2922" y="2175"/>
              <a:ext cx="58" cy="58"/>
            </a:xfrm>
            <a:custGeom>
              <a:avLst/>
              <a:gdLst>
                <a:gd name="T0" fmla="*/ 38 w 58"/>
                <a:gd name="T1" fmla="*/ 58 h 58"/>
                <a:gd name="T2" fmla="*/ 29 w 58"/>
                <a:gd name="T3" fmla="*/ 58 h 58"/>
                <a:gd name="T4" fmla="*/ 29 w 58"/>
                <a:gd name="T5" fmla="*/ 48 h 58"/>
                <a:gd name="T6" fmla="*/ 19 w 58"/>
                <a:gd name="T7" fmla="*/ 38 h 58"/>
                <a:gd name="T8" fmla="*/ 10 w 58"/>
                <a:gd name="T9" fmla="*/ 29 h 58"/>
                <a:gd name="T10" fmla="*/ 0 w 58"/>
                <a:gd name="T11" fmla="*/ 19 h 58"/>
                <a:gd name="T12" fmla="*/ 10 w 58"/>
                <a:gd name="T13" fmla="*/ 10 h 58"/>
                <a:gd name="T14" fmla="*/ 10 w 58"/>
                <a:gd name="T15" fmla="*/ 10 h 58"/>
                <a:gd name="T16" fmla="*/ 19 w 58"/>
                <a:gd name="T17" fmla="*/ 10 h 58"/>
                <a:gd name="T18" fmla="*/ 19 w 58"/>
                <a:gd name="T19" fmla="*/ 0 h 58"/>
                <a:gd name="T20" fmla="*/ 29 w 58"/>
                <a:gd name="T21" fmla="*/ 10 h 58"/>
                <a:gd name="T22" fmla="*/ 48 w 58"/>
                <a:gd name="T23" fmla="*/ 10 h 58"/>
                <a:gd name="T24" fmla="*/ 58 w 58"/>
                <a:gd name="T25" fmla="*/ 19 h 58"/>
                <a:gd name="T26" fmla="*/ 58 w 58"/>
                <a:gd name="T27" fmla="*/ 38 h 58"/>
                <a:gd name="T28" fmla="*/ 48 w 58"/>
                <a:gd name="T29" fmla="*/ 48 h 58"/>
                <a:gd name="T30" fmla="*/ 38 w 58"/>
                <a:gd name="T31" fmla="*/ 58 h 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8"/>
                <a:gd name="T49" fmla="*/ 0 h 58"/>
                <a:gd name="T50" fmla="*/ 58 w 58"/>
                <a:gd name="T51" fmla="*/ 58 h 5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8" h="58">
                  <a:moveTo>
                    <a:pt x="38" y="58"/>
                  </a:moveTo>
                  <a:lnTo>
                    <a:pt x="29" y="58"/>
                  </a:lnTo>
                  <a:lnTo>
                    <a:pt x="29" y="48"/>
                  </a:lnTo>
                  <a:lnTo>
                    <a:pt x="19" y="38"/>
                  </a:lnTo>
                  <a:lnTo>
                    <a:pt x="10" y="29"/>
                  </a:lnTo>
                  <a:lnTo>
                    <a:pt x="0" y="19"/>
                  </a:lnTo>
                  <a:lnTo>
                    <a:pt x="10" y="10"/>
                  </a:lnTo>
                  <a:lnTo>
                    <a:pt x="19" y="10"/>
                  </a:lnTo>
                  <a:lnTo>
                    <a:pt x="19" y="0"/>
                  </a:lnTo>
                  <a:lnTo>
                    <a:pt x="29" y="10"/>
                  </a:lnTo>
                  <a:lnTo>
                    <a:pt x="48" y="10"/>
                  </a:lnTo>
                  <a:lnTo>
                    <a:pt x="58" y="19"/>
                  </a:lnTo>
                  <a:lnTo>
                    <a:pt x="58" y="38"/>
                  </a:lnTo>
                  <a:lnTo>
                    <a:pt x="48" y="48"/>
                  </a:lnTo>
                  <a:lnTo>
                    <a:pt x="38" y="5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77" name="Freeform 256">
              <a:extLst>
                <a:ext uri="{FF2B5EF4-FFF2-40B4-BE49-F238E27FC236}">
                  <a16:creationId xmlns:a16="http://schemas.microsoft.com/office/drawing/2014/main" id="{09F104BF-F24F-48D2-A33C-72ACED39DCB9}"/>
                </a:ext>
              </a:extLst>
            </p:cNvPr>
            <p:cNvSpPr>
              <a:spLocks/>
            </p:cNvSpPr>
            <p:nvPr/>
          </p:nvSpPr>
          <p:spPr bwMode="gray">
            <a:xfrm>
              <a:off x="2922" y="2175"/>
              <a:ext cx="58" cy="58"/>
            </a:xfrm>
            <a:custGeom>
              <a:avLst/>
              <a:gdLst>
                <a:gd name="T0" fmla="*/ 38 w 58"/>
                <a:gd name="T1" fmla="*/ 58 h 58"/>
                <a:gd name="T2" fmla="*/ 29 w 58"/>
                <a:gd name="T3" fmla="*/ 58 h 58"/>
                <a:gd name="T4" fmla="*/ 29 w 58"/>
                <a:gd name="T5" fmla="*/ 48 h 58"/>
                <a:gd name="T6" fmla="*/ 19 w 58"/>
                <a:gd name="T7" fmla="*/ 38 h 58"/>
                <a:gd name="T8" fmla="*/ 10 w 58"/>
                <a:gd name="T9" fmla="*/ 29 h 58"/>
                <a:gd name="T10" fmla="*/ 0 w 58"/>
                <a:gd name="T11" fmla="*/ 19 h 58"/>
                <a:gd name="T12" fmla="*/ 10 w 58"/>
                <a:gd name="T13" fmla="*/ 10 h 58"/>
                <a:gd name="T14" fmla="*/ 10 w 58"/>
                <a:gd name="T15" fmla="*/ 10 h 58"/>
                <a:gd name="T16" fmla="*/ 19 w 58"/>
                <a:gd name="T17" fmla="*/ 10 h 58"/>
                <a:gd name="T18" fmla="*/ 19 w 58"/>
                <a:gd name="T19" fmla="*/ 0 h 58"/>
                <a:gd name="T20" fmla="*/ 29 w 58"/>
                <a:gd name="T21" fmla="*/ 10 h 58"/>
                <a:gd name="T22" fmla="*/ 48 w 58"/>
                <a:gd name="T23" fmla="*/ 10 h 58"/>
                <a:gd name="T24" fmla="*/ 58 w 58"/>
                <a:gd name="T25" fmla="*/ 19 h 58"/>
                <a:gd name="T26" fmla="*/ 58 w 58"/>
                <a:gd name="T27" fmla="*/ 38 h 58"/>
                <a:gd name="T28" fmla="*/ 48 w 58"/>
                <a:gd name="T29" fmla="*/ 48 h 58"/>
                <a:gd name="T30" fmla="*/ 38 w 58"/>
                <a:gd name="T31" fmla="*/ 58 h 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8"/>
                <a:gd name="T49" fmla="*/ 0 h 58"/>
                <a:gd name="T50" fmla="*/ 58 w 58"/>
                <a:gd name="T51" fmla="*/ 58 h 5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8" h="58">
                  <a:moveTo>
                    <a:pt x="38" y="58"/>
                  </a:moveTo>
                  <a:lnTo>
                    <a:pt x="29" y="58"/>
                  </a:lnTo>
                  <a:lnTo>
                    <a:pt x="29" y="48"/>
                  </a:lnTo>
                  <a:lnTo>
                    <a:pt x="19" y="38"/>
                  </a:lnTo>
                  <a:lnTo>
                    <a:pt x="10" y="29"/>
                  </a:lnTo>
                  <a:lnTo>
                    <a:pt x="0" y="19"/>
                  </a:lnTo>
                  <a:lnTo>
                    <a:pt x="10" y="10"/>
                  </a:lnTo>
                  <a:lnTo>
                    <a:pt x="19" y="10"/>
                  </a:lnTo>
                  <a:lnTo>
                    <a:pt x="19" y="0"/>
                  </a:lnTo>
                  <a:lnTo>
                    <a:pt x="29" y="10"/>
                  </a:lnTo>
                  <a:lnTo>
                    <a:pt x="48" y="10"/>
                  </a:lnTo>
                  <a:lnTo>
                    <a:pt x="58" y="19"/>
                  </a:lnTo>
                  <a:lnTo>
                    <a:pt x="58" y="38"/>
                  </a:lnTo>
                  <a:lnTo>
                    <a:pt x="48" y="48"/>
                  </a:lnTo>
                  <a:lnTo>
                    <a:pt x="38" y="5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78" name="Freeform 257">
              <a:extLst>
                <a:ext uri="{FF2B5EF4-FFF2-40B4-BE49-F238E27FC236}">
                  <a16:creationId xmlns:a16="http://schemas.microsoft.com/office/drawing/2014/main" id="{A24CC7C0-6A5B-49CE-957C-86F7EC504C6D}"/>
                </a:ext>
              </a:extLst>
            </p:cNvPr>
            <p:cNvSpPr>
              <a:spLocks/>
            </p:cNvSpPr>
            <p:nvPr/>
          </p:nvSpPr>
          <p:spPr bwMode="gray">
            <a:xfrm>
              <a:off x="2960" y="2166"/>
              <a:ext cx="77" cy="76"/>
            </a:xfrm>
            <a:custGeom>
              <a:avLst/>
              <a:gdLst>
                <a:gd name="T0" fmla="*/ 29 w 77"/>
                <a:gd name="T1" fmla="*/ 0 h 76"/>
                <a:gd name="T2" fmla="*/ 29 w 77"/>
                <a:gd name="T3" fmla="*/ 0 h 76"/>
                <a:gd name="T4" fmla="*/ 10 w 77"/>
                <a:gd name="T5" fmla="*/ 0 h 76"/>
                <a:gd name="T6" fmla="*/ 10 w 77"/>
                <a:gd name="T7" fmla="*/ 9 h 76"/>
                <a:gd name="T8" fmla="*/ 10 w 77"/>
                <a:gd name="T9" fmla="*/ 19 h 76"/>
                <a:gd name="T10" fmla="*/ 20 w 77"/>
                <a:gd name="T11" fmla="*/ 28 h 76"/>
                <a:gd name="T12" fmla="*/ 20 w 77"/>
                <a:gd name="T13" fmla="*/ 47 h 76"/>
                <a:gd name="T14" fmla="*/ 10 w 77"/>
                <a:gd name="T15" fmla="*/ 57 h 76"/>
                <a:gd name="T16" fmla="*/ 0 w 77"/>
                <a:gd name="T17" fmla="*/ 67 h 76"/>
                <a:gd name="T18" fmla="*/ 0 w 77"/>
                <a:gd name="T19" fmla="*/ 67 h 76"/>
                <a:gd name="T20" fmla="*/ 10 w 77"/>
                <a:gd name="T21" fmla="*/ 76 h 76"/>
                <a:gd name="T22" fmla="*/ 20 w 77"/>
                <a:gd name="T23" fmla="*/ 67 h 76"/>
                <a:gd name="T24" fmla="*/ 20 w 77"/>
                <a:gd name="T25" fmla="*/ 67 h 76"/>
                <a:gd name="T26" fmla="*/ 29 w 77"/>
                <a:gd name="T27" fmla="*/ 67 h 76"/>
                <a:gd name="T28" fmla="*/ 39 w 77"/>
                <a:gd name="T29" fmla="*/ 76 h 76"/>
                <a:gd name="T30" fmla="*/ 48 w 77"/>
                <a:gd name="T31" fmla="*/ 67 h 76"/>
                <a:gd name="T32" fmla="*/ 67 w 77"/>
                <a:gd name="T33" fmla="*/ 67 h 76"/>
                <a:gd name="T34" fmla="*/ 77 w 77"/>
                <a:gd name="T35" fmla="*/ 57 h 76"/>
                <a:gd name="T36" fmla="*/ 67 w 77"/>
                <a:gd name="T37" fmla="*/ 47 h 76"/>
                <a:gd name="T38" fmla="*/ 67 w 77"/>
                <a:gd name="T39" fmla="*/ 38 h 76"/>
                <a:gd name="T40" fmla="*/ 58 w 77"/>
                <a:gd name="T41" fmla="*/ 28 h 76"/>
                <a:gd name="T42" fmla="*/ 39 w 77"/>
                <a:gd name="T43" fmla="*/ 28 h 76"/>
                <a:gd name="T44" fmla="*/ 39 w 77"/>
                <a:gd name="T45" fmla="*/ 9 h 76"/>
                <a:gd name="T46" fmla="*/ 29 w 77"/>
                <a:gd name="T47" fmla="*/ 0 h 7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7"/>
                <a:gd name="T73" fmla="*/ 0 h 76"/>
                <a:gd name="T74" fmla="*/ 77 w 77"/>
                <a:gd name="T75" fmla="*/ 76 h 7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7" h="76">
                  <a:moveTo>
                    <a:pt x="29" y="0"/>
                  </a:moveTo>
                  <a:lnTo>
                    <a:pt x="29" y="0"/>
                  </a:lnTo>
                  <a:lnTo>
                    <a:pt x="10" y="0"/>
                  </a:lnTo>
                  <a:lnTo>
                    <a:pt x="10" y="9"/>
                  </a:lnTo>
                  <a:lnTo>
                    <a:pt x="10" y="19"/>
                  </a:lnTo>
                  <a:lnTo>
                    <a:pt x="20" y="28"/>
                  </a:lnTo>
                  <a:lnTo>
                    <a:pt x="20" y="47"/>
                  </a:lnTo>
                  <a:lnTo>
                    <a:pt x="10" y="57"/>
                  </a:lnTo>
                  <a:lnTo>
                    <a:pt x="0" y="67"/>
                  </a:lnTo>
                  <a:lnTo>
                    <a:pt x="10" y="76"/>
                  </a:lnTo>
                  <a:lnTo>
                    <a:pt x="20" y="67"/>
                  </a:lnTo>
                  <a:lnTo>
                    <a:pt x="29" y="67"/>
                  </a:lnTo>
                  <a:lnTo>
                    <a:pt x="39" y="76"/>
                  </a:lnTo>
                  <a:lnTo>
                    <a:pt x="48" y="67"/>
                  </a:lnTo>
                  <a:lnTo>
                    <a:pt x="67" y="67"/>
                  </a:lnTo>
                  <a:lnTo>
                    <a:pt x="77" y="57"/>
                  </a:lnTo>
                  <a:lnTo>
                    <a:pt x="67" y="47"/>
                  </a:lnTo>
                  <a:lnTo>
                    <a:pt x="67" y="38"/>
                  </a:lnTo>
                  <a:lnTo>
                    <a:pt x="58" y="28"/>
                  </a:lnTo>
                  <a:lnTo>
                    <a:pt x="39" y="28"/>
                  </a:lnTo>
                  <a:lnTo>
                    <a:pt x="39" y="9"/>
                  </a:lnTo>
                  <a:lnTo>
                    <a:pt x="2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79" name="Freeform 258">
              <a:extLst>
                <a:ext uri="{FF2B5EF4-FFF2-40B4-BE49-F238E27FC236}">
                  <a16:creationId xmlns:a16="http://schemas.microsoft.com/office/drawing/2014/main" id="{D4D2922C-87CE-4A68-90B3-9AEBA4704548}"/>
                </a:ext>
              </a:extLst>
            </p:cNvPr>
            <p:cNvSpPr>
              <a:spLocks/>
            </p:cNvSpPr>
            <p:nvPr/>
          </p:nvSpPr>
          <p:spPr bwMode="gray">
            <a:xfrm>
              <a:off x="2960" y="2166"/>
              <a:ext cx="77" cy="76"/>
            </a:xfrm>
            <a:custGeom>
              <a:avLst/>
              <a:gdLst>
                <a:gd name="T0" fmla="*/ 29 w 77"/>
                <a:gd name="T1" fmla="*/ 0 h 76"/>
                <a:gd name="T2" fmla="*/ 29 w 77"/>
                <a:gd name="T3" fmla="*/ 0 h 76"/>
                <a:gd name="T4" fmla="*/ 10 w 77"/>
                <a:gd name="T5" fmla="*/ 0 h 76"/>
                <a:gd name="T6" fmla="*/ 10 w 77"/>
                <a:gd name="T7" fmla="*/ 9 h 76"/>
                <a:gd name="T8" fmla="*/ 10 w 77"/>
                <a:gd name="T9" fmla="*/ 19 h 76"/>
                <a:gd name="T10" fmla="*/ 20 w 77"/>
                <a:gd name="T11" fmla="*/ 28 h 76"/>
                <a:gd name="T12" fmla="*/ 20 w 77"/>
                <a:gd name="T13" fmla="*/ 47 h 76"/>
                <a:gd name="T14" fmla="*/ 10 w 77"/>
                <a:gd name="T15" fmla="*/ 57 h 76"/>
                <a:gd name="T16" fmla="*/ 0 w 77"/>
                <a:gd name="T17" fmla="*/ 67 h 76"/>
                <a:gd name="T18" fmla="*/ 0 w 77"/>
                <a:gd name="T19" fmla="*/ 67 h 76"/>
                <a:gd name="T20" fmla="*/ 10 w 77"/>
                <a:gd name="T21" fmla="*/ 76 h 76"/>
                <a:gd name="T22" fmla="*/ 20 w 77"/>
                <a:gd name="T23" fmla="*/ 67 h 76"/>
                <a:gd name="T24" fmla="*/ 20 w 77"/>
                <a:gd name="T25" fmla="*/ 67 h 76"/>
                <a:gd name="T26" fmla="*/ 29 w 77"/>
                <a:gd name="T27" fmla="*/ 67 h 76"/>
                <a:gd name="T28" fmla="*/ 39 w 77"/>
                <a:gd name="T29" fmla="*/ 76 h 76"/>
                <a:gd name="T30" fmla="*/ 48 w 77"/>
                <a:gd name="T31" fmla="*/ 67 h 76"/>
                <a:gd name="T32" fmla="*/ 67 w 77"/>
                <a:gd name="T33" fmla="*/ 67 h 76"/>
                <a:gd name="T34" fmla="*/ 77 w 77"/>
                <a:gd name="T35" fmla="*/ 57 h 76"/>
                <a:gd name="T36" fmla="*/ 67 w 77"/>
                <a:gd name="T37" fmla="*/ 47 h 76"/>
                <a:gd name="T38" fmla="*/ 67 w 77"/>
                <a:gd name="T39" fmla="*/ 38 h 76"/>
                <a:gd name="T40" fmla="*/ 58 w 77"/>
                <a:gd name="T41" fmla="*/ 28 h 76"/>
                <a:gd name="T42" fmla="*/ 39 w 77"/>
                <a:gd name="T43" fmla="*/ 28 h 76"/>
                <a:gd name="T44" fmla="*/ 39 w 77"/>
                <a:gd name="T45" fmla="*/ 9 h 76"/>
                <a:gd name="T46" fmla="*/ 29 w 77"/>
                <a:gd name="T47" fmla="*/ 0 h 7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7"/>
                <a:gd name="T73" fmla="*/ 0 h 76"/>
                <a:gd name="T74" fmla="*/ 77 w 77"/>
                <a:gd name="T75" fmla="*/ 76 h 7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7" h="76">
                  <a:moveTo>
                    <a:pt x="29" y="0"/>
                  </a:moveTo>
                  <a:lnTo>
                    <a:pt x="29" y="0"/>
                  </a:lnTo>
                  <a:lnTo>
                    <a:pt x="10" y="0"/>
                  </a:lnTo>
                  <a:lnTo>
                    <a:pt x="10" y="9"/>
                  </a:lnTo>
                  <a:lnTo>
                    <a:pt x="10" y="19"/>
                  </a:lnTo>
                  <a:lnTo>
                    <a:pt x="20" y="28"/>
                  </a:lnTo>
                  <a:lnTo>
                    <a:pt x="20" y="47"/>
                  </a:lnTo>
                  <a:lnTo>
                    <a:pt x="10" y="57"/>
                  </a:lnTo>
                  <a:lnTo>
                    <a:pt x="0" y="67"/>
                  </a:lnTo>
                  <a:lnTo>
                    <a:pt x="10" y="76"/>
                  </a:lnTo>
                  <a:lnTo>
                    <a:pt x="20" y="67"/>
                  </a:lnTo>
                  <a:lnTo>
                    <a:pt x="29" y="67"/>
                  </a:lnTo>
                  <a:lnTo>
                    <a:pt x="39" y="76"/>
                  </a:lnTo>
                  <a:lnTo>
                    <a:pt x="48" y="67"/>
                  </a:lnTo>
                  <a:lnTo>
                    <a:pt x="67" y="67"/>
                  </a:lnTo>
                  <a:lnTo>
                    <a:pt x="77" y="57"/>
                  </a:lnTo>
                  <a:lnTo>
                    <a:pt x="67" y="47"/>
                  </a:lnTo>
                  <a:lnTo>
                    <a:pt x="67" y="38"/>
                  </a:lnTo>
                  <a:lnTo>
                    <a:pt x="58" y="28"/>
                  </a:lnTo>
                  <a:lnTo>
                    <a:pt x="39" y="28"/>
                  </a:lnTo>
                  <a:lnTo>
                    <a:pt x="39" y="9"/>
                  </a:lnTo>
                  <a:lnTo>
                    <a:pt x="2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80" name="Freeform 259">
              <a:extLst>
                <a:ext uri="{FF2B5EF4-FFF2-40B4-BE49-F238E27FC236}">
                  <a16:creationId xmlns:a16="http://schemas.microsoft.com/office/drawing/2014/main" id="{5268B753-9C6A-4EC3-84C4-5F5DA0B11817}"/>
                </a:ext>
              </a:extLst>
            </p:cNvPr>
            <p:cNvSpPr>
              <a:spLocks/>
            </p:cNvSpPr>
            <p:nvPr/>
          </p:nvSpPr>
          <p:spPr bwMode="gray">
            <a:xfrm>
              <a:off x="2970" y="2233"/>
              <a:ext cx="29" cy="47"/>
            </a:xfrm>
            <a:custGeom>
              <a:avLst/>
              <a:gdLst>
                <a:gd name="T0" fmla="*/ 29 w 29"/>
                <a:gd name="T1" fmla="*/ 9 h 47"/>
                <a:gd name="T2" fmla="*/ 19 w 29"/>
                <a:gd name="T3" fmla="*/ 0 h 47"/>
                <a:gd name="T4" fmla="*/ 10 w 29"/>
                <a:gd name="T5" fmla="*/ 0 h 47"/>
                <a:gd name="T6" fmla="*/ 10 w 29"/>
                <a:gd name="T7" fmla="*/ 0 h 47"/>
                <a:gd name="T8" fmla="*/ 0 w 29"/>
                <a:gd name="T9" fmla="*/ 9 h 47"/>
                <a:gd name="T10" fmla="*/ 10 w 29"/>
                <a:gd name="T11" fmla="*/ 19 h 47"/>
                <a:gd name="T12" fmla="*/ 10 w 29"/>
                <a:gd name="T13" fmla="*/ 19 h 47"/>
                <a:gd name="T14" fmla="*/ 10 w 29"/>
                <a:gd name="T15" fmla="*/ 28 h 47"/>
                <a:gd name="T16" fmla="*/ 10 w 29"/>
                <a:gd name="T17" fmla="*/ 38 h 47"/>
                <a:gd name="T18" fmla="*/ 19 w 29"/>
                <a:gd name="T19" fmla="*/ 47 h 47"/>
                <a:gd name="T20" fmla="*/ 29 w 29"/>
                <a:gd name="T21" fmla="*/ 47 h 47"/>
                <a:gd name="T22" fmla="*/ 29 w 29"/>
                <a:gd name="T23" fmla="*/ 38 h 47"/>
                <a:gd name="T24" fmla="*/ 29 w 29"/>
                <a:gd name="T25" fmla="*/ 28 h 47"/>
                <a:gd name="T26" fmla="*/ 29 w 29"/>
                <a:gd name="T27" fmla="*/ 19 h 47"/>
                <a:gd name="T28" fmla="*/ 29 w 29"/>
                <a:gd name="T29" fmla="*/ 9 h 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47"/>
                <a:gd name="T47" fmla="*/ 29 w 29"/>
                <a:gd name="T48" fmla="*/ 47 h 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47">
                  <a:moveTo>
                    <a:pt x="29" y="9"/>
                  </a:moveTo>
                  <a:lnTo>
                    <a:pt x="19" y="0"/>
                  </a:lnTo>
                  <a:lnTo>
                    <a:pt x="10" y="0"/>
                  </a:lnTo>
                  <a:lnTo>
                    <a:pt x="0" y="9"/>
                  </a:lnTo>
                  <a:lnTo>
                    <a:pt x="10" y="19"/>
                  </a:lnTo>
                  <a:lnTo>
                    <a:pt x="10" y="28"/>
                  </a:lnTo>
                  <a:lnTo>
                    <a:pt x="10" y="38"/>
                  </a:lnTo>
                  <a:lnTo>
                    <a:pt x="19" y="47"/>
                  </a:lnTo>
                  <a:lnTo>
                    <a:pt x="29" y="47"/>
                  </a:lnTo>
                  <a:lnTo>
                    <a:pt x="29" y="38"/>
                  </a:lnTo>
                  <a:lnTo>
                    <a:pt x="29" y="28"/>
                  </a:lnTo>
                  <a:lnTo>
                    <a:pt x="29" y="19"/>
                  </a:lnTo>
                  <a:lnTo>
                    <a:pt x="29"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81" name="Freeform 260">
              <a:extLst>
                <a:ext uri="{FF2B5EF4-FFF2-40B4-BE49-F238E27FC236}">
                  <a16:creationId xmlns:a16="http://schemas.microsoft.com/office/drawing/2014/main" id="{23E9F7B0-45A0-4459-BEA8-45A4EAA0202F}"/>
                </a:ext>
              </a:extLst>
            </p:cNvPr>
            <p:cNvSpPr>
              <a:spLocks/>
            </p:cNvSpPr>
            <p:nvPr/>
          </p:nvSpPr>
          <p:spPr bwMode="gray">
            <a:xfrm>
              <a:off x="2999" y="2233"/>
              <a:ext cx="38" cy="28"/>
            </a:xfrm>
            <a:custGeom>
              <a:avLst/>
              <a:gdLst>
                <a:gd name="T0" fmla="*/ 0 w 38"/>
                <a:gd name="T1" fmla="*/ 9 h 28"/>
                <a:gd name="T2" fmla="*/ 0 w 38"/>
                <a:gd name="T3" fmla="*/ 19 h 28"/>
                <a:gd name="T4" fmla="*/ 0 w 38"/>
                <a:gd name="T5" fmla="*/ 28 h 28"/>
                <a:gd name="T6" fmla="*/ 19 w 38"/>
                <a:gd name="T7" fmla="*/ 28 h 28"/>
                <a:gd name="T8" fmla="*/ 28 w 38"/>
                <a:gd name="T9" fmla="*/ 19 h 28"/>
                <a:gd name="T10" fmla="*/ 38 w 38"/>
                <a:gd name="T11" fmla="*/ 19 h 28"/>
                <a:gd name="T12" fmla="*/ 28 w 38"/>
                <a:gd name="T13" fmla="*/ 9 h 28"/>
                <a:gd name="T14" fmla="*/ 28 w 38"/>
                <a:gd name="T15" fmla="*/ 0 h 28"/>
                <a:gd name="T16" fmla="*/ 9 w 38"/>
                <a:gd name="T17" fmla="*/ 0 h 28"/>
                <a:gd name="T18" fmla="*/ 0 w 38"/>
                <a:gd name="T19" fmla="*/ 9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28"/>
                <a:gd name="T32" fmla="*/ 38 w 38"/>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28">
                  <a:moveTo>
                    <a:pt x="0" y="9"/>
                  </a:moveTo>
                  <a:lnTo>
                    <a:pt x="0" y="19"/>
                  </a:lnTo>
                  <a:lnTo>
                    <a:pt x="0" y="28"/>
                  </a:lnTo>
                  <a:lnTo>
                    <a:pt x="19" y="28"/>
                  </a:lnTo>
                  <a:lnTo>
                    <a:pt x="28" y="19"/>
                  </a:lnTo>
                  <a:lnTo>
                    <a:pt x="38" y="19"/>
                  </a:lnTo>
                  <a:lnTo>
                    <a:pt x="28" y="9"/>
                  </a:lnTo>
                  <a:lnTo>
                    <a:pt x="28" y="0"/>
                  </a:lnTo>
                  <a:lnTo>
                    <a:pt x="9" y="0"/>
                  </a:lnTo>
                  <a:lnTo>
                    <a:pt x="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82" name="Freeform 261">
              <a:extLst>
                <a:ext uri="{FF2B5EF4-FFF2-40B4-BE49-F238E27FC236}">
                  <a16:creationId xmlns:a16="http://schemas.microsoft.com/office/drawing/2014/main" id="{1FB18609-0E78-4B09-83C2-CBF376E8DE9E}"/>
                </a:ext>
              </a:extLst>
            </p:cNvPr>
            <p:cNvSpPr>
              <a:spLocks/>
            </p:cNvSpPr>
            <p:nvPr/>
          </p:nvSpPr>
          <p:spPr bwMode="gray">
            <a:xfrm>
              <a:off x="2999" y="2233"/>
              <a:ext cx="38" cy="28"/>
            </a:xfrm>
            <a:custGeom>
              <a:avLst/>
              <a:gdLst>
                <a:gd name="T0" fmla="*/ 0 w 38"/>
                <a:gd name="T1" fmla="*/ 9 h 28"/>
                <a:gd name="T2" fmla="*/ 0 w 38"/>
                <a:gd name="T3" fmla="*/ 19 h 28"/>
                <a:gd name="T4" fmla="*/ 0 w 38"/>
                <a:gd name="T5" fmla="*/ 28 h 28"/>
                <a:gd name="T6" fmla="*/ 19 w 38"/>
                <a:gd name="T7" fmla="*/ 28 h 28"/>
                <a:gd name="T8" fmla="*/ 28 w 38"/>
                <a:gd name="T9" fmla="*/ 19 h 28"/>
                <a:gd name="T10" fmla="*/ 38 w 38"/>
                <a:gd name="T11" fmla="*/ 19 h 28"/>
                <a:gd name="T12" fmla="*/ 28 w 38"/>
                <a:gd name="T13" fmla="*/ 9 h 28"/>
                <a:gd name="T14" fmla="*/ 28 w 38"/>
                <a:gd name="T15" fmla="*/ 0 h 28"/>
                <a:gd name="T16" fmla="*/ 9 w 38"/>
                <a:gd name="T17" fmla="*/ 0 h 28"/>
                <a:gd name="T18" fmla="*/ 0 w 38"/>
                <a:gd name="T19" fmla="*/ 9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28"/>
                <a:gd name="T32" fmla="*/ 38 w 38"/>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28">
                  <a:moveTo>
                    <a:pt x="0" y="9"/>
                  </a:moveTo>
                  <a:lnTo>
                    <a:pt x="0" y="19"/>
                  </a:lnTo>
                  <a:lnTo>
                    <a:pt x="0" y="28"/>
                  </a:lnTo>
                  <a:lnTo>
                    <a:pt x="19" y="28"/>
                  </a:lnTo>
                  <a:lnTo>
                    <a:pt x="28" y="19"/>
                  </a:lnTo>
                  <a:lnTo>
                    <a:pt x="38" y="19"/>
                  </a:lnTo>
                  <a:lnTo>
                    <a:pt x="28" y="9"/>
                  </a:lnTo>
                  <a:lnTo>
                    <a:pt x="28" y="0"/>
                  </a:lnTo>
                  <a:lnTo>
                    <a:pt x="9" y="0"/>
                  </a:lnTo>
                  <a:lnTo>
                    <a:pt x="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83" name="Freeform 262">
              <a:extLst>
                <a:ext uri="{FF2B5EF4-FFF2-40B4-BE49-F238E27FC236}">
                  <a16:creationId xmlns:a16="http://schemas.microsoft.com/office/drawing/2014/main" id="{2AE946C5-1FA7-4506-BFBA-CE6FFED0965E}"/>
                </a:ext>
              </a:extLst>
            </p:cNvPr>
            <p:cNvSpPr>
              <a:spLocks/>
            </p:cNvSpPr>
            <p:nvPr/>
          </p:nvSpPr>
          <p:spPr bwMode="gray">
            <a:xfrm>
              <a:off x="3027" y="2204"/>
              <a:ext cx="86" cy="48"/>
            </a:xfrm>
            <a:custGeom>
              <a:avLst/>
              <a:gdLst>
                <a:gd name="T0" fmla="*/ 0 w 86"/>
                <a:gd name="T1" fmla="*/ 48 h 48"/>
                <a:gd name="T2" fmla="*/ 10 w 86"/>
                <a:gd name="T3" fmla="*/ 48 h 48"/>
                <a:gd name="T4" fmla="*/ 19 w 86"/>
                <a:gd name="T5" fmla="*/ 48 h 48"/>
                <a:gd name="T6" fmla="*/ 29 w 86"/>
                <a:gd name="T7" fmla="*/ 48 h 48"/>
                <a:gd name="T8" fmla="*/ 38 w 86"/>
                <a:gd name="T9" fmla="*/ 48 h 48"/>
                <a:gd name="T10" fmla="*/ 48 w 86"/>
                <a:gd name="T11" fmla="*/ 48 h 48"/>
                <a:gd name="T12" fmla="*/ 48 w 86"/>
                <a:gd name="T13" fmla="*/ 38 h 48"/>
                <a:gd name="T14" fmla="*/ 57 w 86"/>
                <a:gd name="T15" fmla="*/ 38 h 48"/>
                <a:gd name="T16" fmla="*/ 67 w 86"/>
                <a:gd name="T17" fmla="*/ 38 h 48"/>
                <a:gd name="T18" fmla="*/ 76 w 86"/>
                <a:gd name="T19" fmla="*/ 29 h 48"/>
                <a:gd name="T20" fmla="*/ 76 w 86"/>
                <a:gd name="T21" fmla="*/ 19 h 48"/>
                <a:gd name="T22" fmla="*/ 76 w 86"/>
                <a:gd name="T23" fmla="*/ 9 h 48"/>
                <a:gd name="T24" fmla="*/ 86 w 86"/>
                <a:gd name="T25" fmla="*/ 9 h 48"/>
                <a:gd name="T26" fmla="*/ 57 w 86"/>
                <a:gd name="T27" fmla="*/ 0 h 48"/>
                <a:gd name="T28" fmla="*/ 57 w 86"/>
                <a:gd name="T29" fmla="*/ 0 h 48"/>
                <a:gd name="T30" fmla="*/ 38 w 86"/>
                <a:gd name="T31" fmla="*/ 9 h 48"/>
                <a:gd name="T32" fmla="*/ 29 w 86"/>
                <a:gd name="T33" fmla="*/ 9 h 48"/>
                <a:gd name="T34" fmla="*/ 10 w 86"/>
                <a:gd name="T35" fmla="*/ 0 h 48"/>
                <a:gd name="T36" fmla="*/ 0 w 86"/>
                <a:gd name="T37" fmla="*/ 0 h 48"/>
                <a:gd name="T38" fmla="*/ 0 w 86"/>
                <a:gd name="T39" fmla="*/ 9 h 48"/>
                <a:gd name="T40" fmla="*/ 0 w 86"/>
                <a:gd name="T41" fmla="*/ 19 h 48"/>
                <a:gd name="T42" fmla="*/ 0 w 86"/>
                <a:gd name="T43" fmla="*/ 29 h 48"/>
                <a:gd name="T44" fmla="*/ 0 w 86"/>
                <a:gd name="T45" fmla="*/ 38 h 48"/>
                <a:gd name="T46" fmla="*/ 0 w 86"/>
                <a:gd name="T47" fmla="*/ 48 h 4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6"/>
                <a:gd name="T73" fmla="*/ 0 h 48"/>
                <a:gd name="T74" fmla="*/ 86 w 86"/>
                <a:gd name="T75" fmla="*/ 48 h 4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6" h="48">
                  <a:moveTo>
                    <a:pt x="0" y="48"/>
                  </a:moveTo>
                  <a:lnTo>
                    <a:pt x="10" y="48"/>
                  </a:lnTo>
                  <a:lnTo>
                    <a:pt x="19" y="48"/>
                  </a:lnTo>
                  <a:lnTo>
                    <a:pt x="29" y="48"/>
                  </a:lnTo>
                  <a:lnTo>
                    <a:pt x="38" y="48"/>
                  </a:lnTo>
                  <a:lnTo>
                    <a:pt x="48" y="48"/>
                  </a:lnTo>
                  <a:lnTo>
                    <a:pt x="48" y="38"/>
                  </a:lnTo>
                  <a:lnTo>
                    <a:pt x="57" y="38"/>
                  </a:lnTo>
                  <a:lnTo>
                    <a:pt x="67" y="38"/>
                  </a:lnTo>
                  <a:lnTo>
                    <a:pt x="76" y="29"/>
                  </a:lnTo>
                  <a:lnTo>
                    <a:pt x="76" y="19"/>
                  </a:lnTo>
                  <a:lnTo>
                    <a:pt x="76" y="9"/>
                  </a:lnTo>
                  <a:lnTo>
                    <a:pt x="86" y="9"/>
                  </a:lnTo>
                  <a:lnTo>
                    <a:pt x="57" y="0"/>
                  </a:lnTo>
                  <a:lnTo>
                    <a:pt x="38" y="9"/>
                  </a:lnTo>
                  <a:lnTo>
                    <a:pt x="29" y="9"/>
                  </a:lnTo>
                  <a:lnTo>
                    <a:pt x="10" y="0"/>
                  </a:lnTo>
                  <a:lnTo>
                    <a:pt x="0" y="0"/>
                  </a:lnTo>
                  <a:lnTo>
                    <a:pt x="0" y="9"/>
                  </a:lnTo>
                  <a:lnTo>
                    <a:pt x="0" y="19"/>
                  </a:lnTo>
                  <a:lnTo>
                    <a:pt x="0" y="29"/>
                  </a:lnTo>
                  <a:lnTo>
                    <a:pt x="0" y="38"/>
                  </a:lnTo>
                  <a:lnTo>
                    <a:pt x="0" y="4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84" name="Freeform 263">
              <a:extLst>
                <a:ext uri="{FF2B5EF4-FFF2-40B4-BE49-F238E27FC236}">
                  <a16:creationId xmlns:a16="http://schemas.microsoft.com/office/drawing/2014/main" id="{71FA4291-A82C-4B75-B798-ADF9138D0CF9}"/>
                </a:ext>
              </a:extLst>
            </p:cNvPr>
            <p:cNvSpPr>
              <a:spLocks/>
            </p:cNvSpPr>
            <p:nvPr/>
          </p:nvSpPr>
          <p:spPr bwMode="gray">
            <a:xfrm>
              <a:off x="3027" y="2204"/>
              <a:ext cx="86" cy="48"/>
            </a:xfrm>
            <a:custGeom>
              <a:avLst/>
              <a:gdLst>
                <a:gd name="T0" fmla="*/ 0 w 86"/>
                <a:gd name="T1" fmla="*/ 48 h 48"/>
                <a:gd name="T2" fmla="*/ 10 w 86"/>
                <a:gd name="T3" fmla="*/ 48 h 48"/>
                <a:gd name="T4" fmla="*/ 19 w 86"/>
                <a:gd name="T5" fmla="*/ 48 h 48"/>
                <a:gd name="T6" fmla="*/ 29 w 86"/>
                <a:gd name="T7" fmla="*/ 48 h 48"/>
                <a:gd name="T8" fmla="*/ 38 w 86"/>
                <a:gd name="T9" fmla="*/ 48 h 48"/>
                <a:gd name="T10" fmla="*/ 48 w 86"/>
                <a:gd name="T11" fmla="*/ 48 h 48"/>
                <a:gd name="T12" fmla="*/ 48 w 86"/>
                <a:gd name="T13" fmla="*/ 38 h 48"/>
                <a:gd name="T14" fmla="*/ 57 w 86"/>
                <a:gd name="T15" fmla="*/ 38 h 48"/>
                <a:gd name="T16" fmla="*/ 67 w 86"/>
                <a:gd name="T17" fmla="*/ 38 h 48"/>
                <a:gd name="T18" fmla="*/ 76 w 86"/>
                <a:gd name="T19" fmla="*/ 29 h 48"/>
                <a:gd name="T20" fmla="*/ 76 w 86"/>
                <a:gd name="T21" fmla="*/ 19 h 48"/>
                <a:gd name="T22" fmla="*/ 76 w 86"/>
                <a:gd name="T23" fmla="*/ 9 h 48"/>
                <a:gd name="T24" fmla="*/ 86 w 86"/>
                <a:gd name="T25" fmla="*/ 9 h 48"/>
                <a:gd name="T26" fmla="*/ 57 w 86"/>
                <a:gd name="T27" fmla="*/ 0 h 48"/>
                <a:gd name="T28" fmla="*/ 57 w 86"/>
                <a:gd name="T29" fmla="*/ 0 h 48"/>
                <a:gd name="T30" fmla="*/ 38 w 86"/>
                <a:gd name="T31" fmla="*/ 9 h 48"/>
                <a:gd name="T32" fmla="*/ 29 w 86"/>
                <a:gd name="T33" fmla="*/ 9 h 48"/>
                <a:gd name="T34" fmla="*/ 10 w 86"/>
                <a:gd name="T35" fmla="*/ 0 h 48"/>
                <a:gd name="T36" fmla="*/ 0 w 86"/>
                <a:gd name="T37" fmla="*/ 0 h 48"/>
                <a:gd name="T38" fmla="*/ 0 w 86"/>
                <a:gd name="T39" fmla="*/ 9 h 48"/>
                <a:gd name="T40" fmla="*/ 0 w 86"/>
                <a:gd name="T41" fmla="*/ 19 h 48"/>
                <a:gd name="T42" fmla="*/ 0 w 86"/>
                <a:gd name="T43" fmla="*/ 29 h 48"/>
                <a:gd name="T44" fmla="*/ 0 w 86"/>
                <a:gd name="T45" fmla="*/ 38 h 48"/>
                <a:gd name="T46" fmla="*/ 0 w 86"/>
                <a:gd name="T47" fmla="*/ 48 h 4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6"/>
                <a:gd name="T73" fmla="*/ 0 h 48"/>
                <a:gd name="T74" fmla="*/ 86 w 86"/>
                <a:gd name="T75" fmla="*/ 48 h 4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6" h="48">
                  <a:moveTo>
                    <a:pt x="0" y="48"/>
                  </a:moveTo>
                  <a:lnTo>
                    <a:pt x="10" y="48"/>
                  </a:lnTo>
                  <a:lnTo>
                    <a:pt x="19" y="48"/>
                  </a:lnTo>
                  <a:lnTo>
                    <a:pt x="29" y="48"/>
                  </a:lnTo>
                  <a:lnTo>
                    <a:pt x="38" y="48"/>
                  </a:lnTo>
                  <a:lnTo>
                    <a:pt x="48" y="48"/>
                  </a:lnTo>
                  <a:lnTo>
                    <a:pt x="48" y="38"/>
                  </a:lnTo>
                  <a:lnTo>
                    <a:pt x="57" y="38"/>
                  </a:lnTo>
                  <a:lnTo>
                    <a:pt x="67" y="38"/>
                  </a:lnTo>
                  <a:lnTo>
                    <a:pt x="76" y="29"/>
                  </a:lnTo>
                  <a:lnTo>
                    <a:pt x="76" y="19"/>
                  </a:lnTo>
                  <a:lnTo>
                    <a:pt x="76" y="9"/>
                  </a:lnTo>
                  <a:lnTo>
                    <a:pt x="86" y="9"/>
                  </a:lnTo>
                  <a:lnTo>
                    <a:pt x="57" y="0"/>
                  </a:lnTo>
                  <a:lnTo>
                    <a:pt x="38" y="9"/>
                  </a:lnTo>
                  <a:lnTo>
                    <a:pt x="29" y="9"/>
                  </a:lnTo>
                  <a:lnTo>
                    <a:pt x="10" y="0"/>
                  </a:lnTo>
                  <a:lnTo>
                    <a:pt x="0" y="0"/>
                  </a:lnTo>
                  <a:lnTo>
                    <a:pt x="0" y="9"/>
                  </a:lnTo>
                  <a:lnTo>
                    <a:pt x="0" y="19"/>
                  </a:lnTo>
                  <a:lnTo>
                    <a:pt x="0" y="29"/>
                  </a:lnTo>
                  <a:lnTo>
                    <a:pt x="0" y="38"/>
                  </a:lnTo>
                  <a:lnTo>
                    <a:pt x="0" y="4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85" name="Freeform 264">
              <a:extLst>
                <a:ext uri="{FF2B5EF4-FFF2-40B4-BE49-F238E27FC236}">
                  <a16:creationId xmlns:a16="http://schemas.microsoft.com/office/drawing/2014/main" id="{AEC81F6F-D00C-430E-8A6B-A601FC3E4C53}"/>
                </a:ext>
              </a:extLst>
            </p:cNvPr>
            <p:cNvSpPr>
              <a:spLocks/>
            </p:cNvSpPr>
            <p:nvPr/>
          </p:nvSpPr>
          <p:spPr bwMode="gray">
            <a:xfrm>
              <a:off x="3075" y="2242"/>
              <a:ext cx="38" cy="29"/>
            </a:xfrm>
            <a:custGeom>
              <a:avLst/>
              <a:gdLst>
                <a:gd name="T0" fmla="*/ 0 w 38"/>
                <a:gd name="T1" fmla="*/ 0 h 29"/>
                <a:gd name="T2" fmla="*/ 9 w 38"/>
                <a:gd name="T3" fmla="*/ 0 h 29"/>
                <a:gd name="T4" fmla="*/ 19 w 38"/>
                <a:gd name="T5" fmla="*/ 0 h 29"/>
                <a:gd name="T6" fmla="*/ 38 w 38"/>
                <a:gd name="T7" fmla="*/ 19 h 29"/>
                <a:gd name="T8" fmla="*/ 38 w 38"/>
                <a:gd name="T9" fmla="*/ 19 h 29"/>
                <a:gd name="T10" fmla="*/ 28 w 38"/>
                <a:gd name="T11" fmla="*/ 19 h 29"/>
                <a:gd name="T12" fmla="*/ 19 w 38"/>
                <a:gd name="T13" fmla="*/ 19 h 29"/>
                <a:gd name="T14" fmla="*/ 19 w 38"/>
                <a:gd name="T15" fmla="*/ 19 h 29"/>
                <a:gd name="T16" fmla="*/ 9 w 38"/>
                <a:gd name="T17" fmla="*/ 29 h 29"/>
                <a:gd name="T18" fmla="*/ 0 w 38"/>
                <a:gd name="T19" fmla="*/ 29 h 29"/>
                <a:gd name="T20" fmla="*/ 0 w 38"/>
                <a:gd name="T21" fmla="*/ 29 h 29"/>
                <a:gd name="T22" fmla="*/ 0 w 38"/>
                <a:gd name="T23" fmla="*/ 29 h 29"/>
                <a:gd name="T24" fmla="*/ 0 w 38"/>
                <a:gd name="T25" fmla="*/ 19 h 29"/>
                <a:gd name="T26" fmla="*/ 9 w 38"/>
                <a:gd name="T27" fmla="*/ 19 h 29"/>
                <a:gd name="T28" fmla="*/ 9 w 38"/>
                <a:gd name="T29" fmla="*/ 10 h 29"/>
                <a:gd name="T30" fmla="*/ 0 w 38"/>
                <a:gd name="T31" fmla="*/ 0 h 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29"/>
                <a:gd name="T50" fmla="*/ 38 w 38"/>
                <a:gd name="T51" fmla="*/ 29 h 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29">
                  <a:moveTo>
                    <a:pt x="0" y="0"/>
                  </a:moveTo>
                  <a:lnTo>
                    <a:pt x="9" y="0"/>
                  </a:lnTo>
                  <a:lnTo>
                    <a:pt x="19" y="0"/>
                  </a:lnTo>
                  <a:lnTo>
                    <a:pt x="38" y="19"/>
                  </a:lnTo>
                  <a:lnTo>
                    <a:pt x="28" y="19"/>
                  </a:lnTo>
                  <a:lnTo>
                    <a:pt x="19" y="19"/>
                  </a:lnTo>
                  <a:lnTo>
                    <a:pt x="9" y="29"/>
                  </a:lnTo>
                  <a:lnTo>
                    <a:pt x="0" y="29"/>
                  </a:lnTo>
                  <a:lnTo>
                    <a:pt x="0" y="19"/>
                  </a:lnTo>
                  <a:lnTo>
                    <a:pt x="9" y="19"/>
                  </a:lnTo>
                  <a:lnTo>
                    <a:pt x="9"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86" name="Freeform 265">
              <a:extLst>
                <a:ext uri="{FF2B5EF4-FFF2-40B4-BE49-F238E27FC236}">
                  <a16:creationId xmlns:a16="http://schemas.microsoft.com/office/drawing/2014/main" id="{A71D5C6A-7951-4131-AF7E-C653AEE4648B}"/>
                </a:ext>
              </a:extLst>
            </p:cNvPr>
            <p:cNvSpPr>
              <a:spLocks/>
            </p:cNvSpPr>
            <p:nvPr/>
          </p:nvSpPr>
          <p:spPr bwMode="gray">
            <a:xfrm>
              <a:off x="3075" y="2242"/>
              <a:ext cx="38" cy="29"/>
            </a:xfrm>
            <a:custGeom>
              <a:avLst/>
              <a:gdLst>
                <a:gd name="T0" fmla="*/ 0 w 38"/>
                <a:gd name="T1" fmla="*/ 0 h 29"/>
                <a:gd name="T2" fmla="*/ 9 w 38"/>
                <a:gd name="T3" fmla="*/ 0 h 29"/>
                <a:gd name="T4" fmla="*/ 19 w 38"/>
                <a:gd name="T5" fmla="*/ 0 h 29"/>
                <a:gd name="T6" fmla="*/ 38 w 38"/>
                <a:gd name="T7" fmla="*/ 19 h 29"/>
                <a:gd name="T8" fmla="*/ 38 w 38"/>
                <a:gd name="T9" fmla="*/ 19 h 29"/>
                <a:gd name="T10" fmla="*/ 28 w 38"/>
                <a:gd name="T11" fmla="*/ 19 h 29"/>
                <a:gd name="T12" fmla="*/ 19 w 38"/>
                <a:gd name="T13" fmla="*/ 19 h 29"/>
                <a:gd name="T14" fmla="*/ 19 w 38"/>
                <a:gd name="T15" fmla="*/ 19 h 29"/>
                <a:gd name="T16" fmla="*/ 9 w 38"/>
                <a:gd name="T17" fmla="*/ 29 h 29"/>
                <a:gd name="T18" fmla="*/ 0 w 38"/>
                <a:gd name="T19" fmla="*/ 29 h 29"/>
                <a:gd name="T20" fmla="*/ 0 w 38"/>
                <a:gd name="T21" fmla="*/ 29 h 29"/>
                <a:gd name="T22" fmla="*/ 0 w 38"/>
                <a:gd name="T23" fmla="*/ 29 h 29"/>
                <a:gd name="T24" fmla="*/ 0 w 38"/>
                <a:gd name="T25" fmla="*/ 19 h 29"/>
                <a:gd name="T26" fmla="*/ 9 w 38"/>
                <a:gd name="T27" fmla="*/ 19 h 29"/>
                <a:gd name="T28" fmla="*/ 9 w 38"/>
                <a:gd name="T29" fmla="*/ 10 h 29"/>
                <a:gd name="T30" fmla="*/ 0 w 38"/>
                <a:gd name="T31" fmla="*/ 0 h 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29"/>
                <a:gd name="T50" fmla="*/ 38 w 38"/>
                <a:gd name="T51" fmla="*/ 29 h 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29">
                  <a:moveTo>
                    <a:pt x="0" y="0"/>
                  </a:moveTo>
                  <a:lnTo>
                    <a:pt x="9" y="0"/>
                  </a:lnTo>
                  <a:lnTo>
                    <a:pt x="19" y="0"/>
                  </a:lnTo>
                  <a:lnTo>
                    <a:pt x="38" y="19"/>
                  </a:lnTo>
                  <a:lnTo>
                    <a:pt x="28" y="19"/>
                  </a:lnTo>
                  <a:lnTo>
                    <a:pt x="19" y="19"/>
                  </a:lnTo>
                  <a:lnTo>
                    <a:pt x="9" y="29"/>
                  </a:lnTo>
                  <a:lnTo>
                    <a:pt x="0" y="29"/>
                  </a:lnTo>
                  <a:lnTo>
                    <a:pt x="0" y="19"/>
                  </a:lnTo>
                  <a:lnTo>
                    <a:pt x="9" y="19"/>
                  </a:lnTo>
                  <a:lnTo>
                    <a:pt x="9"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87" name="Freeform 266">
              <a:extLst>
                <a:ext uri="{FF2B5EF4-FFF2-40B4-BE49-F238E27FC236}">
                  <a16:creationId xmlns:a16="http://schemas.microsoft.com/office/drawing/2014/main" id="{FD2F68C7-16D9-4221-9941-6E4A92021C9C}"/>
                </a:ext>
              </a:extLst>
            </p:cNvPr>
            <p:cNvSpPr>
              <a:spLocks/>
            </p:cNvSpPr>
            <p:nvPr/>
          </p:nvSpPr>
          <p:spPr bwMode="gray">
            <a:xfrm>
              <a:off x="2989" y="2242"/>
              <a:ext cx="95" cy="95"/>
            </a:xfrm>
            <a:custGeom>
              <a:avLst/>
              <a:gdLst>
                <a:gd name="T0" fmla="*/ 95 w 95"/>
                <a:gd name="T1" fmla="*/ 19 h 95"/>
                <a:gd name="T2" fmla="*/ 86 w 95"/>
                <a:gd name="T3" fmla="*/ 0 h 95"/>
                <a:gd name="T4" fmla="*/ 76 w 95"/>
                <a:gd name="T5" fmla="*/ 10 h 95"/>
                <a:gd name="T6" fmla="*/ 57 w 95"/>
                <a:gd name="T7" fmla="*/ 10 h 95"/>
                <a:gd name="T8" fmla="*/ 38 w 95"/>
                <a:gd name="T9" fmla="*/ 10 h 95"/>
                <a:gd name="T10" fmla="*/ 29 w 95"/>
                <a:gd name="T11" fmla="*/ 19 h 95"/>
                <a:gd name="T12" fmla="*/ 10 w 95"/>
                <a:gd name="T13" fmla="*/ 29 h 95"/>
                <a:gd name="T14" fmla="*/ 0 w 95"/>
                <a:gd name="T15" fmla="*/ 38 h 95"/>
                <a:gd name="T16" fmla="*/ 10 w 95"/>
                <a:gd name="T17" fmla="*/ 57 h 95"/>
                <a:gd name="T18" fmla="*/ 19 w 95"/>
                <a:gd name="T19" fmla="*/ 67 h 95"/>
                <a:gd name="T20" fmla="*/ 38 w 95"/>
                <a:gd name="T21" fmla="*/ 67 h 95"/>
                <a:gd name="T22" fmla="*/ 29 w 95"/>
                <a:gd name="T23" fmla="*/ 67 h 95"/>
                <a:gd name="T24" fmla="*/ 19 w 95"/>
                <a:gd name="T25" fmla="*/ 76 h 95"/>
                <a:gd name="T26" fmla="*/ 19 w 95"/>
                <a:gd name="T27" fmla="*/ 86 h 95"/>
                <a:gd name="T28" fmla="*/ 29 w 95"/>
                <a:gd name="T29" fmla="*/ 95 h 95"/>
                <a:gd name="T30" fmla="*/ 38 w 95"/>
                <a:gd name="T31" fmla="*/ 95 h 95"/>
                <a:gd name="T32" fmla="*/ 38 w 95"/>
                <a:gd name="T33" fmla="*/ 86 h 95"/>
                <a:gd name="T34" fmla="*/ 38 w 95"/>
                <a:gd name="T35" fmla="*/ 86 h 95"/>
                <a:gd name="T36" fmla="*/ 48 w 95"/>
                <a:gd name="T37" fmla="*/ 76 h 95"/>
                <a:gd name="T38" fmla="*/ 57 w 95"/>
                <a:gd name="T39" fmla="*/ 67 h 95"/>
                <a:gd name="T40" fmla="*/ 38 w 95"/>
                <a:gd name="T41" fmla="*/ 57 h 95"/>
                <a:gd name="T42" fmla="*/ 29 w 95"/>
                <a:gd name="T43" fmla="*/ 38 h 95"/>
                <a:gd name="T44" fmla="*/ 38 w 95"/>
                <a:gd name="T45" fmla="*/ 29 h 95"/>
                <a:gd name="T46" fmla="*/ 38 w 95"/>
                <a:gd name="T47" fmla="*/ 29 h 95"/>
                <a:gd name="T48" fmla="*/ 48 w 95"/>
                <a:gd name="T49" fmla="*/ 38 h 95"/>
                <a:gd name="T50" fmla="*/ 48 w 95"/>
                <a:gd name="T51" fmla="*/ 29 h 95"/>
                <a:gd name="T52" fmla="*/ 57 w 95"/>
                <a:gd name="T53" fmla="*/ 38 h 95"/>
                <a:gd name="T54" fmla="*/ 57 w 95"/>
                <a:gd name="T55" fmla="*/ 38 h 95"/>
                <a:gd name="T56" fmla="*/ 57 w 95"/>
                <a:gd name="T57" fmla="*/ 29 h 95"/>
                <a:gd name="T58" fmla="*/ 57 w 95"/>
                <a:gd name="T59" fmla="*/ 19 h 95"/>
                <a:gd name="T60" fmla="*/ 67 w 95"/>
                <a:gd name="T61" fmla="*/ 19 h 95"/>
                <a:gd name="T62" fmla="*/ 86 w 95"/>
                <a:gd name="T63" fmla="*/ 19 h 9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95"/>
                <a:gd name="T98" fmla="*/ 95 w 95"/>
                <a:gd name="T99" fmla="*/ 95 h 9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95">
                  <a:moveTo>
                    <a:pt x="86" y="19"/>
                  </a:moveTo>
                  <a:lnTo>
                    <a:pt x="95" y="19"/>
                  </a:lnTo>
                  <a:lnTo>
                    <a:pt x="95" y="10"/>
                  </a:lnTo>
                  <a:lnTo>
                    <a:pt x="86" y="0"/>
                  </a:lnTo>
                  <a:lnTo>
                    <a:pt x="86" y="10"/>
                  </a:lnTo>
                  <a:lnTo>
                    <a:pt x="76" y="10"/>
                  </a:lnTo>
                  <a:lnTo>
                    <a:pt x="67" y="10"/>
                  </a:lnTo>
                  <a:lnTo>
                    <a:pt x="57" y="10"/>
                  </a:lnTo>
                  <a:lnTo>
                    <a:pt x="48" y="10"/>
                  </a:lnTo>
                  <a:lnTo>
                    <a:pt x="38" y="10"/>
                  </a:lnTo>
                  <a:lnTo>
                    <a:pt x="29" y="19"/>
                  </a:lnTo>
                  <a:lnTo>
                    <a:pt x="10" y="19"/>
                  </a:lnTo>
                  <a:lnTo>
                    <a:pt x="10" y="29"/>
                  </a:lnTo>
                  <a:lnTo>
                    <a:pt x="10" y="38"/>
                  </a:lnTo>
                  <a:lnTo>
                    <a:pt x="0" y="38"/>
                  </a:lnTo>
                  <a:lnTo>
                    <a:pt x="0" y="48"/>
                  </a:lnTo>
                  <a:lnTo>
                    <a:pt x="10" y="57"/>
                  </a:lnTo>
                  <a:lnTo>
                    <a:pt x="19" y="67"/>
                  </a:lnTo>
                  <a:lnTo>
                    <a:pt x="29" y="67"/>
                  </a:lnTo>
                  <a:lnTo>
                    <a:pt x="38" y="67"/>
                  </a:lnTo>
                  <a:lnTo>
                    <a:pt x="29" y="67"/>
                  </a:lnTo>
                  <a:lnTo>
                    <a:pt x="19" y="67"/>
                  </a:lnTo>
                  <a:lnTo>
                    <a:pt x="19" y="76"/>
                  </a:lnTo>
                  <a:lnTo>
                    <a:pt x="19" y="86"/>
                  </a:lnTo>
                  <a:lnTo>
                    <a:pt x="19" y="95"/>
                  </a:lnTo>
                  <a:lnTo>
                    <a:pt x="29" y="95"/>
                  </a:lnTo>
                  <a:lnTo>
                    <a:pt x="38" y="95"/>
                  </a:lnTo>
                  <a:lnTo>
                    <a:pt x="48" y="95"/>
                  </a:lnTo>
                  <a:lnTo>
                    <a:pt x="38" y="86"/>
                  </a:lnTo>
                  <a:lnTo>
                    <a:pt x="48" y="86"/>
                  </a:lnTo>
                  <a:lnTo>
                    <a:pt x="48" y="76"/>
                  </a:lnTo>
                  <a:lnTo>
                    <a:pt x="57" y="76"/>
                  </a:lnTo>
                  <a:lnTo>
                    <a:pt x="57" y="67"/>
                  </a:lnTo>
                  <a:lnTo>
                    <a:pt x="48" y="67"/>
                  </a:lnTo>
                  <a:lnTo>
                    <a:pt x="38" y="57"/>
                  </a:lnTo>
                  <a:lnTo>
                    <a:pt x="38" y="48"/>
                  </a:lnTo>
                  <a:lnTo>
                    <a:pt x="29" y="38"/>
                  </a:lnTo>
                  <a:lnTo>
                    <a:pt x="29" y="29"/>
                  </a:lnTo>
                  <a:lnTo>
                    <a:pt x="38" y="29"/>
                  </a:lnTo>
                  <a:lnTo>
                    <a:pt x="48" y="38"/>
                  </a:lnTo>
                  <a:lnTo>
                    <a:pt x="48" y="29"/>
                  </a:lnTo>
                  <a:lnTo>
                    <a:pt x="48" y="38"/>
                  </a:lnTo>
                  <a:lnTo>
                    <a:pt x="57" y="38"/>
                  </a:lnTo>
                  <a:lnTo>
                    <a:pt x="57" y="29"/>
                  </a:lnTo>
                  <a:lnTo>
                    <a:pt x="57" y="19"/>
                  </a:lnTo>
                  <a:lnTo>
                    <a:pt x="67" y="19"/>
                  </a:lnTo>
                  <a:lnTo>
                    <a:pt x="76" y="19"/>
                  </a:lnTo>
                  <a:lnTo>
                    <a:pt x="86"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88" name="Freeform 267">
              <a:extLst>
                <a:ext uri="{FF2B5EF4-FFF2-40B4-BE49-F238E27FC236}">
                  <a16:creationId xmlns:a16="http://schemas.microsoft.com/office/drawing/2014/main" id="{E5303B04-026C-4D10-B57D-EC9850833F83}"/>
                </a:ext>
              </a:extLst>
            </p:cNvPr>
            <p:cNvSpPr>
              <a:spLocks/>
            </p:cNvSpPr>
            <p:nvPr/>
          </p:nvSpPr>
          <p:spPr bwMode="gray">
            <a:xfrm>
              <a:off x="2989" y="2242"/>
              <a:ext cx="95" cy="95"/>
            </a:xfrm>
            <a:custGeom>
              <a:avLst/>
              <a:gdLst>
                <a:gd name="T0" fmla="*/ 95 w 95"/>
                <a:gd name="T1" fmla="*/ 19 h 95"/>
                <a:gd name="T2" fmla="*/ 86 w 95"/>
                <a:gd name="T3" fmla="*/ 0 h 95"/>
                <a:gd name="T4" fmla="*/ 76 w 95"/>
                <a:gd name="T5" fmla="*/ 10 h 95"/>
                <a:gd name="T6" fmla="*/ 57 w 95"/>
                <a:gd name="T7" fmla="*/ 10 h 95"/>
                <a:gd name="T8" fmla="*/ 38 w 95"/>
                <a:gd name="T9" fmla="*/ 10 h 95"/>
                <a:gd name="T10" fmla="*/ 29 w 95"/>
                <a:gd name="T11" fmla="*/ 19 h 95"/>
                <a:gd name="T12" fmla="*/ 10 w 95"/>
                <a:gd name="T13" fmla="*/ 29 h 95"/>
                <a:gd name="T14" fmla="*/ 0 w 95"/>
                <a:gd name="T15" fmla="*/ 38 h 95"/>
                <a:gd name="T16" fmla="*/ 10 w 95"/>
                <a:gd name="T17" fmla="*/ 57 h 95"/>
                <a:gd name="T18" fmla="*/ 19 w 95"/>
                <a:gd name="T19" fmla="*/ 67 h 95"/>
                <a:gd name="T20" fmla="*/ 38 w 95"/>
                <a:gd name="T21" fmla="*/ 67 h 95"/>
                <a:gd name="T22" fmla="*/ 29 w 95"/>
                <a:gd name="T23" fmla="*/ 67 h 95"/>
                <a:gd name="T24" fmla="*/ 19 w 95"/>
                <a:gd name="T25" fmla="*/ 76 h 95"/>
                <a:gd name="T26" fmla="*/ 19 w 95"/>
                <a:gd name="T27" fmla="*/ 86 h 95"/>
                <a:gd name="T28" fmla="*/ 29 w 95"/>
                <a:gd name="T29" fmla="*/ 95 h 95"/>
                <a:gd name="T30" fmla="*/ 38 w 95"/>
                <a:gd name="T31" fmla="*/ 95 h 95"/>
                <a:gd name="T32" fmla="*/ 38 w 95"/>
                <a:gd name="T33" fmla="*/ 86 h 95"/>
                <a:gd name="T34" fmla="*/ 38 w 95"/>
                <a:gd name="T35" fmla="*/ 86 h 95"/>
                <a:gd name="T36" fmla="*/ 48 w 95"/>
                <a:gd name="T37" fmla="*/ 76 h 95"/>
                <a:gd name="T38" fmla="*/ 57 w 95"/>
                <a:gd name="T39" fmla="*/ 67 h 95"/>
                <a:gd name="T40" fmla="*/ 38 w 95"/>
                <a:gd name="T41" fmla="*/ 57 h 95"/>
                <a:gd name="T42" fmla="*/ 29 w 95"/>
                <a:gd name="T43" fmla="*/ 38 h 95"/>
                <a:gd name="T44" fmla="*/ 38 w 95"/>
                <a:gd name="T45" fmla="*/ 29 h 95"/>
                <a:gd name="T46" fmla="*/ 38 w 95"/>
                <a:gd name="T47" fmla="*/ 29 h 95"/>
                <a:gd name="T48" fmla="*/ 48 w 95"/>
                <a:gd name="T49" fmla="*/ 38 h 95"/>
                <a:gd name="T50" fmla="*/ 48 w 95"/>
                <a:gd name="T51" fmla="*/ 29 h 95"/>
                <a:gd name="T52" fmla="*/ 57 w 95"/>
                <a:gd name="T53" fmla="*/ 38 h 95"/>
                <a:gd name="T54" fmla="*/ 57 w 95"/>
                <a:gd name="T55" fmla="*/ 38 h 95"/>
                <a:gd name="T56" fmla="*/ 57 w 95"/>
                <a:gd name="T57" fmla="*/ 29 h 95"/>
                <a:gd name="T58" fmla="*/ 57 w 95"/>
                <a:gd name="T59" fmla="*/ 19 h 95"/>
                <a:gd name="T60" fmla="*/ 67 w 95"/>
                <a:gd name="T61" fmla="*/ 19 h 95"/>
                <a:gd name="T62" fmla="*/ 86 w 95"/>
                <a:gd name="T63" fmla="*/ 19 h 9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95"/>
                <a:gd name="T98" fmla="*/ 95 w 95"/>
                <a:gd name="T99" fmla="*/ 95 h 9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95">
                  <a:moveTo>
                    <a:pt x="86" y="19"/>
                  </a:moveTo>
                  <a:lnTo>
                    <a:pt x="95" y="19"/>
                  </a:lnTo>
                  <a:lnTo>
                    <a:pt x="95" y="10"/>
                  </a:lnTo>
                  <a:lnTo>
                    <a:pt x="86" y="0"/>
                  </a:lnTo>
                  <a:lnTo>
                    <a:pt x="86" y="10"/>
                  </a:lnTo>
                  <a:lnTo>
                    <a:pt x="76" y="10"/>
                  </a:lnTo>
                  <a:lnTo>
                    <a:pt x="67" y="10"/>
                  </a:lnTo>
                  <a:lnTo>
                    <a:pt x="57" y="10"/>
                  </a:lnTo>
                  <a:lnTo>
                    <a:pt x="48" y="10"/>
                  </a:lnTo>
                  <a:lnTo>
                    <a:pt x="38" y="10"/>
                  </a:lnTo>
                  <a:lnTo>
                    <a:pt x="29" y="19"/>
                  </a:lnTo>
                  <a:lnTo>
                    <a:pt x="10" y="19"/>
                  </a:lnTo>
                  <a:lnTo>
                    <a:pt x="10" y="29"/>
                  </a:lnTo>
                  <a:lnTo>
                    <a:pt x="10" y="38"/>
                  </a:lnTo>
                  <a:lnTo>
                    <a:pt x="0" y="38"/>
                  </a:lnTo>
                  <a:lnTo>
                    <a:pt x="0" y="48"/>
                  </a:lnTo>
                  <a:lnTo>
                    <a:pt x="10" y="57"/>
                  </a:lnTo>
                  <a:lnTo>
                    <a:pt x="19" y="67"/>
                  </a:lnTo>
                  <a:lnTo>
                    <a:pt x="29" y="67"/>
                  </a:lnTo>
                  <a:lnTo>
                    <a:pt x="38" y="67"/>
                  </a:lnTo>
                  <a:lnTo>
                    <a:pt x="29" y="67"/>
                  </a:lnTo>
                  <a:lnTo>
                    <a:pt x="19" y="67"/>
                  </a:lnTo>
                  <a:lnTo>
                    <a:pt x="19" y="76"/>
                  </a:lnTo>
                  <a:lnTo>
                    <a:pt x="19" y="86"/>
                  </a:lnTo>
                  <a:lnTo>
                    <a:pt x="19" y="95"/>
                  </a:lnTo>
                  <a:lnTo>
                    <a:pt x="29" y="95"/>
                  </a:lnTo>
                  <a:lnTo>
                    <a:pt x="38" y="95"/>
                  </a:lnTo>
                  <a:lnTo>
                    <a:pt x="48" y="95"/>
                  </a:lnTo>
                  <a:lnTo>
                    <a:pt x="38" y="86"/>
                  </a:lnTo>
                  <a:lnTo>
                    <a:pt x="48" y="86"/>
                  </a:lnTo>
                  <a:lnTo>
                    <a:pt x="48" y="76"/>
                  </a:lnTo>
                  <a:lnTo>
                    <a:pt x="57" y="76"/>
                  </a:lnTo>
                  <a:lnTo>
                    <a:pt x="57" y="67"/>
                  </a:lnTo>
                  <a:lnTo>
                    <a:pt x="48" y="67"/>
                  </a:lnTo>
                  <a:lnTo>
                    <a:pt x="38" y="57"/>
                  </a:lnTo>
                  <a:lnTo>
                    <a:pt x="38" y="48"/>
                  </a:lnTo>
                  <a:lnTo>
                    <a:pt x="29" y="38"/>
                  </a:lnTo>
                  <a:lnTo>
                    <a:pt x="29" y="29"/>
                  </a:lnTo>
                  <a:lnTo>
                    <a:pt x="38" y="29"/>
                  </a:lnTo>
                  <a:lnTo>
                    <a:pt x="48" y="38"/>
                  </a:lnTo>
                  <a:lnTo>
                    <a:pt x="48" y="29"/>
                  </a:lnTo>
                  <a:lnTo>
                    <a:pt x="48" y="38"/>
                  </a:lnTo>
                  <a:lnTo>
                    <a:pt x="57" y="38"/>
                  </a:lnTo>
                  <a:lnTo>
                    <a:pt x="57" y="29"/>
                  </a:lnTo>
                  <a:lnTo>
                    <a:pt x="57" y="19"/>
                  </a:lnTo>
                  <a:lnTo>
                    <a:pt x="67" y="19"/>
                  </a:lnTo>
                  <a:lnTo>
                    <a:pt x="76" y="19"/>
                  </a:lnTo>
                  <a:lnTo>
                    <a:pt x="86"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89" name="Freeform 268">
              <a:extLst>
                <a:ext uri="{FF2B5EF4-FFF2-40B4-BE49-F238E27FC236}">
                  <a16:creationId xmlns:a16="http://schemas.microsoft.com/office/drawing/2014/main" id="{46345931-E585-4C53-A12A-DA6C5EF17E08}"/>
                </a:ext>
              </a:extLst>
            </p:cNvPr>
            <p:cNvSpPr>
              <a:spLocks/>
            </p:cNvSpPr>
            <p:nvPr/>
          </p:nvSpPr>
          <p:spPr bwMode="gray">
            <a:xfrm>
              <a:off x="2989" y="2128"/>
              <a:ext cx="133" cy="85"/>
            </a:xfrm>
            <a:custGeom>
              <a:avLst/>
              <a:gdLst>
                <a:gd name="T0" fmla="*/ 38 w 133"/>
                <a:gd name="T1" fmla="*/ 76 h 85"/>
                <a:gd name="T2" fmla="*/ 48 w 133"/>
                <a:gd name="T3" fmla="*/ 76 h 85"/>
                <a:gd name="T4" fmla="*/ 67 w 133"/>
                <a:gd name="T5" fmla="*/ 85 h 85"/>
                <a:gd name="T6" fmla="*/ 76 w 133"/>
                <a:gd name="T7" fmla="*/ 85 h 85"/>
                <a:gd name="T8" fmla="*/ 95 w 133"/>
                <a:gd name="T9" fmla="*/ 76 h 85"/>
                <a:gd name="T10" fmla="*/ 95 w 133"/>
                <a:gd name="T11" fmla="*/ 76 h 85"/>
                <a:gd name="T12" fmla="*/ 114 w 133"/>
                <a:gd name="T13" fmla="*/ 85 h 85"/>
                <a:gd name="T14" fmla="*/ 124 w 133"/>
                <a:gd name="T15" fmla="*/ 66 h 85"/>
                <a:gd name="T16" fmla="*/ 133 w 133"/>
                <a:gd name="T17" fmla="*/ 57 h 85"/>
                <a:gd name="T18" fmla="*/ 133 w 133"/>
                <a:gd name="T19" fmla="*/ 47 h 85"/>
                <a:gd name="T20" fmla="*/ 124 w 133"/>
                <a:gd name="T21" fmla="*/ 47 h 85"/>
                <a:gd name="T22" fmla="*/ 114 w 133"/>
                <a:gd name="T23" fmla="*/ 47 h 85"/>
                <a:gd name="T24" fmla="*/ 114 w 133"/>
                <a:gd name="T25" fmla="*/ 38 h 85"/>
                <a:gd name="T26" fmla="*/ 114 w 133"/>
                <a:gd name="T27" fmla="*/ 28 h 85"/>
                <a:gd name="T28" fmla="*/ 105 w 133"/>
                <a:gd name="T29" fmla="*/ 9 h 85"/>
                <a:gd name="T30" fmla="*/ 95 w 133"/>
                <a:gd name="T31" fmla="*/ 0 h 85"/>
                <a:gd name="T32" fmla="*/ 86 w 133"/>
                <a:gd name="T33" fmla="*/ 0 h 85"/>
                <a:gd name="T34" fmla="*/ 76 w 133"/>
                <a:gd name="T35" fmla="*/ 0 h 85"/>
                <a:gd name="T36" fmla="*/ 67 w 133"/>
                <a:gd name="T37" fmla="*/ 9 h 85"/>
                <a:gd name="T38" fmla="*/ 48 w 133"/>
                <a:gd name="T39" fmla="*/ 0 h 85"/>
                <a:gd name="T40" fmla="*/ 38 w 133"/>
                <a:gd name="T41" fmla="*/ 0 h 85"/>
                <a:gd name="T42" fmla="*/ 29 w 133"/>
                <a:gd name="T43" fmla="*/ 0 h 85"/>
                <a:gd name="T44" fmla="*/ 19 w 133"/>
                <a:gd name="T45" fmla="*/ 19 h 85"/>
                <a:gd name="T46" fmla="*/ 10 w 133"/>
                <a:gd name="T47" fmla="*/ 28 h 85"/>
                <a:gd name="T48" fmla="*/ 0 w 133"/>
                <a:gd name="T49" fmla="*/ 38 h 85"/>
                <a:gd name="T50" fmla="*/ 10 w 133"/>
                <a:gd name="T51" fmla="*/ 47 h 85"/>
                <a:gd name="T52" fmla="*/ 10 w 133"/>
                <a:gd name="T53" fmla="*/ 66 h 85"/>
                <a:gd name="T54" fmla="*/ 29 w 133"/>
                <a:gd name="T55" fmla="*/ 66 h 85"/>
                <a:gd name="T56" fmla="*/ 38 w 133"/>
                <a:gd name="T57" fmla="*/ 76 h 8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3"/>
                <a:gd name="T88" fmla="*/ 0 h 85"/>
                <a:gd name="T89" fmla="*/ 133 w 133"/>
                <a:gd name="T90" fmla="*/ 85 h 8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3" h="85">
                  <a:moveTo>
                    <a:pt x="38" y="76"/>
                  </a:moveTo>
                  <a:lnTo>
                    <a:pt x="48" y="76"/>
                  </a:lnTo>
                  <a:lnTo>
                    <a:pt x="67" y="85"/>
                  </a:lnTo>
                  <a:lnTo>
                    <a:pt x="76" y="85"/>
                  </a:lnTo>
                  <a:lnTo>
                    <a:pt x="95" y="76"/>
                  </a:lnTo>
                  <a:lnTo>
                    <a:pt x="114" y="85"/>
                  </a:lnTo>
                  <a:lnTo>
                    <a:pt x="124" y="66"/>
                  </a:lnTo>
                  <a:lnTo>
                    <a:pt x="133" y="57"/>
                  </a:lnTo>
                  <a:lnTo>
                    <a:pt x="133" y="47"/>
                  </a:lnTo>
                  <a:lnTo>
                    <a:pt x="124" y="47"/>
                  </a:lnTo>
                  <a:lnTo>
                    <a:pt x="114" y="47"/>
                  </a:lnTo>
                  <a:lnTo>
                    <a:pt x="114" y="38"/>
                  </a:lnTo>
                  <a:lnTo>
                    <a:pt x="114" y="28"/>
                  </a:lnTo>
                  <a:lnTo>
                    <a:pt x="105" y="9"/>
                  </a:lnTo>
                  <a:lnTo>
                    <a:pt x="95" y="0"/>
                  </a:lnTo>
                  <a:lnTo>
                    <a:pt x="86" y="0"/>
                  </a:lnTo>
                  <a:lnTo>
                    <a:pt x="76" y="0"/>
                  </a:lnTo>
                  <a:lnTo>
                    <a:pt x="67" y="9"/>
                  </a:lnTo>
                  <a:lnTo>
                    <a:pt x="48" y="0"/>
                  </a:lnTo>
                  <a:lnTo>
                    <a:pt x="38" y="0"/>
                  </a:lnTo>
                  <a:lnTo>
                    <a:pt x="29" y="0"/>
                  </a:lnTo>
                  <a:lnTo>
                    <a:pt x="19" y="19"/>
                  </a:lnTo>
                  <a:lnTo>
                    <a:pt x="10" y="28"/>
                  </a:lnTo>
                  <a:lnTo>
                    <a:pt x="0" y="38"/>
                  </a:lnTo>
                  <a:lnTo>
                    <a:pt x="10" y="47"/>
                  </a:lnTo>
                  <a:lnTo>
                    <a:pt x="10" y="66"/>
                  </a:lnTo>
                  <a:lnTo>
                    <a:pt x="29" y="66"/>
                  </a:lnTo>
                  <a:lnTo>
                    <a:pt x="38" y="76"/>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90" name="Freeform 269">
              <a:extLst>
                <a:ext uri="{FF2B5EF4-FFF2-40B4-BE49-F238E27FC236}">
                  <a16:creationId xmlns:a16="http://schemas.microsoft.com/office/drawing/2014/main" id="{325AD015-A4FC-4E3B-81B9-EDAA32DEB4D5}"/>
                </a:ext>
              </a:extLst>
            </p:cNvPr>
            <p:cNvSpPr>
              <a:spLocks/>
            </p:cNvSpPr>
            <p:nvPr/>
          </p:nvSpPr>
          <p:spPr bwMode="gray">
            <a:xfrm>
              <a:off x="3075" y="2118"/>
              <a:ext cx="57" cy="57"/>
            </a:xfrm>
            <a:custGeom>
              <a:avLst/>
              <a:gdLst>
                <a:gd name="T0" fmla="*/ 0 w 57"/>
                <a:gd name="T1" fmla="*/ 10 h 57"/>
                <a:gd name="T2" fmla="*/ 19 w 57"/>
                <a:gd name="T3" fmla="*/ 10 h 57"/>
                <a:gd name="T4" fmla="*/ 19 w 57"/>
                <a:gd name="T5" fmla="*/ 19 h 57"/>
                <a:gd name="T6" fmla="*/ 28 w 57"/>
                <a:gd name="T7" fmla="*/ 48 h 57"/>
                <a:gd name="T8" fmla="*/ 38 w 57"/>
                <a:gd name="T9" fmla="*/ 48 h 57"/>
                <a:gd name="T10" fmla="*/ 38 w 57"/>
                <a:gd name="T11" fmla="*/ 57 h 57"/>
                <a:gd name="T12" fmla="*/ 38 w 57"/>
                <a:gd name="T13" fmla="*/ 57 h 57"/>
                <a:gd name="T14" fmla="*/ 38 w 57"/>
                <a:gd name="T15" fmla="*/ 48 h 57"/>
                <a:gd name="T16" fmla="*/ 47 w 57"/>
                <a:gd name="T17" fmla="*/ 38 h 57"/>
                <a:gd name="T18" fmla="*/ 57 w 57"/>
                <a:gd name="T19" fmla="*/ 38 h 57"/>
                <a:gd name="T20" fmla="*/ 57 w 57"/>
                <a:gd name="T21" fmla="*/ 38 h 57"/>
                <a:gd name="T22" fmla="*/ 47 w 57"/>
                <a:gd name="T23" fmla="*/ 29 h 57"/>
                <a:gd name="T24" fmla="*/ 47 w 57"/>
                <a:gd name="T25" fmla="*/ 10 h 57"/>
                <a:gd name="T26" fmla="*/ 38 w 57"/>
                <a:gd name="T27" fmla="*/ 0 h 57"/>
                <a:gd name="T28" fmla="*/ 19 w 57"/>
                <a:gd name="T29" fmla="*/ 0 h 57"/>
                <a:gd name="T30" fmla="*/ 0 w 57"/>
                <a:gd name="T31" fmla="*/ 1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7"/>
                <a:gd name="T49" fmla="*/ 0 h 57"/>
                <a:gd name="T50" fmla="*/ 57 w 57"/>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7" h="57">
                  <a:moveTo>
                    <a:pt x="0" y="10"/>
                  </a:moveTo>
                  <a:lnTo>
                    <a:pt x="19" y="10"/>
                  </a:lnTo>
                  <a:lnTo>
                    <a:pt x="19" y="19"/>
                  </a:lnTo>
                  <a:lnTo>
                    <a:pt x="28" y="48"/>
                  </a:lnTo>
                  <a:lnTo>
                    <a:pt x="38" y="48"/>
                  </a:lnTo>
                  <a:lnTo>
                    <a:pt x="38" y="57"/>
                  </a:lnTo>
                  <a:lnTo>
                    <a:pt x="38" y="48"/>
                  </a:lnTo>
                  <a:lnTo>
                    <a:pt x="47" y="38"/>
                  </a:lnTo>
                  <a:lnTo>
                    <a:pt x="57" y="38"/>
                  </a:lnTo>
                  <a:lnTo>
                    <a:pt x="47" y="29"/>
                  </a:lnTo>
                  <a:lnTo>
                    <a:pt x="47" y="10"/>
                  </a:lnTo>
                  <a:lnTo>
                    <a:pt x="38" y="0"/>
                  </a:lnTo>
                  <a:lnTo>
                    <a:pt x="19" y="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91" name="Freeform 270">
              <a:extLst>
                <a:ext uri="{FF2B5EF4-FFF2-40B4-BE49-F238E27FC236}">
                  <a16:creationId xmlns:a16="http://schemas.microsoft.com/office/drawing/2014/main" id="{3ACBDBD8-6DED-4494-9DC7-50D1B8D0821A}"/>
                </a:ext>
              </a:extLst>
            </p:cNvPr>
            <p:cNvSpPr>
              <a:spLocks/>
            </p:cNvSpPr>
            <p:nvPr/>
          </p:nvSpPr>
          <p:spPr bwMode="gray">
            <a:xfrm>
              <a:off x="3075" y="2118"/>
              <a:ext cx="57" cy="57"/>
            </a:xfrm>
            <a:custGeom>
              <a:avLst/>
              <a:gdLst>
                <a:gd name="T0" fmla="*/ 0 w 57"/>
                <a:gd name="T1" fmla="*/ 10 h 57"/>
                <a:gd name="T2" fmla="*/ 19 w 57"/>
                <a:gd name="T3" fmla="*/ 10 h 57"/>
                <a:gd name="T4" fmla="*/ 19 w 57"/>
                <a:gd name="T5" fmla="*/ 19 h 57"/>
                <a:gd name="T6" fmla="*/ 28 w 57"/>
                <a:gd name="T7" fmla="*/ 48 h 57"/>
                <a:gd name="T8" fmla="*/ 38 w 57"/>
                <a:gd name="T9" fmla="*/ 48 h 57"/>
                <a:gd name="T10" fmla="*/ 38 w 57"/>
                <a:gd name="T11" fmla="*/ 57 h 57"/>
                <a:gd name="T12" fmla="*/ 38 w 57"/>
                <a:gd name="T13" fmla="*/ 57 h 57"/>
                <a:gd name="T14" fmla="*/ 38 w 57"/>
                <a:gd name="T15" fmla="*/ 48 h 57"/>
                <a:gd name="T16" fmla="*/ 47 w 57"/>
                <a:gd name="T17" fmla="*/ 38 h 57"/>
                <a:gd name="T18" fmla="*/ 57 w 57"/>
                <a:gd name="T19" fmla="*/ 38 h 57"/>
                <a:gd name="T20" fmla="*/ 57 w 57"/>
                <a:gd name="T21" fmla="*/ 38 h 57"/>
                <a:gd name="T22" fmla="*/ 47 w 57"/>
                <a:gd name="T23" fmla="*/ 29 h 57"/>
                <a:gd name="T24" fmla="*/ 47 w 57"/>
                <a:gd name="T25" fmla="*/ 10 h 57"/>
                <a:gd name="T26" fmla="*/ 38 w 57"/>
                <a:gd name="T27" fmla="*/ 0 h 57"/>
                <a:gd name="T28" fmla="*/ 19 w 57"/>
                <a:gd name="T29" fmla="*/ 0 h 57"/>
                <a:gd name="T30" fmla="*/ 0 w 57"/>
                <a:gd name="T31" fmla="*/ 1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7"/>
                <a:gd name="T49" fmla="*/ 0 h 57"/>
                <a:gd name="T50" fmla="*/ 57 w 57"/>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7" h="57">
                  <a:moveTo>
                    <a:pt x="0" y="10"/>
                  </a:moveTo>
                  <a:lnTo>
                    <a:pt x="19" y="10"/>
                  </a:lnTo>
                  <a:lnTo>
                    <a:pt x="19" y="19"/>
                  </a:lnTo>
                  <a:lnTo>
                    <a:pt x="28" y="48"/>
                  </a:lnTo>
                  <a:lnTo>
                    <a:pt x="38" y="48"/>
                  </a:lnTo>
                  <a:lnTo>
                    <a:pt x="38" y="57"/>
                  </a:lnTo>
                  <a:lnTo>
                    <a:pt x="38" y="48"/>
                  </a:lnTo>
                  <a:lnTo>
                    <a:pt x="47" y="38"/>
                  </a:lnTo>
                  <a:lnTo>
                    <a:pt x="57" y="38"/>
                  </a:lnTo>
                  <a:lnTo>
                    <a:pt x="47" y="29"/>
                  </a:lnTo>
                  <a:lnTo>
                    <a:pt x="47" y="10"/>
                  </a:lnTo>
                  <a:lnTo>
                    <a:pt x="38" y="0"/>
                  </a:lnTo>
                  <a:lnTo>
                    <a:pt x="19" y="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92" name="Freeform 271">
              <a:extLst>
                <a:ext uri="{FF2B5EF4-FFF2-40B4-BE49-F238E27FC236}">
                  <a16:creationId xmlns:a16="http://schemas.microsoft.com/office/drawing/2014/main" id="{C18DA605-8198-49A2-BE67-A2116559EB95}"/>
                </a:ext>
              </a:extLst>
            </p:cNvPr>
            <p:cNvSpPr>
              <a:spLocks/>
            </p:cNvSpPr>
            <p:nvPr/>
          </p:nvSpPr>
          <p:spPr bwMode="gray">
            <a:xfrm>
              <a:off x="3208" y="2347"/>
              <a:ext cx="19" cy="38"/>
            </a:xfrm>
            <a:custGeom>
              <a:avLst/>
              <a:gdLst>
                <a:gd name="T0" fmla="*/ 10 w 19"/>
                <a:gd name="T1" fmla="*/ 38 h 38"/>
                <a:gd name="T2" fmla="*/ 10 w 19"/>
                <a:gd name="T3" fmla="*/ 38 h 38"/>
                <a:gd name="T4" fmla="*/ 0 w 19"/>
                <a:gd name="T5" fmla="*/ 38 h 38"/>
                <a:gd name="T6" fmla="*/ 0 w 19"/>
                <a:gd name="T7" fmla="*/ 38 h 38"/>
                <a:gd name="T8" fmla="*/ 0 w 19"/>
                <a:gd name="T9" fmla="*/ 38 h 38"/>
                <a:gd name="T10" fmla="*/ 0 w 19"/>
                <a:gd name="T11" fmla="*/ 38 h 38"/>
                <a:gd name="T12" fmla="*/ 0 w 19"/>
                <a:gd name="T13" fmla="*/ 29 h 38"/>
                <a:gd name="T14" fmla="*/ 10 w 19"/>
                <a:gd name="T15" fmla="*/ 10 h 38"/>
                <a:gd name="T16" fmla="*/ 19 w 19"/>
                <a:gd name="T17" fmla="*/ 0 h 38"/>
                <a:gd name="T18" fmla="*/ 19 w 19"/>
                <a:gd name="T19" fmla="*/ 0 h 38"/>
                <a:gd name="T20" fmla="*/ 19 w 19"/>
                <a:gd name="T21" fmla="*/ 10 h 38"/>
                <a:gd name="T22" fmla="*/ 19 w 19"/>
                <a:gd name="T23" fmla="*/ 19 h 38"/>
                <a:gd name="T24" fmla="*/ 10 w 19"/>
                <a:gd name="T25" fmla="*/ 29 h 38"/>
                <a:gd name="T26" fmla="*/ 10 w 19"/>
                <a:gd name="T27" fmla="*/ 38 h 38"/>
                <a:gd name="T28" fmla="*/ 10 w 19"/>
                <a:gd name="T29" fmla="*/ 38 h 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38"/>
                <a:gd name="T47" fmla="*/ 19 w 19"/>
                <a:gd name="T48" fmla="*/ 38 h 3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38">
                  <a:moveTo>
                    <a:pt x="10" y="38"/>
                  </a:moveTo>
                  <a:lnTo>
                    <a:pt x="10" y="38"/>
                  </a:lnTo>
                  <a:lnTo>
                    <a:pt x="0" y="38"/>
                  </a:lnTo>
                  <a:lnTo>
                    <a:pt x="0" y="29"/>
                  </a:lnTo>
                  <a:lnTo>
                    <a:pt x="10" y="10"/>
                  </a:lnTo>
                  <a:lnTo>
                    <a:pt x="19" y="0"/>
                  </a:lnTo>
                  <a:lnTo>
                    <a:pt x="19" y="10"/>
                  </a:lnTo>
                  <a:lnTo>
                    <a:pt x="19" y="19"/>
                  </a:lnTo>
                  <a:lnTo>
                    <a:pt x="10" y="29"/>
                  </a:lnTo>
                  <a:lnTo>
                    <a:pt x="10"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93" name="Freeform 272">
              <a:extLst>
                <a:ext uri="{FF2B5EF4-FFF2-40B4-BE49-F238E27FC236}">
                  <a16:creationId xmlns:a16="http://schemas.microsoft.com/office/drawing/2014/main" id="{AAC04382-4114-485C-9E7F-B0F77CEA1E3F}"/>
                </a:ext>
              </a:extLst>
            </p:cNvPr>
            <p:cNvSpPr>
              <a:spLocks/>
            </p:cNvSpPr>
            <p:nvPr/>
          </p:nvSpPr>
          <p:spPr bwMode="gray">
            <a:xfrm>
              <a:off x="3208" y="2347"/>
              <a:ext cx="19" cy="38"/>
            </a:xfrm>
            <a:custGeom>
              <a:avLst/>
              <a:gdLst>
                <a:gd name="T0" fmla="*/ 10 w 19"/>
                <a:gd name="T1" fmla="*/ 38 h 38"/>
                <a:gd name="T2" fmla="*/ 10 w 19"/>
                <a:gd name="T3" fmla="*/ 38 h 38"/>
                <a:gd name="T4" fmla="*/ 0 w 19"/>
                <a:gd name="T5" fmla="*/ 38 h 38"/>
                <a:gd name="T6" fmla="*/ 0 w 19"/>
                <a:gd name="T7" fmla="*/ 38 h 38"/>
                <a:gd name="T8" fmla="*/ 0 w 19"/>
                <a:gd name="T9" fmla="*/ 38 h 38"/>
                <a:gd name="T10" fmla="*/ 0 w 19"/>
                <a:gd name="T11" fmla="*/ 38 h 38"/>
                <a:gd name="T12" fmla="*/ 0 w 19"/>
                <a:gd name="T13" fmla="*/ 29 h 38"/>
                <a:gd name="T14" fmla="*/ 10 w 19"/>
                <a:gd name="T15" fmla="*/ 10 h 38"/>
                <a:gd name="T16" fmla="*/ 19 w 19"/>
                <a:gd name="T17" fmla="*/ 0 h 38"/>
                <a:gd name="T18" fmla="*/ 19 w 19"/>
                <a:gd name="T19" fmla="*/ 0 h 38"/>
                <a:gd name="T20" fmla="*/ 19 w 19"/>
                <a:gd name="T21" fmla="*/ 10 h 38"/>
                <a:gd name="T22" fmla="*/ 19 w 19"/>
                <a:gd name="T23" fmla="*/ 19 h 38"/>
                <a:gd name="T24" fmla="*/ 10 w 19"/>
                <a:gd name="T25" fmla="*/ 29 h 38"/>
                <a:gd name="T26" fmla="*/ 10 w 19"/>
                <a:gd name="T27" fmla="*/ 38 h 38"/>
                <a:gd name="T28" fmla="*/ 10 w 19"/>
                <a:gd name="T29" fmla="*/ 38 h 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38"/>
                <a:gd name="T47" fmla="*/ 19 w 19"/>
                <a:gd name="T48" fmla="*/ 38 h 3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38">
                  <a:moveTo>
                    <a:pt x="10" y="38"/>
                  </a:moveTo>
                  <a:lnTo>
                    <a:pt x="10" y="38"/>
                  </a:lnTo>
                  <a:lnTo>
                    <a:pt x="0" y="38"/>
                  </a:lnTo>
                  <a:lnTo>
                    <a:pt x="0" y="29"/>
                  </a:lnTo>
                  <a:lnTo>
                    <a:pt x="10" y="10"/>
                  </a:lnTo>
                  <a:lnTo>
                    <a:pt x="19" y="0"/>
                  </a:lnTo>
                  <a:lnTo>
                    <a:pt x="19" y="10"/>
                  </a:lnTo>
                  <a:lnTo>
                    <a:pt x="19" y="19"/>
                  </a:lnTo>
                  <a:lnTo>
                    <a:pt x="10" y="29"/>
                  </a:lnTo>
                  <a:lnTo>
                    <a:pt x="10"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94" name="Freeform 273">
              <a:extLst>
                <a:ext uri="{FF2B5EF4-FFF2-40B4-BE49-F238E27FC236}">
                  <a16:creationId xmlns:a16="http://schemas.microsoft.com/office/drawing/2014/main" id="{B273B9D3-1A59-4DF7-B203-F0CAB03968D2}"/>
                </a:ext>
              </a:extLst>
            </p:cNvPr>
            <p:cNvSpPr>
              <a:spLocks/>
            </p:cNvSpPr>
            <p:nvPr/>
          </p:nvSpPr>
          <p:spPr bwMode="gray">
            <a:xfrm>
              <a:off x="3189" y="2385"/>
              <a:ext cx="29" cy="67"/>
            </a:xfrm>
            <a:custGeom>
              <a:avLst/>
              <a:gdLst>
                <a:gd name="T0" fmla="*/ 10 w 29"/>
                <a:gd name="T1" fmla="*/ 38 h 67"/>
                <a:gd name="T2" fmla="*/ 10 w 29"/>
                <a:gd name="T3" fmla="*/ 29 h 67"/>
                <a:gd name="T4" fmla="*/ 10 w 29"/>
                <a:gd name="T5" fmla="*/ 19 h 67"/>
                <a:gd name="T6" fmla="*/ 19 w 29"/>
                <a:gd name="T7" fmla="*/ 10 h 67"/>
                <a:gd name="T8" fmla="*/ 19 w 29"/>
                <a:gd name="T9" fmla="*/ 10 h 67"/>
                <a:gd name="T10" fmla="*/ 19 w 29"/>
                <a:gd name="T11" fmla="*/ 0 h 67"/>
                <a:gd name="T12" fmla="*/ 19 w 29"/>
                <a:gd name="T13" fmla="*/ 0 h 67"/>
                <a:gd name="T14" fmla="*/ 19 w 29"/>
                <a:gd name="T15" fmla="*/ 0 h 67"/>
                <a:gd name="T16" fmla="*/ 29 w 29"/>
                <a:gd name="T17" fmla="*/ 0 h 67"/>
                <a:gd name="T18" fmla="*/ 29 w 29"/>
                <a:gd name="T19" fmla="*/ 0 h 67"/>
                <a:gd name="T20" fmla="*/ 19 w 29"/>
                <a:gd name="T21" fmla="*/ 19 h 67"/>
                <a:gd name="T22" fmla="*/ 19 w 29"/>
                <a:gd name="T23" fmla="*/ 19 h 67"/>
                <a:gd name="T24" fmla="*/ 19 w 29"/>
                <a:gd name="T25" fmla="*/ 19 h 67"/>
                <a:gd name="T26" fmla="*/ 19 w 29"/>
                <a:gd name="T27" fmla="*/ 29 h 67"/>
                <a:gd name="T28" fmla="*/ 19 w 29"/>
                <a:gd name="T29" fmla="*/ 29 h 67"/>
                <a:gd name="T30" fmla="*/ 10 w 29"/>
                <a:gd name="T31" fmla="*/ 38 h 67"/>
                <a:gd name="T32" fmla="*/ 19 w 29"/>
                <a:gd name="T33" fmla="*/ 38 h 67"/>
                <a:gd name="T34" fmla="*/ 19 w 29"/>
                <a:gd name="T35" fmla="*/ 48 h 67"/>
                <a:gd name="T36" fmla="*/ 10 w 29"/>
                <a:gd name="T37" fmla="*/ 67 h 67"/>
                <a:gd name="T38" fmla="*/ 10 w 29"/>
                <a:gd name="T39" fmla="*/ 67 h 67"/>
                <a:gd name="T40" fmla="*/ 10 w 29"/>
                <a:gd name="T41" fmla="*/ 48 h 67"/>
                <a:gd name="T42" fmla="*/ 0 w 29"/>
                <a:gd name="T43" fmla="*/ 48 h 67"/>
                <a:gd name="T44" fmla="*/ 10 w 29"/>
                <a:gd name="T45" fmla="*/ 38 h 67"/>
                <a:gd name="T46" fmla="*/ 10 w 29"/>
                <a:gd name="T47" fmla="*/ 38 h 6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9"/>
                <a:gd name="T73" fmla="*/ 0 h 67"/>
                <a:gd name="T74" fmla="*/ 29 w 29"/>
                <a:gd name="T75" fmla="*/ 67 h 6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9" h="67">
                  <a:moveTo>
                    <a:pt x="10" y="38"/>
                  </a:moveTo>
                  <a:lnTo>
                    <a:pt x="10" y="29"/>
                  </a:lnTo>
                  <a:lnTo>
                    <a:pt x="10" y="19"/>
                  </a:lnTo>
                  <a:lnTo>
                    <a:pt x="19" y="10"/>
                  </a:lnTo>
                  <a:lnTo>
                    <a:pt x="19" y="0"/>
                  </a:lnTo>
                  <a:lnTo>
                    <a:pt x="29" y="0"/>
                  </a:lnTo>
                  <a:lnTo>
                    <a:pt x="19" y="19"/>
                  </a:lnTo>
                  <a:lnTo>
                    <a:pt x="19" y="29"/>
                  </a:lnTo>
                  <a:lnTo>
                    <a:pt x="10" y="38"/>
                  </a:lnTo>
                  <a:lnTo>
                    <a:pt x="19" y="38"/>
                  </a:lnTo>
                  <a:lnTo>
                    <a:pt x="19" y="48"/>
                  </a:lnTo>
                  <a:lnTo>
                    <a:pt x="10" y="67"/>
                  </a:lnTo>
                  <a:lnTo>
                    <a:pt x="10" y="48"/>
                  </a:lnTo>
                  <a:lnTo>
                    <a:pt x="0" y="48"/>
                  </a:lnTo>
                  <a:lnTo>
                    <a:pt x="10"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95" name="Freeform 274">
              <a:extLst>
                <a:ext uri="{FF2B5EF4-FFF2-40B4-BE49-F238E27FC236}">
                  <a16:creationId xmlns:a16="http://schemas.microsoft.com/office/drawing/2014/main" id="{23BCE882-066F-498F-870B-715C1C60F6D5}"/>
                </a:ext>
              </a:extLst>
            </p:cNvPr>
            <p:cNvSpPr>
              <a:spLocks/>
            </p:cNvSpPr>
            <p:nvPr/>
          </p:nvSpPr>
          <p:spPr bwMode="gray">
            <a:xfrm>
              <a:off x="3189" y="2385"/>
              <a:ext cx="29" cy="67"/>
            </a:xfrm>
            <a:custGeom>
              <a:avLst/>
              <a:gdLst>
                <a:gd name="T0" fmla="*/ 10 w 29"/>
                <a:gd name="T1" fmla="*/ 38 h 67"/>
                <a:gd name="T2" fmla="*/ 10 w 29"/>
                <a:gd name="T3" fmla="*/ 29 h 67"/>
                <a:gd name="T4" fmla="*/ 10 w 29"/>
                <a:gd name="T5" fmla="*/ 19 h 67"/>
                <a:gd name="T6" fmla="*/ 19 w 29"/>
                <a:gd name="T7" fmla="*/ 10 h 67"/>
                <a:gd name="T8" fmla="*/ 19 w 29"/>
                <a:gd name="T9" fmla="*/ 10 h 67"/>
                <a:gd name="T10" fmla="*/ 19 w 29"/>
                <a:gd name="T11" fmla="*/ 0 h 67"/>
                <a:gd name="T12" fmla="*/ 19 w 29"/>
                <a:gd name="T13" fmla="*/ 0 h 67"/>
                <a:gd name="T14" fmla="*/ 19 w 29"/>
                <a:gd name="T15" fmla="*/ 0 h 67"/>
                <a:gd name="T16" fmla="*/ 29 w 29"/>
                <a:gd name="T17" fmla="*/ 0 h 67"/>
                <a:gd name="T18" fmla="*/ 29 w 29"/>
                <a:gd name="T19" fmla="*/ 0 h 67"/>
                <a:gd name="T20" fmla="*/ 19 w 29"/>
                <a:gd name="T21" fmla="*/ 19 h 67"/>
                <a:gd name="T22" fmla="*/ 19 w 29"/>
                <a:gd name="T23" fmla="*/ 19 h 67"/>
                <a:gd name="T24" fmla="*/ 19 w 29"/>
                <a:gd name="T25" fmla="*/ 19 h 67"/>
                <a:gd name="T26" fmla="*/ 19 w 29"/>
                <a:gd name="T27" fmla="*/ 29 h 67"/>
                <a:gd name="T28" fmla="*/ 19 w 29"/>
                <a:gd name="T29" fmla="*/ 29 h 67"/>
                <a:gd name="T30" fmla="*/ 10 w 29"/>
                <a:gd name="T31" fmla="*/ 38 h 67"/>
                <a:gd name="T32" fmla="*/ 19 w 29"/>
                <a:gd name="T33" fmla="*/ 38 h 67"/>
                <a:gd name="T34" fmla="*/ 19 w 29"/>
                <a:gd name="T35" fmla="*/ 48 h 67"/>
                <a:gd name="T36" fmla="*/ 10 w 29"/>
                <a:gd name="T37" fmla="*/ 67 h 67"/>
                <a:gd name="T38" fmla="*/ 10 w 29"/>
                <a:gd name="T39" fmla="*/ 67 h 67"/>
                <a:gd name="T40" fmla="*/ 10 w 29"/>
                <a:gd name="T41" fmla="*/ 48 h 67"/>
                <a:gd name="T42" fmla="*/ 0 w 29"/>
                <a:gd name="T43" fmla="*/ 48 h 67"/>
                <a:gd name="T44" fmla="*/ 10 w 29"/>
                <a:gd name="T45" fmla="*/ 38 h 67"/>
                <a:gd name="T46" fmla="*/ 10 w 29"/>
                <a:gd name="T47" fmla="*/ 38 h 6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9"/>
                <a:gd name="T73" fmla="*/ 0 h 67"/>
                <a:gd name="T74" fmla="*/ 29 w 29"/>
                <a:gd name="T75" fmla="*/ 67 h 6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9" h="67">
                  <a:moveTo>
                    <a:pt x="10" y="38"/>
                  </a:moveTo>
                  <a:lnTo>
                    <a:pt x="10" y="29"/>
                  </a:lnTo>
                  <a:lnTo>
                    <a:pt x="10" y="19"/>
                  </a:lnTo>
                  <a:lnTo>
                    <a:pt x="19" y="10"/>
                  </a:lnTo>
                  <a:lnTo>
                    <a:pt x="19" y="0"/>
                  </a:lnTo>
                  <a:lnTo>
                    <a:pt x="29" y="0"/>
                  </a:lnTo>
                  <a:lnTo>
                    <a:pt x="19" y="19"/>
                  </a:lnTo>
                  <a:lnTo>
                    <a:pt x="19" y="29"/>
                  </a:lnTo>
                  <a:lnTo>
                    <a:pt x="10" y="38"/>
                  </a:lnTo>
                  <a:lnTo>
                    <a:pt x="19" y="38"/>
                  </a:lnTo>
                  <a:lnTo>
                    <a:pt x="19" y="48"/>
                  </a:lnTo>
                  <a:lnTo>
                    <a:pt x="10" y="67"/>
                  </a:lnTo>
                  <a:lnTo>
                    <a:pt x="10" y="48"/>
                  </a:lnTo>
                  <a:lnTo>
                    <a:pt x="0" y="48"/>
                  </a:lnTo>
                  <a:lnTo>
                    <a:pt x="10"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96" name="Freeform 275">
              <a:extLst>
                <a:ext uri="{FF2B5EF4-FFF2-40B4-BE49-F238E27FC236}">
                  <a16:creationId xmlns:a16="http://schemas.microsoft.com/office/drawing/2014/main" id="{6E08BA44-6F6C-46C3-8DB6-992FB998F80B}"/>
                </a:ext>
              </a:extLst>
            </p:cNvPr>
            <p:cNvSpPr>
              <a:spLocks/>
            </p:cNvSpPr>
            <p:nvPr/>
          </p:nvSpPr>
          <p:spPr bwMode="gray">
            <a:xfrm>
              <a:off x="3018" y="2032"/>
              <a:ext cx="257" cy="162"/>
            </a:xfrm>
            <a:custGeom>
              <a:avLst/>
              <a:gdLst>
                <a:gd name="T0" fmla="*/ 0 w 257"/>
                <a:gd name="T1" fmla="*/ 86 h 162"/>
                <a:gd name="T2" fmla="*/ 9 w 257"/>
                <a:gd name="T3" fmla="*/ 67 h 162"/>
                <a:gd name="T4" fmla="*/ 28 w 257"/>
                <a:gd name="T5" fmla="*/ 38 h 162"/>
                <a:gd name="T6" fmla="*/ 38 w 257"/>
                <a:gd name="T7" fmla="*/ 10 h 162"/>
                <a:gd name="T8" fmla="*/ 66 w 257"/>
                <a:gd name="T9" fmla="*/ 10 h 162"/>
                <a:gd name="T10" fmla="*/ 85 w 257"/>
                <a:gd name="T11" fmla="*/ 19 h 162"/>
                <a:gd name="T12" fmla="*/ 114 w 257"/>
                <a:gd name="T13" fmla="*/ 19 h 162"/>
                <a:gd name="T14" fmla="*/ 124 w 257"/>
                <a:gd name="T15" fmla="*/ 10 h 162"/>
                <a:gd name="T16" fmla="*/ 143 w 257"/>
                <a:gd name="T17" fmla="*/ 0 h 162"/>
                <a:gd name="T18" fmla="*/ 171 w 257"/>
                <a:gd name="T19" fmla="*/ 29 h 162"/>
                <a:gd name="T20" fmla="*/ 181 w 257"/>
                <a:gd name="T21" fmla="*/ 38 h 162"/>
                <a:gd name="T22" fmla="*/ 219 w 257"/>
                <a:gd name="T23" fmla="*/ 38 h 162"/>
                <a:gd name="T24" fmla="*/ 238 w 257"/>
                <a:gd name="T25" fmla="*/ 48 h 162"/>
                <a:gd name="T26" fmla="*/ 257 w 257"/>
                <a:gd name="T27" fmla="*/ 67 h 162"/>
                <a:gd name="T28" fmla="*/ 247 w 257"/>
                <a:gd name="T29" fmla="*/ 96 h 162"/>
                <a:gd name="T30" fmla="*/ 228 w 257"/>
                <a:gd name="T31" fmla="*/ 105 h 162"/>
                <a:gd name="T32" fmla="*/ 209 w 257"/>
                <a:gd name="T33" fmla="*/ 115 h 162"/>
                <a:gd name="T34" fmla="*/ 190 w 257"/>
                <a:gd name="T35" fmla="*/ 124 h 162"/>
                <a:gd name="T36" fmla="*/ 181 w 257"/>
                <a:gd name="T37" fmla="*/ 134 h 162"/>
                <a:gd name="T38" fmla="*/ 171 w 257"/>
                <a:gd name="T39" fmla="*/ 134 h 162"/>
                <a:gd name="T40" fmla="*/ 181 w 257"/>
                <a:gd name="T41" fmla="*/ 143 h 162"/>
                <a:gd name="T42" fmla="*/ 200 w 257"/>
                <a:gd name="T43" fmla="*/ 153 h 162"/>
                <a:gd name="T44" fmla="*/ 190 w 257"/>
                <a:gd name="T45" fmla="*/ 153 h 162"/>
                <a:gd name="T46" fmla="*/ 171 w 257"/>
                <a:gd name="T47" fmla="*/ 162 h 162"/>
                <a:gd name="T48" fmla="*/ 162 w 257"/>
                <a:gd name="T49" fmla="*/ 162 h 162"/>
                <a:gd name="T50" fmla="*/ 152 w 257"/>
                <a:gd name="T51" fmla="*/ 143 h 162"/>
                <a:gd name="T52" fmla="*/ 152 w 257"/>
                <a:gd name="T53" fmla="*/ 143 h 162"/>
                <a:gd name="T54" fmla="*/ 162 w 257"/>
                <a:gd name="T55" fmla="*/ 134 h 162"/>
                <a:gd name="T56" fmla="*/ 143 w 257"/>
                <a:gd name="T57" fmla="*/ 134 h 162"/>
                <a:gd name="T58" fmla="*/ 133 w 257"/>
                <a:gd name="T59" fmla="*/ 124 h 162"/>
                <a:gd name="T60" fmla="*/ 124 w 257"/>
                <a:gd name="T61" fmla="*/ 124 h 162"/>
                <a:gd name="T62" fmla="*/ 114 w 257"/>
                <a:gd name="T63" fmla="*/ 134 h 162"/>
                <a:gd name="T64" fmla="*/ 95 w 257"/>
                <a:gd name="T65" fmla="*/ 143 h 162"/>
                <a:gd name="T66" fmla="*/ 104 w 257"/>
                <a:gd name="T67" fmla="*/ 124 h 162"/>
                <a:gd name="T68" fmla="*/ 114 w 257"/>
                <a:gd name="T69" fmla="*/ 124 h 162"/>
                <a:gd name="T70" fmla="*/ 104 w 257"/>
                <a:gd name="T71" fmla="*/ 96 h 162"/>
                <a:gd name="T72" fmla="*/ 76 w 257"/>
                <a:gd name="T73" fmla="*/ 86 h 162"/>
                <a:gd name="T74" fmla="*/ 47 w 257"/>
                <a:gd name="T75" fmla="*/ 96 h 162"/>
                <a:gd name="T76" fmla="*/ 19 w 257"/>
                <a:gd name="T77" fmla="*/ 96 h 1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7"/>
                <a:gd name="T118" fmla="*/ 0 h 162"/>
                <a:gd name="T119" fmla="*/ 257 w 257"/>
                <a:gd name="T120" fmla="*/ 162 h 1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57" h="162">
                  <a:moveTo>
                    <a:pt x="9" y="96"/>
                  </a:moveTo>
                  <a:lnTo>
                    <a:pt x="0" y="86"/>
                  </a:lnTo>
                  <a:lnTo>
                    <a:pt x="0" y="76"/>
                  </a:lnTo>
                  <a:lnTo>
                    <a:pt x="9" y="67"/>
                  </a:lnTo>
                  <a:lnTo>
                    <a:pt x="9" y="57"/>
                  </a:lnTo>
                  <a:lnTo>
                    <a:pt x="28" y="38"/>
                  </a:lnTo>
                  <a:lnTo>
                    <a:pt x="28" y="29"/>
                  </a:lnTo>
                  <a:lnTo>
                    <a:pt x="38" y="10"/>
                  </a:lnTo>
                  <a:lnTo>
                    <a:pt x="57" y="10"/>
                  </a:lnTo>
                  <a:lnTo>
                    <a:pt x="66" y="10"/>
                  </a:lnTo>
                  <a:lnTo>
                    <a:pt x="85" y="19"/>
                  </a:lnTo>
                  <a:lnTo>
                    <a:pt x="85" y="10"/>
                  </a:lnTo>
                  <a:lnTo>
                    <a:pt x="114" y="19"/>
                  </a:lnTo>
                  <a:lnTo>
                    <a:pt x="124" y="19"/>
                  </a:lnTo>
                  <a:lnTo>
                    <a:pt x="124" y="10"/>
                  </a:lnTo>
                  <a:lnTo>
                    <a:pt x="133" y="10"/>
                  </a:lnTo>
                  <a:lnTo>
                    <a:pt x="143" y="0"/>
                  </a:lnTo>
                  <a:lnTo>
                    <a:pt x="171" y="0"/>
                  </a:lnTo>
                  <a:lnTo>
                    <a:pt x="171" y="29"/>
                  </a:lnTo>
                  <a:lnTo>
                    <a:pt x="181" y="29"/>
                  </a:lnTo>
                  <a:lnTo>
                    <a:pt x="181" y="38"/>
                  </a:lnTo>
                  <a:lnTo>
                    <a:pt x="190" y="48"/>
                  </a:lnTo>
                  <a:lnTo>
                    <a:pt x="219" y="38"/>
                  </a:lnTo>
                  <a:lnTo>
                    <a:pt x="228" y="48"/>
                  </a:lnTo>
                  <a:lnTo>
                    <a:pt x="238" y="48"/>
                  </a:lnTo>
                  <a:lnTo>
                    <a:pt x="247" y="57"/>
                  </a:lnTo>
                  <a:lnTo>
                    <a:pt x="257" y="67"/>
                  </a:lnTo>
                  <a:lnTo>
                    <a:pt x="247" y="76"/>
                  </a:lnTo>
                  <a:lnTo>
                    <a:pt x="247" y="96"/>
                  </a:lnTo>
                  <a:lnTo>
                    <a:pt x="238" y="96"/>
                  </a:lnTo>
                  <a:lnTo>
                    <a:pt x="228" y="105"/>
                  </a:lnTo>
                  <a:lnTo>
                    <a:pt x="219" y="115"/>
                  </a:lnTo>
                  <a:lnTo>
                    <a:pt x="209" y="115"/>
                  </a:lnTo>
                  <a:lnTo>
                    <a:pt x="200" y="124"/>
                  </a:lnTo>
                  <a:lnTo>
                    <a:pt x="190" y="124"/>
                  </a:lnTo>
                  <a:lnTo>
                    <a:pt x="181" y="134"/>
                  </a:lnTo>
                  <a:lnTo>
                    <a:pt x="171" y="134"/>
                  </a:lnTo>
                  <a:lnTo>
                    <a:pt x="181" y="143"/>
                  </a:lnTo>
                  <a:lnTo>
                    <a:pt x="200" y="143"/>
                  </a:lnTo>
                  <a:lnTo>
                    <a:pt x="200" y="153"/>
                  </a:lnTo>
                  <a:lnTo>
                    <a:pt x="190" y="153"/>
                  </a:lnTo>
                  <a:lnTo>
                    <a:pt x="181" y="153"/>
                  </a:lnTo>
                  <a:lnTo>
                    <a:pt x="171" y="162"/>
                  </a:lnTo>
                  <a:lnTo>
                    <a:pt x="162" y="162"/>
                  </a:lnTo>
                  <a:lnTo>
                    <a:pt x="162" y="153"/>
                  </a:lnTo>
                  <a:lnTo>
                    <a:pt x="152" y="143"/>
                  </a:lnTo>
                  <a:lnTo>
                    <a:pt x="162" y="134"/>
                  </a:lnTo>
                  <a:lnTo>
                    <a:pt x="152" y="134"/>
                  </a:lnTo>
                  <a:lnTo>
                    <a:pt x="143" y="134"/>
                  </a:lnTo>
                  <a:lnTo>
                    <a:pt x="133" y="124"/>
                  </a:lnTo>
                  <a:lnTo>
                    <a:pt x="124" y="124"/>
                  </a:lnTo>
                  <a:lnTo>
                    <a:pt x="114" y="124"/>
                  </a:lnTo>
                  <a:lnTo>
                    <a:pt x="114" y="134"/>
                  </a:lnTo>
                  <a:lnTo>
                    <a:pt x="104" y="143"/>
                  </a:lnTo>
                  <a:lnTo>
                    <a:pt x="95" y="143"/>
                  </a:lnTo>
                  <a:lnTo>
                    <a:pt x="95" y="134"/>
                  </a:lnTo>
                  <a:lnTo>
                    <a:pt x="104" y="124"/>
                  </a:lnTo>
                  <a:lnTo>
                    <a:pt x="114" y="124"/>
                  </a:lnTo>
                  <a:lnTo>
                    <a:pt x="104" y="115"/>
                  </a:lnTo>
                  <a:lnTo>
                    <a:pt x="104" y="96"/>
                  </a:lnTo>
                  <a:lnTo>
                    <a:pt x="95" y="86"/>
                  </a:lnTo>
                  <a:lnTo>
                    <a:pt x="76" y="86"/>
                  </a:lnTo>
                  <a:lnTo>
                    <a:pt x="57" y="96"/>
                  </a:lnTo>
                  <a:lnTo>
                    <a:pt x="47" y="96"/>
                  </a:lnTo>
                  <a:lnTo>
                    <a:pt x="38" y="105"/>
                  </a:lnTo>
                  <a:lnTo>
                    <a:pt x="19" y="96"/>
                  </a:lnTo>
                  <a:lnTo>
                    <a:pt x="9" y="96"/>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97" name="Freeform 276">
              <a:extLst>
                <a:ext uri="{FF2B5EF4-FFF2-40B4-BE49-F238E27FC236}">
                  <a16:creationId xmlns:a16="http://schemas.microsoft.com/office/drawing/2014/main" id="{E75853DC-DF61-469D-B353-0B98E31C16CC}"/>
                </a:ext>
              </a:extLst>
            </p:cNvPr>
            <p:cNvSpPr>
              <a:spLocks/>
            </p:cNvSpPr>
            <p:nvPr/>
          </p:nvSpPr>
          <p:spPr bwMode="gray">
            <a:xfrm>
              <a:off x="3018" y="2032"/>
              <a:ext cx="257" cy="162"/>
            </a:xfrm>
            <a:custGeom>
              <a:avLst/>
              <a:gdLst>
                <a:gd name="T0" fmla="*/ 0 w 257"/>
                <a:gd name="T1" fmla="*/ 86 h 162"/>
                <a:gd name="T2" fmla="*/ 9 w 257"/>
                <a:gd name="T3" fmla="*/ 67 h 162"/>
                <a:gd name="T4" fmla="*/ 28 w 257"/>
                <a:gd name="T5" fmla="*/ 38 h 162"/>
                <a:gd name="T6" fmla="*/ 38 w 257"/>
                <a:gd name="T7" fmla="*/ 10 h 162"/>
                <a:gd name="T8" fmla="*/ 66 w 257"/>
                <a:gd name="T9" fmla="*/ 10 h 162"/>
                <a:gd name="T10" fmla="*/ 85 w 257"/>
                <a:gd name="T11" fmla="*/ 19 h 162"/>
                <a:gd name="T12" fmla="*/ 114 w 257"/>
                <a:gd name="T13" fmla="*/ 19 h 162"/>
                <a:gd name="T14" fmla="*/ 124 w 257"/>
                <a:gd name="T15" fmla="*/ 10 h 162"/>
                <a:gd name="T16" fmla="*/ 143 w 257"/>
                <a:gd name="T17" fmla="*/ 0 h 162"/>
                <a:gd name="T18" fmla="*/ 171 w 257"/>
                <a:gd name="T19" fmla="*/ 29 h 162"/>
                <a:gd name="T20" fmla="*/ 181 w 257"/>
                <a:gd name="T21" fmla="*/ 38 h 162"/>
                <a:gd name="T22" fmla="*/ 219 w 257"/>
                <a:gd name="T23" fmla="*/ 38 h 162"/>
                <a:gd name="T24" fmla="*/ 238 w 257"/>
                <a:gd name="T25" fmla="*/ 48 h 162"/>
                <a:gd name="T26" fmla="*/ 257 w 257"/>
                <a:gd name="T27" fmla="*/ 67 h 162"/>
                <a:gd name="T28" fmla="*/ 247 w 257"/>
                <a:gd name="T29" fmla="*/ 96 h 162"/>
                <a:gd name="T30" fmla="*/ 228 w 257"/>
                <a:gd name="T31" fmla="*/ 105 h 162"/>
                <a:gd name="T32" fmla="*/ 209 w 257"/>
                <a:gd name="T33" fmla="*/ 115 h 162"/>
                <a:gd name="T34" fmla="*/ 190 w 257"/>
                <a:gd name="T35" fmla="*/ 124 h 162"/>
                <a:gd name="T36" fmla="*/ 181 w 257"/>
                <a:gd name="T37" fmla="*/ 134 h 162"/>
                <a:gd name="T38" fmla="*/ 171 w 257"/>
                <a:gd name="T39" fmla="*/ 134 h 162"/>
                <a:gd name="T40" fmla="*/ 181 w 257"/>
                <a:gd name="T41" fmla="*/ 143 h 162"/>
                <a:gd name="T42" fmla="*/ 200 w 257"/>
                <a:gd name="T43" fmla="*/ 153 h 162"/>
                <a:gd name="T44" fmla="*/ 190 w 257"/>
                <a:gd name="T45" fmla="*/ 153 h 162"/>
                <a:gd name="T46" fmla="*/ 171 w 257"/>
                <a:gd name="T47" fmla="*/ 162 h 162"/>
                <a:gd name="T48" fmla="*/ 162 w 257"/>
                <a:gd name="T49" fmla="*/ 162 h 162"/>
                <a:gd name="T50" fmla="*/ 152 w 257"/>
                <a:gd name="T51" fmla="*/ 143 h 162"/>
                <a:gd name="T52" fmla="*/ 152 w 257"/>
                <a:gd name="T53" fmla="*/ 143 h 162"/>
                <a:gd name="T54" fmla="*/ 162 w 257"/>
                <a:gd name="T55" fmla="*/ 134 h 162"/>
                <a:gd name="T56" fmla="*/ 143 w 257"/>
                <a:gd name="T57" fmla="*/ 134 h 162"/>
                <a:gd name="T58" fmla="*/ 133 w 257"/>
                <a:gd name="T59" fmla="*/ 124 h 162"/>
                <a:gd name="T60" fmla="*/ 124 w 257"/>
                <a:gd name="T61" fmla="*/ 124 h 162"/>
                <a:gd name="T62" fmla="*/ 114 w 257"/>
                <a:gd name="T63" fmla="*/ 134 h 162"/>
                <a:gd name="T64" fmla="*/ 95 w 257"/>
                <a:gd name="T65" fmla="*/ 143 h 162"/>
                <a:gd name="T66" fmla="*/ 104 w 257"/>
                <a:gd name="T67" fmla="*/ 124 h 162"/>
                <a:gd name="T68" fmla="*/ 114 w 257"/>
                <a:gd name="T69" fmla="*/ 124 h 162"/>
                <a:gd name="T70" fmla="*/ 104 w 257"/>
                <a:gd name="T71" fmla="*/ 96 h 162"/>
                <a:gd name="T72" fmla="*/ 76 w 257"/>
                <a:gd name="T73" fmla="*/ 86 h 162"/>
                <a:gd name="T74" fmla="*/ 47 w 257"/>
                <a:gd name="T75" fmla="*/ 96 h 162"/>
                <a:gd name="T76" fmla="*/ 19 w 257"/>
                <a:gd name="T77" fmla="*/ 96 h 1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7"/>
                <a:gd name="T118" fmla="*/ 0 h 162"/>
                <a:gd name="T119" fmla="*/ 257 w 257"/>
                <a:gd name="T120" fmla="*/ 162 h 1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57" h="162">
                  <a:moveTo>
                    <a:pt x="9" y="96"/>
                  </a:moveTo>
                  <a:lnTo>
                    <a:pt x="0" y="86"/>
                  </a:lnTo>
                  <a:lnTo>
                    <a:pt x="0" y="76"/>
                  </a:lnTo>
                  <a:lnTo>
                    <a:pt x="9" y="67"/>
                  </a:lnTo>
                  <a:lnTo>
                    <a:pt x="9" y="57"/>
                  </a:lnTo>
                  <a:lnTo>
                    <a:pt x="28" y="38"/>
                  </a:lnTo>
                  <a:lnTo>
                    <a:pt x="28" y="29"/>
                  </a:lnTo>
                  <a:lnTo>
                    <a:pt x="38" y="10"/>
                  </a:lnTo>
                  <a:lnTo>
                    <a:pt x="57" y="10"/>
                  </a:lnTo>
                  <a:lnTo>
                    <a:pt x="66" y="10"/>
                  </a:lnTo>
                  <a:lnTo>
                    <a:pt x="85" y="19"/>
                  </a:lnTo>
                  <a:lnTo>
                    <a:pt x="85" y="10"/>
                  </a:lnTo>
                  <a:lnTo>
                    <a:pt x="114" y="19"/>
                  </a:lnTo>
                  <a:lnTo>
                    <a:pt x="124" y="19"/>
                  </a:lnTo>
                  <a:lnTo>
                    <a:pt x="124" y="10"/>
                  </a:lnTo>
                  <a:lnTo>
                    <a:pt x="133" y="10"/>
                  </a:lnTo>
                  <a:lnTo>
                    <a:pt x="143" y="0"/>
                  </a:lnTo>
                  <a:lnTo>
                    <a:pt x="171" y="0"/>
                  </a:lnTo>
                  <a:lnTo>
                    <a:pt x="171" y="29"/>
                  </a:lnTo>
                  <a:lnTo>
                    <a:pt x="181" y="29"/>
                  </a:lnTo>
                  <a:lnTo>
                    <a:pt x="181" y="38"/>
                  </a:lnTo>
                  <a:lnTo>
                    <a:pt x="190" y="48"/>
                  </a:lnTo>
                  <a:lnTo>
                    <a:pt x="219" y="38"/>
                  </a:lnTo>
                  <a:lnTo>
                    <a:pt x="228" y="48"/>
                  </a:lnTo>
                  <a:lnTo>
                    <a:pt x="238" y="48"/>
                  </a:lnTo>
                  <a:lnTo>
                    <a:pt x="247" y="57"/>
                  </a:lnTo>
                  <a:lnTo>
                    <a:pt x="257" y="67"/>
                  </a:lnTo>
                  <a:lnTo>
                    <a:pt x="247" y="76"/>
                  </a:lnTo>
                  <a:lnTo>
                    <a:pt x="247" y="96"/>
                  </a:lnTo>
                  <a:lnTo>
                    <a:pt x="238" y="96"/>
                  </a:lnTo>
                  <a:lnTo>
                    <a:pt x="228" y="105"/>
                  </a:lnTo>
                  <a:lnTo>
                    <a:pt x="219" y="115"/>
                  </a:lnTo>
                  <a:lnTo>
                    <a:pt x="209" y="115"/>
                  </a:lnTo>
                  <a:lnTo>
                    <a:pt x="200" y="124"/>
                  </a:lnTo>
                  <a:lnTo>
                    <a:pt x="190" y="124"/>
                  </a:lnTo>
                  <a:lnTo>
                    <a:pt x="181" y="134"/>
                  </a:lnTo>
                  <a:lnTo>
                    <a:pt x="171" y="134"/>
                  </a:lnTo>
                  <a:lnTo>
                    <a:pt x="181" y="143"/>
                  </a:lnTo>
                  <a:lnTo>
                    <a:pt x="200" y="143"/>
                  </a:lnTo>
                  <a:lnTo>
                    <a:pt x="200" y="153"/>
                  </a:lnTo>
                  <a:lnTo>
                    <a:pt x="190" y="153"/>
                  </a:lnTo>
                  <a:lnTo>
                    <a:pt x="181" y="153"/>
                  </a:lnTo>
                  <a:lnTo>
                    <a:pt x="171" y="162"/>
                  </a:lnTo>
                  <a:lnTo>
                    <a:pt x="162" y="162"/>
                  </a:lnTo>
                  <a:lnTo>
                    <a:pt x="162" y="153"/>
                  </a:lnTo>
                  <a:lnTo>
                    <a:pt x="152" y="143"/>
                  </a:lnTo>
                  <a:lnTo>
                    <a:pt x="162" y="134"/>
                  </a:lnTo>
                  <a:lnTo>
                    <a:pt x="152" y="134"/>
                  </a:lnTo>
                  <a:lnTo>
                    <a:pt x="143" y="134"/>
                  </a:lnTo>
                  <a:lnTo>
                    <a:pt x="133" y="124"/>
                  </a:lnTo>
                  <a:lnTo>
                    <a:pt x="124" y="124"/>
                  </a:lnTo>
                  <a:lnTo>
                    <a:pt x="114" y="124"/>
                  </a:lnTo>
                  <a:lnTo>
                    <a:pt x="114" y="134"/>
                  </a:lnTo>
                  <a:lnTo>
                    <a:pt x="104" y="143"/>
                  </a:lnTo>
                  <a:lnTo>
                    <a:pt x="95" y="143"/>
                  </a:lnTo>
                  <a:lnTo>
                    <a:pt x="95" y="134"/>
                  </a:lnTo>
                  <a:lnTo>
                    <a:pt x="104" y="124"/>
                  </a:lnTo>
                  <a:lnTo>
                    <a:pt x="114" y="124"/>
                  </a:lnTo>
                  <a:lnTo>
                    <a:pt x="104" y="115"/>
                  </a:lnTo>
                  <a:lnTo>
                    <a:pt x="104" y="96"/>
                  </a:lnTo>
                  <a:lnTo>
                    <a:pt x="95" y="86"/>
                  </a:lnTo>
                  <a:lnTo>
                    <a:pt x="76" y="86"/>
                  </a:lnTo>
                  <a:lnTo>
                    <a:pt x="57" y="96"/>
                  </a:lnTo>
                  <a:lnTo>
                    <a:pt x="47" y="96"/>
                  </a:lnTo>
                  <a:lnTo>
                    <a:pt x="38" y="105"/>
                  </a:lnTo>
                  <a:lnTo>
                    <a:pt x="19" y="96"/>
                  </a:lnTo>
                  <a:lnTo>
                    <a:pt x="9" y="96"/>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98" name="Freeform 277">
              <a:extLst>
                <a:ext uri="{FF2B5EF4-FFF2-40B4-BE49-F238E27FC236}">
                  <a16:creationId xmlns:a16="http://schemas.microsoft.com/office/drawing/2014/main" id="{66A462E7-7E9E-418A-9774-D030B89307BD}"/>
                </a:ext>
              </a:extLst>
            </p:cNvPr>
            <p:cNvSpPr>
              <a:spLocks/>
            </p:cNvSpPr>
            <p:nvPr/>
          </p:nvSpPr>
          <p:spPr bwMode="gray">
            <a:xfrm>
              <a:off x="2856" y="1593"/>
              <a:ext cx="190" cy="372"/>
            </a:xfrm>
            <a:custGeom>
              <a:avLst/>
              <a:gdLst>
                <a:gd name="T0" fmla="*/ 181 w 190"/>
                <a:gd name="T1" fmla="*/ 67 h 372"/>
                <a:gd name="T2" fmla="*/ 181 w 190"/>
                <a:gd name="T3" fmla="*/ 48 h 372"/>
                <a:gd name="T4" fmla="*/ 181 w 190"/>
                <a:gd name="T5" fmla="*/ 29 h 372"/>
                <a:gd name="T6" fmla="*/ 152 w 190"/>
                <a:gd name="T7" fmla="*/ 19 h 372"/>
                <a:gd name="T8" fmla="*/ 143 w 190"/>
                <a:gd name="T9" fmla="*/ 0 h 372"/>
                <a:gd name="T10" fmla="*/ 124 w 190"/>
                <a:gd name="T11" fmla="*/ 19 h 372"/>
                <a:gd name="T12" fmla="*/ 114 w 190"/>
                <a:gd name="T13" fmla="*/ 19 h 372"/>
                <a:gd name="T14" fmla="*/ 104 w 190"/>
                <a:gd name="T15" fmla="*/ 29 h 372"/>
                <a:gd name="T16" fmla="*/ 85 w 190"/>
                <a:gd name="T17" fmla="*/ 38 h 372"/>
                <a:gd name="T18" fmla="*/ 76 w 190"/>
                <a:gd name="T19" fmla="*/ 48 h 372"/>
                <a:gd name="T20" fmla="*/ 57 w 190"/>
                <a:gd name="T21" fmla="*/ 67 h 372"/>
                <a:gd name="T22" fmla="*/ 47 w 190"/>
                <a:gd name="T23" fmla="*/ 76 h 372"/>
                <a:gd name="T24" fmla="*/ 47 w 190"/>
                <a:gd name="T25" fmla="*/ 115 h 372"/>
                <a:gd name="T26" fmla="*/ 47 w 190"/>
                <a:gd name="T27" fmla="*/ 134 h 372"/>
                <a:gd name="T28" fmla="*/ 19 w 190"/>
                <a:gd name="T29" fmla="*/ 143 h 372"/>
                <a:gd name="T30" fmla="*/ 9 w 190"/>
                <a:gd name="T31" fmla="*/ 172 h 372"/>
                <a:gd name="T32" fmla="*/ 19 w 190"/>
                <a:gd name="T33" fmla="*/ 210 h 372"/>
                <a:gd name="T34" fmla="*/ 19 w 190"/>
                <a:gd name="T35" fmla="*/ 229 h 372"/>
                <a:gd name="T36" fmla="*/ 19 w 190"/>
                <a:gd name="T37" fmla="*/ 239 h 372"/>
                <a:gd name="T38" fmla="*/ 9 w 190"/>
                <a:gd name="T39" fmla="*/ 258 h 372"/>
                <a:gd name="T40" fmla="*/ 9 w 190"/>
                <a:gd name="T41" fmla="*/ 286 h 372"/>
                <a:gd name="T42" fmla="*/ 9 w 190"/>
                <a:gd name="T43" fmla="*/ 305 h 372"/>
                <a:gd name="T44" fmla="*/ 19 w 190"/>
                <a:gd name="T45" fmla="*/ 334 h 372"/>
                <a:gd name="T46" fmla="*/ 28 w 190"/>
                <a:gd name="T47" fmla="*/ 344 h 372"/>
                <a:gd name="T48" fmla="*/ 28 w 190"/>
                <a:gd name="T49" fmla="*/ 363 h 372"/>
                <a:gd name="T50" fmla="*/ 38 w 190"/>
                <a:gd name="T51" fmla="*/ 372 h 372"/>
                <a:gd name="T52" fmla="*/ 57 w 190"/>
                <a:gd name="T53" fmla="*/ 353 h 372"/>
                <a:gd name="T54" fmla="*/ 66 w 190"/>
                <a:gd name="T55" fmla="*/ 353 h 372"/>
                <a:gd name="T56" fmla="*/ 85 w 190"/>
                <a:gd name="T57" fmla="*/ 315 h 372"/>
                <a:gd name="T58" fmla="*/ 85 w 190"/>
                <a:gd name="T59" fmla="*/ 286 h 372"/>
                <a:gd name="T60" fmla="*/ 95 w 190"/>
                <a:gd name="T61" fmla="*/ 286 h 372"/>
                <a:gd name="T62" fmla="*/ 104 w 190"/>
                <a:gd name="T63" fmla="*/ 286 h 372"/>
                <a:gd name="T64" fmla="*/ 114 w 190"/>
                <a:gd name="T65" fmla="*/ 248 h 372"/>
                <a:gd name="T66" fmla="*/ 85 w 190"/>
                <a:gd name="T67" fmla="*/ 229 h 372"/>
                <a:gd name="T68" fmla="*/ 95 w 190"/>
                <a:gd name="T69" fmla="*/ 210 h 372"/>
                <a:gd name="T70" fmla="*/ 95 w 190"/>
                <a:gd name="T71" fmla="*/ 191 h 372"/>
                <a:gd name="T72" fmla="*/ 104 w 190"/>
                <a:gd name="T73" fmla="*/ 172 h 372"/>
                <a:gd name="T74" fmla="*/ 114 w 190"/>
                <a:gd name="T75" fmla="*/ 153 h 372"/>
                <a:gd name="T76" fmla="*/ 143 w 190"/>
                <a:gd name="T77" fmla="*/ 143 h 372"/>
                <a:gd name="T78" fmla="*/ 152 w 190"/>
                <a:gd name="T79" fmla="*/ 115 h 372"/>
                <a:gd name="T80" fmla="*/ 152 w 190"/>
                <a:gd name="T81" fmla="*/ 105 h 372"/>
                <a:gd name="T82" fmla="*/ 162 w 190"/>
                <a:gd name="T83" fmla="*/ 86 h 372"/>
                <a:gd name="T84" fmla="*/ 171 w 190"/>
                <a:gd name="T85" fmla="*/ 86 h 37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0"/>
                <a:gd name="T130" fmla="*/ 0 h 372"/>
                <a:gd name="T131" fmla="*/ 190 w 190"/>
                <a:gd name="T132" fmla="*/ 372 h 37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0" h="372">
                  <a:moveTo>
                    <a:pt x="190" y="76"/>
                  </a:moveTo>
                  <a:lnTo>
                    <a:pt x="181" y="67"/>
                  </a:lnTo>
                  <a:lnTo>
                    <a:pt x="190" y="57"/>
                  </a:lnTo>
                  <a:lnTo>
                    <a:pt x="181" y="48"/>
                  </a:lnTo>
                  <a:lnTo>
                    <a:pt x="181" y="38"/>
                  </a:lnTo>
                  <a:lnTo>
                    <a:pt x="181" y="29"/>
                  </a:lnTo>
                  <a:lnTo>
                    <a:pt x="162" y="19"/>
                  </a:lnTo>
                  <a:lnTo>
                    <a:pt x="152" y="19"/>
                  </a:lnTo>
                  <a:lnTo>
                    <a:pt x="143" y="10"/>
                  </a:lnTo>
                  <a:lnTo>
                    <a:pt x="143" y="0"/>
                  </a:lnTo>
                  <a:lnTo>
                    <a:pt x="133" y="10"/>
                  </a:lnTo>
                  <a:lnTo>
                    <a:pt x="124" y="19"/>
                  </a:lnTo>
                  <a:lnTo>
                    <a:pt x="114" y="19"/>
                  </a:lnTo>
                  <a:lnTo>
                    <a:pt x="104" y="19"/>
                  </a:lnTo>
                  <a:lnTo>
                    <a:pt x="104" y="29"/>
                  </a:lnTo>
                  <a:lnTo>
                    <a:pt x="85" y="29"/>
                  </a:lnTo>
                  <a:lnTo>
                    <a:pt x="85" y="38"/>
                  </a:lnTo>
                  <a:lnTo>
                    <a:pt x="66" y="38"/>
                  </a:lnTo>
                  <a:lnTo>
                    <a:pt x="76" y="48"/>
                  </a:lnTo>
                  <a:lnTo>
                    <a:pt x="57" y="67"/>
                  </a:lnTo>
                  <a:lnTo>
                    <a:pt x="47" y="67"/>
                  </a:lnTo>
                  <a:lnTo>
                    <a:pt x="47" y="76"/>
                  </a:lnTo>
                  <a:lnTo>
                    <a:pt x="47" y="86"/>
                  </a:lnTo>
                  <a:lnTo>
                    <a:pt x="47" y="115"/>
                  </a:lnTo>
                  <a:lnTo>
                    <a:pt x="38" y="124"/>
                  </a:lnTo>
                  <a:lnTo>
                    <a:pt x="47" y="134"/>
                  </a:lnTo>
                  <a:lnTo>
                    <a:pt x="38" y="143"/>
                  </a:lnTo>
                  <a:lnTo>
                    <a:pt x="19" y="143"/>
                  </a:lnTo>
                  <a:lnTo>
                    <a:pt x="9" y="153"/>
                  </a:lnTo>
                  <a:lnTo>
                    <a:pt x="9" y="172"/>
                  </a:lnTo>
                  <a:lnTo>
                    <a:pt x="19" y="210"/>
                  </a:lnTo>
                  <a:lnTo>
                    <a:pt x="19" y="229"/>
                  </a:lnTo>
                  <a:lnTo>
                    <a:pt x="9" y="229"/>
                  </a:lnTo>
                  <a:lnTo>
                    <a:pt x="19" y="239"/>
                  </a:lnTo>
                  <a:lnTo>
                    <a:pt x="19" y="248"/>
                  </a:lnTo>
                  <a:lnTo>
                    <a:pt x="9" y="258"/>
                  </a:lnTo>
                  <a:lnTo>
                    <a:pt x="9" y="277"/>
                  </a:lnTo>
                  <a:lnTo>
                    <a:pt x="9" y="286"/>
                  </a:lnTo>
                  <a:lnTo>
                    <a:pt x="0" y="296"/>
                  </a:lnTo>
                  <a:lnTo>
                    <a:pt x="9" y="305"/>
                  </a:lnTo>
                  <a:lnTo>
                    <a:pt x="9" y="325"/>
                  </a:lnTo>
                  <a:lnTo>
                    <a:pt x="19" y="334"/>
                  </a:lnTo>
                  <a:lnTo>
                    <a:pt x="28" y="344"/>
                  </a:lnTo>
                  <a:lnTo>
                    <a:pt x="28" y="353"/>
                  </a:lnTo>
                  <a:lnTo>
                    <a:pt x="28" y="363"/>
                  </a:lnTo>
                  <a:lnTo>
                    <a:pt x="38" y="372"/>
                  </a:lnTo>
                  <a:lnTo>
                    <a:pt x="47" y="372"/>
                  </a:lnTo>
                  <a:lnTo>
                    <a:pt x="57" y="353"/>
                  </a:lnTo>
                  <a:lnTo>
                    <a:pt x="66" y="353"/>
                  </a:lnTo>
                  <a:lnTo>
                    <a:pt x="76" y="334"/>
                  </a:lnTo>
                  <a:lnTo>
                    <a:pt x="85" y="315"/>
                  </a:lnTo>
                  <a:lnTo>
                    <a:pt x="76" y="296"/>
                  </a:lnTo>
                  <a:lnTo>
                    <a:pt x="85" y="286"/>
                  </a:lnTo>
                  <a:lnTo>
                    <a:pt x="95" y="296"/>
                  </a:lnTo>
                  <a:lnTo>
                    <a:pt x="95" y="286"/>
                  </a:lnTo>
                  <a:lnTo>
                    <a:pt x="104" y="286"/>
                  </a:lnTo>
                  <a:lnTo>
                    <a:pt x="114" y="267"/>
                  </a:lnTo>
                  <a:lnTo>
                    <a:pt x="114" y="248"/>
                  </a:lnTo>
                  <a:lnTo>
                    <a:pt x="104" y="239"/>
                  </a:lnTo>
                  <a:lnTo>
                    <a:pt x="85" y="229"/>
                  </a:lnTo>
                  <a:lnTo>
                    <a:pt x="85" y="210"/>
                  </a:lnTo>
                  <a:lnTo>
                    <a:pt x="95" y="210"/>
                  </a:lnTo>
                  <a:lnTo>
                    <a:pt x="95" y="201"/>
                  </a:lnTo>
                  <a:lnTo>
                    <a:pt x="95" y="191"/>
                  </a:lnTo>
                  <a:lnTo>
                    <a:pt x="104" y="172"/>
                  </a:lnTo>
                  <a:lnTo>
                    <a:pt x="114" y="162"/>
                  </a:lnTo>
                  <a:lnTo>
                    <a:pt x="114" y="153"/>
                  </a:lnTo>
                  <a:lnTo>
                    <a:pt x="133" y="153"/>
                  </a:lnTo>
                  <a:lnTo>
                    <a:pt x="143" y="143"/>
                  </a:lnTo>
                  <a:lnTo>
                    <a:pt x="152" y="124"/>
                  </a:lnTo>
                  <a:lnTo>
                    <a:pt x="152" y="115"/>
                  </a:lnTo>
                  <a:lnTo>
                    <a:pt x="143" y="115"/>
                  </a:lnTo>
                  <a:lnTo>
                    <a:pt x="152" y="105"/>
                  </a:lnTo>
                  <a:lnTo>
                    <a:pt x="152" y="96"/>
                  </a:lnTo>
                  <a:lnTo>
                    <a:pt x="162" y="86"/>
                  </a:lnTo>
                  <a:lnTo>
                    <a:pt x="171" y="86"/>
                  </a:lnTo>
                  <a:lnTo>
                    <a:pt x="190" y="76"/>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299" name="Freeform 278">
              <a:extLst>
                <a:ext uri="{FF2B5EF4-FFF2-40B4-BE49-F238E27FC236}">
                  <a16:creationId xmlns:a16="http://schemas.microsoft.com/office/drawing/2014/main" id="{955CC3A6-5E34-4960-BC57-7B58BDE2A950}"/>
                </a:ext>
              </a:extLst>
            </p:cNvPr>
            <p:cNvSpPr>
              <a:spLocks/>
            </p:cNvSpPr>
            <p:nvPr/>
          </p:nvSpPr>
          <p:spPr bwMode="gray">
            <a:xfrm>
              <a:off x="2856" y="1593"/>
              <a:ext cx="190" cy="372"/>
            </a:xfrm>
            <a:custGeom>
              <a:avLst/>
              <a:gdLst>
                <a:gd name="T0" fmla="*/ 181 w 190"/>
                <a:gd name="T1" fmla="*/ 67 h 372"/>
                <a:gd name="T2" fmla="*/ 181 w 190"/>
                <a:gd name="T3" fmla="*/ 48 h 372"/>
                <a:gd name="T4" fmla="*/ 181 w 190"/>
                <a:gd name="T5" fmla="*/ 29 h 372"/>
                <a:gd name="T6" fmla="*/ 152 w 190"/>
                <a:gd name="T7" fmla="*/ 19 h 372"/>
                <a:gd name="T8" fmla="*/ 143 w 190"/>
                <a:gd name="T9" fmla="*/ 0 h 372"/>
                <a:gd name="T10" fmla="*/ 124 w 190"/>
                <a:gd name="T11" fmla="*/ 19 h 372"/>
                <a:gd name="T12" fmla="*/ 114 w 190"/>
                <a:gd name="T13" fmla="*/ 19 h 372"/>
                <a:gd name="T14" fmla="*/ 104 w 190"/>
                <a:gd name="T15" fmla="*/ 29 h 372"/>
                <a:gd name="T16" fmla="*/ 85 w 190"/>
                <a:gd name="T17" fmla="*/ 38 h 372"/>
                <a:gd name="T18" fmla="*/ 76 w 190"/>
                <a:gd name="T19" fmla="*/ 48 h 372"/>
                <a:gd name="T20" fmla="*/ 57 w 190"/>
                <a:gd name="T21" fmla="*/ 67 h 372"/>
                <a:gd name="T22" fmla="*/ 47 w 190"/>
                <a:gd name="T23" fmla="*/ 76 h 372"/>
                <a:gd name="T24" fmla="*/ 47 w 190"/>
                <a:gd name="T25" fmla="*/ 115 h 372"/>
                <a:gd name="T26" fmla="*/ 47 w 190"/>
                <a:gd name="T27" fmla="*/ 134 h 372"/>
                <a:gd name="T28" fmla="*/ 19 w 190"/>
                <a:gd name="T29" fmla="*/ 143 h 372"/>
                <a:gd name="T30" fmla="*/ 9 w 190"/>
                <a:gd name="T31" fmla="*/ 172 h 372"/>
                <a:gd name="T32" fmla="*/ 19 w 190"/>
                <a:gd name="T33" fmla="*/ 210 h 372"/>
                <a:gd name="T34" fmla="*/ 19 w 190"/>
                <a:gd name="T35" fmla="*/ 229 h 372"/>
                <a:gd name="T36" fmla="*/ 19 w 190"/>
                <a:gd name="T37" fmla="*/ 239 h 372"/>
                <a:gd name="T38" fmla="*/ 9 w 190"/>
                <a:gd name="T39" fmla="*/ 258 h 372"/>
                <a:gd name="T40" fmla="*/ 9 w 190"/>
                <a:gd name="T41" fmla="*/ 286 h 372"/>
                <a:gd name="T42" fmla="*/ 9 w 190"/>
                <a:gd name="T43" fmla="*/ 305 h 372"/>
                <a:gd name="T44" fmla="*/ 19 w 190"/>
                <a:gd name="T45" fmla="*/ 334 h 372"/>
                <a:gd name="T46" fmla="*/ 28 w 190"/>
                <a:gd name="T47" fmla="*/ 344 h 372"/>
                <a:gd name="T48" fmla="*/ 28 w 190"/>
                <a:gd name="T49" fmla="*/ 363 h 372"/>
                <a:gd name="T50" fmla="*/ 38 w 190"/>
                <a:gd name="T51" fmla="*/ 372 h 372"/>
                <a:gd name="T52" fmla="*/ 57 w 190"/>
                <a:gd name="T53" fmla="*/ 353 h 372"/>
                <a:gd name="T54" fmla="*/ 66 w 190"/>
                <a:gd name="T55" fmla="*/ 353 h 372"/>
                <a:gd name="T56" fmla="*/ 85 w 190"/>
                <a:gd name="T57" fmla="*/ 315 h 372"/>
                <a:gd name="T58" fmla="*/ 85 w 190"/>
                <a:gd name="T59" fmla="*/ 286 h 372"/>
                <a:gd name="T60" fmla="*/ 95 w 190"/>
                <a:gd name="T61" fmla="*/ 286 h 372"/>
                <a:gd name="T62" fmla="*/ 104 w 190"/>
                <a:gd name="T63" fmla="*/ 286 h 372"/>
                <a:gd name="T64" fmla="*/ 114 w 190"/>
                <a:gd name="T65" fmla="*/ 248 h 372"/>
                <a:gd name="T66" fmla="*/ 85 w 190"/>
                <a:gd name="T67" fmla="*/ 229 h 372"/>
                <a:gd name="T68" fmla="*/ 95 w 190"/>
                <a:gd name="T69" fmla="*/ 210 h 372"/>
                <a:gd name="T70" fmla="*/ 95 w 190"/>
                <a:gd name="T71" fmla="*/ 191 h 372"/>
                <a:gd name="T72" fmla="*/ 104 w 190"/>
                <a:gd name="T73" fmla="*/ 172 h 372"/>
                <a:gd name="T74" fmla="*/ 114 w 190"/>
                <a:gd name="T75" fmla="*/ 153 h 372"/>
                <a:gd name="T76" fmla="*/ 143 w 190"/>
                <a:gd name="T77" fmla="*/ 143 h 372"/>
                <a:gd name="T78" fmla="*/ 152 w 190"/>
                <a:gd name="T79" fmla="*/ 115 h 372"/>
                <a:gd name="T80" fmla="*/ 152 w 190"/>
                <a:gd name="T81" fmla="*/ 105 h 372"/>
                <a:gd name="T82" fmla="*/ 162 w 190"/>
                <a:gd name="T83" fmla="*/ 86 h 372"/>
                <a:gd name="T84" fmla="*/ 171 w 190"/>
                <a:gd name="T85" fmla="*/ 86 h 37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0"/>
                <a:gd name="T130" fmla="*/ 0 h 372"/>
                <a:gd name="T131" fmla="*/ 190 w 190"/>
                <a:gd name="T132" fmla="*/ 372 h 37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0" h="372">
                  <a:moveTo>
                    <a:pt x="190" y="76"/>
                  </a:moveTo>
                  <a:lnTo>
                    <a:pt x="181" y="67"/>
                  </a:lnTo>
                  <a:lnTo>
                    <a:pt x="190" y="57"/>
                  </a:lnTo>
                  <a:lnTo>
                    <a:pt x="181" y="48"/>
                  </a:lnTo>
                  <a:lnTo>
                    <a:pt x="181" y="38"/>
                  </a:lnTo>
                  <a:lnTo>
                    <a:pt x="181" y="29"/>
                  </a:lnTo>
                  <a:lnTo>
                    <a:pt x="162" y="19"/>
                  </a:lnTo>
                  <a:lnTo>
                    <a:pt x="152" y="19"/>
                  </a:lnTo>
                  <a:lnTo>
                    <a:pt x="143" y="10"/>
                  </a:lnTo>
                  <a:lnTo>
                    <a:pt x="143" y="0"/>
                  </a:lnTo>
                  <a:lnTo>
                    <a:pt x="133" y="10"/>
                  </a:lnTo>
                  <a:lnTo>
                    <a:pt x="124" y="19"/>
                  </a:lnTo>
                  <a:lnTo>
                    <a:pt x="114" y="19"/>
                  </a:lnTo>
                  <a:lnTo>
                    <a:pt x="104" y="19"/>
                  </a:lnTo>
                  <a:lnTo>
                    <a:pt x="104" y="29"/>
                  </a:lnTo>
                  <a:lnTo>
                    <a:pt x="85" y="29"/>
                  </a:lnTo>
                  <a:lnTo>
                    <a:pt x="85" y="38"/>
                  </a:lnTo>
                  <a:lnTo>
                    <a:pt x="66" y="38"/>
                  </a:lnTo>
                  <a:lnTo>
                    <a:pt x="76" y="48"/>
                  </a:lnTo>
                  <a:lnTo>
                    <a:pt x="57" y="67"/>
                  </a:lnTo>
                  <a:lnTo>
                    <a:pt x="47" y="67"/>
                  </a:lnTo>
                  <a:lnTo>
                    <a:pt x="47" y="76"/>
                  </a:lnTo>
                  <a:lnTo>
                    <a:pt x="47" y="86"/>
                  </a:lnTo>
                  <a:lnTo>
                    <a:pt x="47" y="115"/>
                  </a:lnTo>
                  <a:lnTo>
                    <a:pt x="38" y="124"/>
                  </a:lnTo>
                  <a:lnTo>
                    <a:pt x="47" y="134"/>
                  </a:lnTo>
                  <a:lnTo>
                    <a:pt x="38" y="143"/>
                  </a:lnTo>
                  <a:lnTo>
                    <a:pt x="19" y="143"/>
                  </a:lnTo>
                  <a:lnTo>
                    <a:pt x="9" y="153"/>
                  </a:lnTo>
                  <a:lnTo>
                    <a:pt x="9" y="172"/>
                  </a:lnTo>
                  <a:lnTo>
                    <a:pt x="19" y="210"/>
                  </a:lnTo>
                  <a:lnTo>
                    <a:pt x="19" y="229"/>
                  </a:lnTo>
                  <a:lnTo>
                    <a:pt x="9" y="229"/>
                  </a:lnTo>
                  <a:lnTo>
                    <a:pt x="19" y="239"/>
                  </a:lnTo>
                  <a:lnTo>
                    <a:pt x="19" y="248"/>
                  </a:lnTo>
                  <a:lnTo>
                    <a:pt x="9" y="258"/>
                  </a:lnTo>
                  <a:lnTo>
                    <a:pt x="9" y="277"/>
                  </a:lnTo>
                  <a:lnTo>
                    <a:pt x="9" y="286"/>
                  </a:lnTo>
                  <a:lnTo>
                    <a:pt x="0" y="296"/>
                  </a:lnTo>
                  <a:lnTo>
                    <a:pt x="9" y="305"/>
                  </a:lnTo>
                  <a:lnTo>
                    <a:pt x="9" y="325"/>
                  </a:lnTo>
                  <a:lnTo>
                    <a:pt x="19" y="334"/>
                  </a:lnTo>
                  <a:lnTo>
                    <a:pt x="28" y="344"/>
                  </a:lnTo>
                  <a:lnTo>
                    <a:pt x="28" y="353"/>
                  </a:lnTo>
                  <a:lnTo>
                    <a:pt x="28" y="363"/>
                  </a:lnTo>
                  <a:lnTo>
                    <a:pt x="38" y="372"/>
                  </a:lnTo>
                  <a:lnTo>
                    <a:pt x="47" y="372"/>
                  </a:lnTo>
                  <a:lnTo>
                    <a:pt x="57" y="353"/>
                  </a:lnTo>
                  <a:lnTo>
                    <a:pt x="66" y="353"/>
                  </a:lnTo>
                  <a:lnTo>
                    <a:pt x="76" y="334"/>
                  </a:lnTo>
                  <a:lnTo>
                    <a:pt x="85" y="315"/>
                  </a:lnTo>
                  <a:lnTo>
                    <a:pt x="76" y="296"/>
                  </a:lnTo>
                  <a:lnTo>
                    <a:pt x="85" y="286"/>
                  </a:lnTo>
                  <a:lnTo>
                    <a:pt x="95" y="296"/>
                  </a:lnTo>
                  <a:lnTo>
                    <a:pt x="95" y="286"/>
                  </a:lnTo>
                  <a:lnTo>
                    <a:pt x="104" y="286"/>
                  </a:lnTo>
                  <a:lnTo>
                    <a:pt x="114" y="267"/>
                  </a:lnTo>
                  <a:lnTo>
                    <a:pt x="114" y="248"/>
                  </a:lnTo>
                  <a:lnTo>
                    <a:pt x="104" y="239"/>
                  </a:lnTo>
                  <a:lnTo>
                    <a:pt x="85" y="229"/>
                  </a:lnTo>
                  <a:lnTo>
                    <a:pt x="85" y="210"/>
                  </a:lnTo>
                  <a:lnTo>
                    <a:pt x="95" y="210"/>
                  </a:lnTo>
                  <a:lnTo>
                    <a:pt x="95" y="201"/>
                  </a:lnTo>
                  <a:lnTo>
                    <a:pt x="95" y="191"/>
                  </a:lnTo>
                  <a:lnTo>
                    <a:pt x="104" y="172"/>
                  </a:lnTo>
                  <a:lnTo>
                    <a:pt x="114" y="162"/>
                  </a:lnTo>
                  <a:lnTo>
                    <a:pt x="114" y="153"/>
                  </a:lnTo>
                  <a:lnTo>
                    <a:pt x="133" y="153"/>
                  </a:lnTo>
                  <a:lnTo>
                    <a:pt x="143" y="143"/>
                  </a:lnTo>
                  <a:lnTo>
                    <a:pt x="152" y="124"/>
                  </a:lnTo>
                  <a:lnTo>
                    <a:pt x="152" y="115"/>
                  </a:lnTo>
                  <a:lnTo>
                    <a:pt x="143" y="115"/>
                  </a:lnTo>
                  <a:lnTo>
                    <a:pt x="152" y="105"/>
                  </a:lnTo>
                  <a:lnTo>
                    <a:pt x="152" y="96"/>
                  </a:lnTo>
                  <a:lnTo>
                    <a:pt x="162" y="86"/>
                  </a:lnTo>
                  <a:lnTo>
                    <a:pt x="171" y="86"/>
                  </a:lnTo>
                  <a:lnTo>
                    <a:pt x="190" y="76"/>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00" name="Freeform 279">
              <a:extLst>
                <a:ext uri="{FF2B5EF4-FFF2-40B4-BE49-F238E27FC236}">
                  <a16:creationId xmlns:a16="http://schemas.microsoft.com/office/drawing/2014/main" id="{F037E8F1-6C35-429C-B375-DE08377838B2}"/>
                </a:ext>
              </a:extLst>
            </p:cNvPr>
            <p:cNvSpPr>
              <a:spLocks/>
            </p:cNvSpPr>
            <p:nvPr/>
          </p:nvSpPr>
          <p:spPr bwMode="gray">
            <a:xfrm>
              <a:off x="2999" y="1574"/>
              <a:ext cx="152" cy="277"/>
            </a:xfrm>
            <a:custGeom>
              <a:avLst/>
              <a:gdLst>
                <a:gd name="T0" fmla="*/ 114 w 152"/>
                <a:gd name="T1" fmla="*/ 239 h 277"/>
                <a:gd name="T2" fmla="*/ 152 w 152"/>
                <a:gd name="T3" fmla="*/ 191 h 277"/>
                <a:gd name="T4" fmla="*/ 133 w 152"/>
                <a:gd name="T5" fmla="*/ 172 h 277"/>
                <a:gd name="T6" fmla="*/ 133 w 152"/>
                <a:gd name="T7" fmla="*/ 162 h 277"/>
                <a:gd name="T8" fmla="*/ 133 w 152"/>
                <a:gd name="T9" fmla="*/ 143 h 277"/>
                <a:gd name="T10" fmla="*/ 123 w 152"/>
                <a:gd name="T11" fmla="*/ 124 h 277"/>
                <a:gd name="T12" fmla="*/ 123 w 152"/>
                <a:gd name="T13" fmla="*/ 105 h 277"/>
                <a:gd name="T14" fmla="*/ 114 w 152"/>
                <a:gd name="T15" fmla="*/ 67 h 277"/>
                <a:gd name="T16" fmla="*/ 123 w 152"/>
                <a:gd name="T17" fmla="*/ 48 h 277"/>
                <a:gd name="T18" fmla="*/ 104 w 152"/>
                <a:gd name="T19" fmla="*/ 29 h 277"/>
                <a:gd name="T20" fmla="*/ 114 w 152"/>
                <a:gd name="T21" fmla="*/ 10 h 277"/>
                <a:gd name="T22" fmla="*/ 85 w 152"/>
                <a:gd name="T23" fmla="*/ 0 h 277"/>
                <a:gd name="T24" fmla="*/ 76 w 152"/>
                <a:gd name="T25" fmla="*/ 19 h 277"/>
                <a:gd name="T26" fmla="*/ 57 w 152"/>
                <a:gd name="T27" fmla="*/ 29 h 277"/>
                <a:gd name="T28" fmla="*/ 47 w 152"/>
                <a:gd name="T29" fmla="*/ 29 h 277"/>
                <a:gd name="T30" fmla="*/ 28 w 152"/>
                <a:gd name="T31" fmla="*/ 29 h 277"/>
                <a:gd name="T32" fmla="*/ 0 w 152"/>
                <a:gd name="T33" fmla="*/ 19 h 277"/>
                <a:gd name="T34" fmla="*/ 0 w 152"/>
                <a:gd name="T35" fmla="*/ 29 h 277"/>
                <a:gd name="T36" fmla="*/ 19 w 152"/>
                <a:gd name="T37" fmla="*/ 38 h 277"/>
                <a:gd name="T38" fmla="*/ 38 w 152"/>
                <a:gd name="T39" fmla="*/ 57 h 277"/>
                <a:gd name="T40" fmla="*/ 47 w 152"/>
                <a:gd name="T41" fmla="*/ 76 h 277"/>
                <a:gd name="T42" fmla="*/ 47 w 152"/>
                <a:gd name="T43" fmla="*/ 95 h 277"/>
                <a:gd name="T44" fmla="*/ 66 w 152"/>
                <a:gd name="T45" fmla="*/ 115 h 277"/>
                <a:gd name="T46" fmla="*/ 66 w 152"/>
                <a:gd name="T47" fmla="*/ 124 h 277"/>
                <a:gd name="T48" fmla="*/ 57 w 152"/>
                <a:gd name="T49" fmla="*/ 134 h 277"/>
                <a:gd name="T50" fmla="*/ 38 w 152"/>
                <a:gd name="T51" fmla="*/ 162 h 277"/>
                <a:gd name="T52" fmla="*/ 28 w 152"/>
                <a:gd name="T53" fmla="*/ 172 h 277"/>
                <a:gd name="T54" fmla="*/ 19 w 152"/>
                <a:gd name="T55" fmla="*/ 172 h 277"/>
                <a:gd name="T56" fmla="*/ 9 w 152"/>
                <a:gd name="T57" fmla="*/ 181 h 277"/>
                <a:gd name="T58" fmla="*/ 0 w 152"/>
                <a:gd name="T59" fmla="*/ 200 h 277"/>
                <a:gd name="T60" fmla="*/ 0 w 152"/>
                <a:gd name="T61" fmla="*/ 210 h 277"/>
                <a:gd name="T62" fmla="*/ 9 w 152"/>
                <a:gd name="T63" fmla="*/ 229 h 277"/>
                <a:gd name="T64" fmla="*/ 9 w 152"/>
                <a:gd name="T65" fmla="*/ 239 h 277"/>
                <a:gd name="T66" fmla="*/ 19 w 152"/>
                <a:gd name="T67" fmla="*/ 267 h 277"/>
                <a:gd name="T68" fmla="*/ 28 w 152"/>
                <a:gd name="T69" fmla="*/ 267 h 277"/>
                <a:gd name="T70" fmla="*/ 38 w 152"/>
                <a:gd name="T71" fmla="*/ 277 h 277"/>
                <a:gd name="T72" fmla="*/ 47 w 152"/>
                <a:gd name="T73" fmla="*/ 267 h 277"/>
                <a:gd name="T74" fmla="*/ 57 w 152"/>
                <a:gd name="T75" fmla="*/ 267 h 277"/>
                <a:gd name="T76" fmla="*/ 76 w 152"/>
                <a:gd name="T77" fmla="*/ 267 h 277"/>
                <a:gd name="T78" fmla="*/ 85 w 152"/>
                <a:gd name="T79" fmla="*/ 258 h 277"/>
                <a:gd name="T80" fmla="*/ 114 w 152"/>
                <a:gd name="T81" fmla="*/ 258 h 2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52"/>
                <a:gd name="T124" fmla="*/ 0 h 277"/>
                <a:gd name="T125" fmla="*/ 152 w 152"/>
                <a:gd name="T126" fmla="*/ 277 h 2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52" h="277">
                  <a:moveTo>
                    <a:pt x="114" y="258"/>
                  </a:moveTo>
                  <a:lnTo>
                    <a:pt x="114" y="239"/>
                  </a:lnTo>
                  <a:lnTo>
                    <a:pt x="133" y="220"/>
                  </a:lnTo>
                  <a:lnTo>
                    <a:pt x="152" y="191"/>
                  </a:lnTo>
                  <a:lnTo>
                    <a:pt x="143" y="181"/>
                  </a:lnTo>
                  <a:lnTo>
                    <a:pt x="133" y="172"/>
                  </a:lnTo>
                  <a:lnTo>
                    <a:pt x="133" y="162"/>
                  </a:lnTo>
                  <a:lnTo>
                    <a:pt x="133" y="153"/>
                  </a:lnTo>
                  <a:lnTo>
                    <a:pt x="133" y="143"/>
                  </a:lnTo>
                  <a:lnTo>
                    <a:pt x="133" y="134"/>
                  </a:lnTo>
                  <a:lnTo>
                    <a:pt x="123" y="124"/>
                  </a:lnTo>
                  <a:lnTo>
                    <a:pt x="133" y="115"/>
                  </a:lnTo>
                  <a:lnTo>
                    <a:pt x="123" y="105"/>
                  </a:lnTo>
                  <a:lnTo>
                    <a:pt x="133" y="86"/>
                  </a:lnTo>
                  <a:lnTo>
                    <a:pt x="114" y="67"/>
                  </a:lnTo>
                  <a:lnTo>
                    <a:pt x="123" y="57"/>
                  </a:lnTo>
                  <a:lnTo>
                    <a:pt x="123" y="48"/>
                  </a:lnTo>
                  <a:lnTo>
                    <a:pt x="104" y="38"/>
                  </a:lnTo>
                  <a:lnTo>
                    <a:pt x="104" y="29"/>
                  </a:lnTo>
                  <a:lnTo>
                    <a:pt x="114" y="19"/>
                  </a:lnTo>
                  <a:lnTo>
                    <a:pt x="114" y="10"/>
                  </a:lnTo>
                  <a:lnTo>
                    <a:pt x="104" y="0"/>
                  </a:lnTo>
                  <a:lnTo>
                    <a:pt x="85" y="0"/>
                  </a:lnTo>
                  <a:lnTo>
                    <a:pt x="76" y="10"/>
                  </a:lnTo>
                  <a:lnTo>
                    <a:pt x="76" y="19"/>
                  </a:lnTo>
                  <a:lnTo>
                    <a:pt x="66" y="29"/>
                  </a:lnTo>
                  <a:lnTo>
                    <a:pt x="57" y="29"/>
                  </a:lnTo>
                  <a:lnTo>
                    <a:pt x="47" y="29"/>
                  </a:lnTo>
                  <a:lnTo>
                    <a:pt x="38" y="29"/>
                  </a:lnTo>
                  <a:lnTo>
                    <a:pt x="28" y="29"/>
                  </a:lnTo>
                  <a:lnTo>
                    <a:pt x="9" y="19"/>
                  </a:lnTo>
                  <a:lnTo>
                    <a:pt x="0" y="19"/>
                  </a:lnTo>
                  <a:lnTo>
                    <a:pt x="0" y="29"/>
                  </a:lnTo>
                  <a:lnTo>
                    <a:pt x="9" y="38"/>
                  </a:lnTo>
                  <a:lnTo>
                    <a:pt x="19" y="38"/>
                  </a:lnTo>
                  <a:lnTo>
                    <a:pt x="38" y="48"/>
                  </a:lnTo>
                  <a:lnTo>
                    <a:pt x="38" y="57"/>
                  </a:lnTo>
                  <a:lnTo>
                    <a:pt x="38" y="67"/>
                  </a:lnTo>
                  <a:lnTo>
                    <a:pt x="47" y="76"/>
                  </a:lnTo>
                  <a:lnTo>
                    <a:pt x="38" y="86"/>
                  </a:lnTo>
                  <a:lnTo>
                    <a:pt x="47" y="95"/>
                  </a:lnTo>
                  <a:lnTo>
                    <a:pt x="57" y="105"/>
                  </a:lnTo>
                  <a:lnTo>
                    <a:pt x="66" y="115"/>
                  </a:lnTo>
                  <a:lnTo>
                    <a:pt x="66" y="124"/>
                  </a:lnTo>
                  <a:lnTo>
                    <a:pt x="66" y="134"/>
                  </a:lnTo>
                  <a:lnTo>
                    <a:pt x="57" y="134"/>
                  </a:lnTo>
                  <a:lnTo>
                    <a:pt x="47" y="143"/>
                  </a:lnTo>
                  <a:lnTo>
                    <a:pt x="38" y="162"/>
                  </a:lnTo>
                  <a:lnTo>
                    <a:pt x="28" y="172"/>
                  </a:lnTo>
                  <a:lnTo>
                    <a:pt x="19" y="172"/>
                  </a:lnTo>
                  <a:lnTo>
                    <a:pt x="19" y="181"/>
                  </a:lnTo>
                  <a:lnTo>
                    <a:pt x="9" y="181"/>
                  </a:lnTo>
                  <a:lnTo>
                    <a:pt x="9" y="191"/>
                  </a:lnTo>
                  <a:lnTo>
                    <a:pt x="0" y="200"/>
                  </a:lnTo>
                  <a:lnTo>
                    <a:pt x="0" y="210"/>
                  </a:lnTo>
                  <a:lnTo>
                    <a:pt x="9" y="229"/>
                  </a:lnTo>
                  <a:lnTo>
                    <a:pt x="9" y="239"/>
                  </a:lnTo>
                  <a:lnTo>
                    <a:pt x="9" y="258"/>
                  </a:lnTo>
                  <a:lnTo>
                    <a:pt x="19" y="267"/>
                  </a:lnTo>
                  <a:lnTo>
                    <a:pt x="28" y="267"/>
                  </a:lnTo>
                  <a:lnTo>
                    <a:pt x="28" y="277"/>
                  </a:lnTo>
                  <a:lnTo>
                    <a:pt x="38" y="277"/>
                  </a:lnTo>
                  <a:lnTo>
                    <a:pt x="47" y="267"/>
                  </a:lnTo>
                  <a:lnTo>
                    <a:pt x="57" y="277"/>
                  </a:lnTo>
                  <a:lnTo>
                    <a:pt x="57" y="267"/>
                  </a:lnTo>
                  <a:lnTo>
                    <a:pt x="66" y="267"/>
                  </a:lnTo>
                  <a:lnTo>
                    <a:pt x="76" y="267"/>
                  </a:lnTo>
                  <a:lnTo>
                    <a:pt x="85" y="258"/>
                  </a:lnTo>
                  <a:lnTo>
                    <a:pt x="95" y="258"/>
                  </a:lnTo>
                  <a:lnTo>
                    <a:pt x="114" y="25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01" name="Freeform 280">
              <a:extLst>
                <a:ext uri="{FF2B5EF4-FFF2-40B4-BE49-F238E27FC236}">
                  <a16:creationId xmlns:a16="http://schemas.microsoft.com/office/drawing/2014/main" id="{035A6266-7813-44F7-A368-B9BE06A92F9B}"/>
                </a:ext>
              </a:extLst>
            </p:cNvPr>
            <p:cNvSpPr>
              <a:spLocks/>
            </p:cNvSpPr>
            <p:nvPr/>
          </p:nvSpPr>
          <p:spPr bwMode="gray">
            <a:xfrm>
              <a:off x="2999" y="1574"/>
              <a:ext cx="152" cy="277"/>
            </a:xfrm>
            <a:custGeom>
              <a:avLst/>
              <a:gdLst>
                <a:gd name="T0" fmla="*/ 114 w 152"/>
                <a:gd name="T1" fmla="*/ 239 h 277"/>
                <a:gd name="T2" fmla="*/ 152 w 152"/>
                <a:gd name="T3" fmla="*/ 191 h 277"/>
                <a:gd name="T4" fmla="*/ 133 w 152"/>
                <a:gd name="T5" fmla="*/ 172 h 277"/>
                <a:gd name="T6" fmla="*/ 133 w 152"/>
                <a:gd name="T7" fmla="*/ 162 h 277"/>
                <a:gd name="T8" fmla="*/ 133 w 152"/>
                <a:gd name="T9" fmla="*/ 143 h 277"/>
                <a:gd name="T10" fmla="*/ 123 w 152"/>
                <a:gd name="T11" fmla="*/ 124 h 277"/>
                <a:gd name="T12" fmla="*/ 123 w 152"/>
                <a:gd name="T13" fmla="*/ 105 h 277"/>
                <a:gd name="T14" fmla="*/ 114 w 152"/>
                <a:gd name="T15" fmla="*/ 67 h 277"/>
                <a:gd name="T16" fmla="*/ 114 w 152"/>
                <a:gd name="T17" fmla="*/ 48 h 277"/>
                <a:gd name="T18" fmla="*/ 104 w 152"/>
                <a:gd name="T19" fmla="*/ 29 h 277"/>
                <a:gd name="T20" fmla="*/ 114 w 152"/>
                <a:gd name="T21" fmla="*/ 10 h 277"/>
                <a:gd name="T22" fmla="*/ 85 w 152"/>
                <a:gd name="T23" fmla="*/ 0 h 277"/>
                <a:gd name="T24" fmla="*/ 76 w 152"/>
                <a:gd name="T25" fmla="*/ 19 h 277"/>
                <a:gd name="T26" fmla="*/ 57 w 152"/>
                <a:gd name="T27" fmla="*/ 29 h 277"/>
                <a:gd name="T28" fmla="*/ 47 w 152"/>
                <a:gd name="T29" fmla="*/ 29 h 277"/>
                <a:gd name="T30" fmla="*/ 28 w 152"/>
                <a:gd name="T31" fmla="*/ 29 h 277"/>
                <a:gd name="T32" fmla="*/ 0 w 152"/>
                <a:gd name="T33" fmla="*/ 19 h 277"/>
                <a:gd name="T34" fmla="*/ 0 w 152"/>
                <a:gd name="T35" fmla="*/ 29 h 277"/>
                <a:gd name="T36" fmla="*/ 19 w 152"/>
                <a:gd name="T37" fmla="*/ 38 h 277"/>
                <a:gd name="T38" fmla="*/ 38 w 152"/>
                <a:gd name="T39" fmla="*/ 57 h 277"/>
                <a:gd name="T40" fmla="*/ 47 w 152"/>
                <a:gd name="T41" fmla="*/ 76 h 277"/>
                <a:gd name="T42" fmla="*/ 47 w 152"/>
                <a:gd name="T43" fmla="*/ 95 h 277"/>
                <a:gd name="T44" fmla="*/ 66 w 152"/>
                <a:gd name="T45" fmla="*/ 115 h 277"/>
                <a:gd name="T46" fmla="*/ 66 w 152"/>
                <a:gd name="T47" fmla="*/ 124 h 277"/>
                <a:gd name="T48" fmla="*/ 57 w 152"/>
                <a:gd name="T49" fmla="*/ 134 h 277"/>
                <a:gd name="T50" fmla="*/ 38 w 152"/>
                <a:gd name="T51" fmla="*/ 162 h 277"/>
                <a:gd name="T52" fmla="*/ 28 w 152"/>
                <a:gd name="T53" fmla="*/ 172 h 277"/>
                <a:gd name="T54" fmla="*/ 19 w 152"/>
                <a:gd name="T55" fmla="*/ 172 h 277"/>
                <a:gd name="T56" fmla="*/ 9 w 152"/>
                <a:gd name="T57" fmla="*/ 181 h 277"/>
                <a:gd name="T58" fmla="*/ 0 w 152"/>
                <a:gd name="T59" fmla="*/ 200 h 277"/>
                <a:gd name="T60" fmla="*/ 9 w 152"/>
                <a:gd name="T61" fmla="*/ 229 h 277"/>
                <a:gd name="T62" fmla="*/ 9 w 152"/>
                <a:gd name="T63" fmla="*/ 239 h 277"/>
                <a:gd name="T64" fmla="*/ 19 w 152"/>
                <a:gd name="T65" fmla="*/ 267 h 277"/>
                <a:gd name="T66" fmla="*/ 28 w 152"/>
                <a:gd name="T67" fmla="*/ 267 h 277"/>
                <a:gd name="T68" fmla="*/ 38 w 152"/>
                <a:gd name="T69" fmla="*/ 277 h 277"/>
                <a:gd name="T70" fmla="*/ 47 w 152"/>
                <a:gd name="T71" fmla="*/ 267 h 277"/>
                <a:gd name="T72" fmla="*/ 57 w 152"/>
                <a:gd name="T73" fmla="*/ 267 h 277"/>
                <a:gd name="T74" fmla="*/ 76 w 152"/>
                <a:gd name="T75" fmla="*/ 267 h 277"/>
                <a:gd name="T76" fmla="*/ 85 w 152"/>
                <a:gd name="T77" fmla="*/ 258 h 277"/>
                <a:gd name="T78" fmla="*/ 114 w 152"/>
                <a:gd name="T79" fmla="*/ 258 h 27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2"/>
                <a:gd name="T121" fmla="*/ 0 h 277"/>
                <a:gd name="T122" fmla="*/ 152 w 152"/>
                <a:gd name="T123" fmla="*/ 277 h 27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2" h="277">
                  <a:moveTo>
                    <a:pt x="114" y="258"/>
                  </a:moveTo>
                  <a:lnTo>
                    <a:pt x="114" y="239"/>
                  </a:lnTo>
                  <a:lnTo>
                    <a:pt x="133" y="220"/>
                  </a:lnTo>
                  <a:lnTo>
                    <a:pt x="152" y="191"/>
                  </a:lnTo>
                  <a:lnTo>
                    <a:pt x="143" y="181"/>
                  </a:lnTo>
                  <a:lnTo>
                    <a:pt x="133" y="172"/>
                  </a:lnTo>
                  <a:lnTo>
                    <a:pt x="133" y="162"/>
                  </a:lnTo>
                  <a:lnTo>
                    <a:pt x="133" y="153"/>
                  </a:lnTo>
                  <a:lnTo>
                    <a:pt x="133" y="143"/>
                  </a:lnTo>
                  <a:lnTo>
                    <a:pt x="133" y="134"/>
                  </a:lnTo>
                  <a:lnTo>
                    <a:pt x="123" y="124"/>
                  </a:lnTo>
                  <a:lnTo>
                    <a:pt x="133" y="115"/>
                  </a:lnTo>
                  <a:lnTo>
                    <a:pt x="123" y="105"/>
                  </a:lnTo>
                  <a:lnTo>
                    <a:pt x="133" y="86"/>
                  </a:lnTo>
                  <a:lnTo>
                    <a:pt x="114" y="67"/>
                  </a:lnTo>
                  <a:lnTo>
                    <a:pt x="123" y="57"/>
                  </a:lnTo>
                  <a:lnTo>
                    <a:pt x="114" y="48"/>
                  </a:lnTo>
                  <a:lnTo>
                    <a:pt x="104" y="38"/>
                  </a:lnTo>
                  <a:lnTo>
                    <a:pt x="104" y="29"/>
                  </a:lnTo>
                  <a:lnTo>
                    <a:pt x="114" y="19"/>
                  </a:lnTo>
                  <a:lnTo>
                    <a:pt x="114" y="10"/>
                  </a:lnTo>
                  <a:lnTo>
                    <a:pt x="104" y="0"/>
                  </a:lnTo>
                  <a:lnTo>
                    <a:pt x="85" y="0"/>
                  </a:lnTo>
                  <a:lnTo>
                    <a:pt x="76" y="10"/>
                  </a:lnTo>
                  <a:lnTo>
                    <a:pt x="76" y="19"/>
                  </a:lnTo>
                  <a:lnTo>
                    <a:pt x="66" y="29"/>
                  </a:lnTo>
                  <a:lnTo>
                    <a:pt x="57" y="29"/>
                  </a:lnTo>
                  <a:lnTo>
                    <a:pt x="47" y="29"/>
                  </a:lnTo>
                  <a:lnTo>
                    <a:pt x="38" y="29"/>
                  </a:lnTo>
                  <a:lnTo>
                    <a:pt x="28" y="29"/>
                  </a:lnTo>
                  <a:lnTo>
                    <a:pt x="9" y="19"/>
                  </a:lnTo>
                  <a:lnTo>
                    <a:pt x="0" y="19"/>
                  </a:lnTo>
                  <a:lnTo>
                    <a:pt x="0" y="29"/>
                  </a:lnTo>
                  <a:lnTo>
                    <a:pt x="9" y="38"/>
                  </a:lnTo>
                  <a:lnTo>
                    <a:pt x="19" y="38"/>
                  </a:lnTo>
                  <a:lnTo>
                    <a:pt x="38" y="48"/>
                  </a:lnTo>
                  <a:lnTo>
                    <a:pt x="38" y="57"/>
                  </a:lnTo>
                  <a:lnTo>
                    <a:pt x="38" y="67"/>
                  </a:lnTo>
                  <a:lnTo>
                    <a:pt x="47" y="76"/>
                  </a:lnTo>
                  <a:lnTo>
                    <a:pt x="38" y="86"/>
                  </a:lnTo>
                  <a:lnTo>
                    <a:pt x="47" y="95"/>
                  </a:lnTo>
                  <a:lnTo>
                    <a:pt x="57" y="105"/>
                  </a:lnTo>
                  <a:lnTo>
                    <a:pt x="66" y="115"/>
                  </a:lnTo>
                  <a:lnTo>
                    <a:pt x="66" y="124"/>
                  </a:lnTo>
                  <a:lnTo>
                    <a:pt x="66" y="134"/>
                  </a:lnTo>
                  <a:lnTo>
                    <a:pt x="57" y="134"/>
                  </a:lnTo>
                  <a:lnTo>
                    <a:pt x="47" y="143"/>
                  </a:lnTo>
                  <a:lnTo>
                    <a:pt x="38" y="162"/>
                  </a:lnTo>
                  <a:lnTo>
                    <a:pt x="28" y="172"/>
                  </a:lnTo>
                  <a:lnTo>
                    <a:pt x="19" y="172"/>
                  </a:lnTo>
                  <a:lnTo>
                    <a:pt x="19" y="181"/>
                  </a:lnTo>
                  <a:lnTo>
                    <a:pt x="9" y="181"/>
                  </a:lnTo>
                  <a:lnTo>
                    <a:pt x="9" y="191"/>
                  </a:lnTo>
                  <a:lnTo>
                    <a:pt x="0" y="200"/>
                  </a:lnTo>
                  <a:lnTo>
                    <a:pt x="0" y="210"/>
                  </a:lnTo>
                  <a:lnTo>
                    <a:pt x="9" y="229"/>
                  </a:lnTo>
                  <a:lnTo>
                    <a:pt x="9" y="239"/>
                  </a:lnTo>
                  <a:lnTo>
                    <a:pt x="9" y="258"/>
                  </a:lnTo>
                  <a:lnTo>
                    <a:pt x="19" y="267"/>
                  </a:lnTo>
                  <a:lnTo>
                    <a:pt x="28" y="267"/>
                  </a:lnTo>
                  <a:lnTo>
                    <a:pt x="28" y="277"/>
                  </a:lnTo>
                  <a:lnTo>
                    <a:pt x="38" y="277"/>
                  </a:lnTo>
                  <a:lnTo>
                    <a:pt x="47" y="267"/>
                  </a:lnTo>
                  <a:lnTo>
                    <a:pt x="57" y="277"/>
                  </a:lnTo>
                  <a:lnTo>
                    <a:pt x="57" y="267"/>
                  </a:lnTo>
                  <a:lnTo>
                    <a:pt x="66" y="267"/>
                  </a:lnTo>
                  <a:lnTo>
                    <a:pt x="76" y="267"/>
                  </a:lnTo>
                  <a:lnTo>
                    <a:pt x="85" y="258"/>
                  </a:lnTo>
                  <a:lnTo>
                    <a:pt x="95" y="258"/>
                  </a:lnTo>
                  <a:lnTo>
                    <a:pt x="114" y="25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02" name="Freeform 281">
              <a:extLst>
                <a:ext uri="{FF2B5EF4-FFF2-40B4-BE49-F238E27FC236}">
                  <a16:creationId xmlns:a16="http://schemas.microsoft.com/office/drawing/2014/main" id="{90D2B28F-96AE-4B5F-B3EB-8BA07A29E7B9}"/>
                </a:ext>
              </a:extLst>
            </p:cNvPr>
            <p:cNvSpPr>
              <a:spLocks/>
            </p:cNvSpPr>
            <p:nvPr/>
          </p:nvSpPr>
          <p:spPr bwMode="gray">
            <a:xfrm>
              <a:off x="3037" y="1860"/>
              <a:ext cx="57" cy="48"/>
            </a:xfrm>
            <a:custGeom>
              <a:avLst/>
              <a:gdLst>
                <a:gd name="T0" fmla="*/ 57 w 57"/>
                <a:gd name="T1" fmla="*/ 48 h 48"/>
                <a:gd name="T2" fmla="*/ 38 w 57"/>
                <a:gd name="T3" fmla="*/ 48 h 48"/>
                <a:gd name="T4" fmla="*/ 38 w 57"/>
                <a:gd name="T5" fmla="*/ 48 h 48"/>
                <a:gd name="T6" fmla="*/ 28 w 57"/>
                <a:gd name="T7" fmla="*/ 38 h 48"/>
                <a:gd name="T8" fmla="*/ 19 w 57"/>
                <a:gd name="T9" fmla="*/ 38 h 48"/>
                <a:gd name="T10" fmla="*/ 9 w 57"/>
                <a:gd name="T11" fmla="*/ 38 h 48"/>
                <a:gd name="T12" fmla="*/ 9 w 57"/>
                <a:gd name="T13" fmla="*/ 38 h 48"/>
                <a:gd name="T14" fmla="*/ 0 w 57"/>
                <a:gd name="T15" fmla="*/ 29 h 48"/>
                <a:gd name="T16" fmla="*/ 0 w 57"/>
                <a:gd name="T17" fmla="*/ 19 h 48"/>
                <a:gd name="T18" fmla="*/ 0 w 57"/>
                <a:gd name="T19" fmla="*/ 19 h 48"/>
                <a:gd name="T20" fmla="*/ 0 w 57"/>
                <a:gd name="T21" fmla="*/ 19 h 48"/>
                <a:gd name="T22" fmla="*/ 9 w 57"/>
                <a:gd name="T23" fmla="*/ 0 h 48"/>
                <a:gd name="T24" fmla="*/ 28 w 57"/>
                <a:gd name="T25" fmla="*/ 0 h 48"/>
                <a:gd name="T26" fmla="*/ 38 w 57"/>
                <a:gd name="T27" fmla="*/ 0 h 48"/>
                <a:gd name="T28" fmla="*/ 38 w 57"/>
                <a:gd name="T29" fmla="*/ 0 h 48"/>
                <a:gd name="T30" fmla="*/ 57 w 57"/>
                <a:gd name="T31" fmla="*/ 0 h 48"/>
                <a:gd name="T32" fmla="*/ 57 w 57"/>
                <a:gd name="T33" fmla="*/ 29 h 48"/>
                <a:gd name="T34" fmla="*/ 57 w 57"/>
                <a:gd name="T35" fmla="*/ 38 h 48"/>
                <a:gd name="T36" fmla="*/ 57 w 57"/>
                <a:gd name="T37" fmla="*/ 48 h 4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48"/>
                <a:gd name="T59" fmla="*/ 57 w 57"/>
                <a:gd name="T60" fmla="*/ 48 h 4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48">
                  <a:moveTo>
                    <a:pt x="57" y="48"/>
                  </a:moveTo>
                  <a:lnTo>
                    <a:pt x="38" y="48"/>
                  </a:lnTo>
                  <a:lnTo>
                    <a:pt x="28" y="38"/>
                  </a:lnTo>
                  <a:lnTo>
                    <a:pt x="19" y="38"/>
                  </a:lnTo>
                  <a:lnTo>
                    <a:pt x="9" y="38"/>
                  </a:lnTo>
                  <a:lnTo>
                    <a:pt x="0" y="29"/>
                  </a:lnTo>
                  <a:lnTo>
                    <a:pt x="0" y="19"/>
                  </a:lnTo>
                  <a:lnTo>
                    <a:pt x="9" y="0"/>
                  </a:lnTo>
                  <a:lnTo>
                    <a:pt x="28" y="0"/>
                  </a:lnTo>
                  <a:lnTo>
                    <a:pt x="38" y="0"/>
                  </a:lnTo>
                  <a:lnTo>
                    <a:pt x="57" y="0"/>
                  </a:lnTo>
                  <a:lnTo>
                    <a:pt x="57" y="29"/>
                  </a:lnTo>
                  <a:lnTo>
                    <a:pt x="57" y="38"/>
                  </a:lnTo>
                  <a:lnTo>
                    <a:pt x="57" y="4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03" name="Freeform 282">
              <a:extLst>
                <a:ext uri="{FF2B5EF4-FFF2-40B4-BE49-F238E27FC236}">
                  <a16:creationId xmlns:a16="http://schemas.microsoft.com/office/drawing/2014/main" id="{587C2EC0-3220-4D81-97FB-EB20FD20A13B}"/>
                </a:ext>
              </a:extLst>
            </p:cNvPr>
            <p:cNvSpPr>
              <a:spLocks/>
            </p:cNvSpPr>
            <p:nvPr/>
          </p:nvSpPr>
          <p:spPr bwMode="gray">
            <a:xfrm>
              <a:off x="2999" y="1898"/>
              <a:ext cx="104" cy="67"/>
            </a:xfrm>
            <a:custGeom>
              <a:avLst/>
              <a:gdLst>
                <a:gd name="T0" fmla="*/ 104 w 104"/>
                <a:gd name="T1" fmla="*/ 48 h 67"/>
                <a:gd name="T2" fmla="*/ 104 w 104"/>
                <a:gd name="T3" fmla="*/ 29 h 67"/>
                <a:gd name="T4" fmla="*/ 95 w 104"/>
                <a:gd name="T5" fmla="*/ 29 h 67"/>
                <a:gd name="T6" fmla="*/ 95 w 104"/>
                <a:gd name="T7" fmla="*/ 10 h 67"/>
                <a:gd name="T8" fmla="*/ 76 w 104"/>
                <a:gd name="T9" fmla="*/ 10 h 67"/>
                <a:gd name="T10" fmla="*/ 76 w 104"/>
                <a:gd name="T11" fmla="*/ 10 h 67"/>
                <a:gd name="T12" fmla="*/ 66 w 104"/>
                <a:gd name="T13" fmla="*/ 0 h 67"/>
                <a:gd name="T14" fmla="*/ 57 w 104"/>
                <a:gd name="T15" fmla="*/ 0 h 67"/>
                <a:gd name="T16" fmla="*/ 47 w 104"/>
                <a:gd name="T17" fmla="*/ 0 h 67"/>
                <a:gd name="T18" fmla="*/ 47 w 104"/>
                <a:gd name="T19" fmla="*/ 10 h 67"/>
                <a:gd name="T20" fmla="*/ 47 w 104"/>
                <a:gd name="T21" fmla="*/ 10 h 67"/>
                <a:gd name="T22" fmla="*/ 47 w 104"/>
                <a:gd name="T23" fmla="*/ 29 h 67"/>
                <a:gd name="T24" fmla="*/ 38 w 104"/>
                <a:gd name="T25" fmla="*/ 29 h 67"/>
                <a:gd name="T26" fmla="*/ 28 w 104"/>
                <a:gd name="T27" fmla="*/ 20 h 67"/>
                <a:gd name="T28" fmla="*/ 28 w 104"/>
                <a:gd name="T29" fmla="*/ 10 h 67"/>
                <a:gd name="T30" fmla="*/ 19 w 104"/>
                <a:gd name="T31" fmla="*/ 10 h 67"/>
                <a:gd name="T32" fmla="*/ 9 w 104"/>
                <a:gd name="T33" fmla="*/ 20 h 67"/>
                <a:gd name="T34" fmla="*/ 9 w 104"/>
                <a:gd name="T35" fmla="*/ 29 h 67"/>
                <a:gd name="T36" fmla="*/ 0 w 104"/>
                <a:gd name="T37" fmla="*/ 39 h 67"/>
                <a:gd name="T38" fmla="*/ 0 w 104"/>
                <a:gd name="T39" fmla="*/ 48 h 67"/>
                <a:gd name="T40" fmla="*/ 0 w 104"/>
                <a:gd name="T41" fmla="*/ 48 h 67"/>
                <a:gd name="T42" fmla="*/ 9 w 104"/>
                <a:gd name="T43" fmla="*/ 39 h 67"/>
                <a:gd name="T44" fmla="*/ 38 w 104"/>
                <a:gd name="T45" fmla="*/ 39 h 67"/>
                <a:gd name="T46" fmla="*/ 66 w 104"/>
                <a:gd name="T47" fmla="*/ 48 h 67"/>
                <a:gd name="T48" fmla="*/ 85 w 104"/>
                <a:gd name="T49" fmla="*/ 67 h 67"/>
                <a:gd name="T50" fmla="*/ 85 w 104"/>
                <a:gd name="T51" fmla="*/ 67 h 67"/>
                <a:gd name="T52" fmla="*/ 104 w 104"/>
                <a:gd name="T53" fmla="*/ 48 h 6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4"/>
                <a:gd name="T82" fmla="*/ 0 h 67"/>
                <a:gd name="T83" fmla="*/ 104 w 104"/>
                <a:gd name="T84" fmla="*/ 67 h 6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4" h="67">
                  <a:moveTo>
                    <a:pt x="104" y="48"/>
                  </a:moveTo>
                  <a:lnTo>
                    <a:pt x="104" y="29"/>
                  </a:lnTo>
                  <a:lnTo>
                    <a:pt x="95" y="29"/>
                  </a:lnTo>
                  <a:lnTo>
                    <a:pt x="95" y="10"/>
                  </a:lnTo>
                  <a:lnTo>
                    <a:pt x="76" y="10"/>
                  </a:lnTo>
                  <a:lnTo>
                    <a:pt x="66" y="0"/>
                  </a:lnTo>
                  <a:lnTo>
                    <a:pt x="57" y="0"/>
                  </a:lnTo>
                  <a:lnTo>
                    <a:pt x="47" y="0"/>
                  </a:lnTo>
                  <a:lnTo>
                    <a:pt x="47" y="10"/>
                  </a:lnTo>
                  <a:lnTo>
                    <a:pt x="47" y="29"/>
                  </a:lnTo>
                  <a:lnTo>
                    <a:pt x="38" y="29"/>
                  </a:lnTo>
                  <a:lnTo>
                    <a:pt x="28" y="20"/>
                  </a:lnTo>
                  <a:lnTo>
                    <a:pt x="28" y="10"/>
                  </a:lnTo>
                  <a:lnTo>
                    <a:pt x="19" y="10"/>
                  </a:lnTo>
                  <a:lnTo>
                    <a:pt x="9" y="20"/>
                  </a:lnTo>
                  <a:lnTo>
                    <a:pt x="9" y="29"/>
                  </a:lnTo>
                  <a:lnTo>
                    <a:pt x="0" y="39"/>
                  </a:lnTo>
                  <a:lnTo>
                    <a:pt x="0" y="48"/>
                  </a:lnTo>
                  <a:lnTo>
                    <a:pt x="9" y="39"/>
                  </a:lnTo>
                  <a:lnTo>
                    <a:pt x="38" y="39"/>
                  </a:lnTo>
                  <a:lnTo>
                    <a:pt x="66" y="48"/>
                  </a:lnTo>
                  <a:lnTo>
                    <a:pt x="85" y="67"/>
                  </a:lnTo>
                  <a:lnTo>
                    <a:pt x="104" y="4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04" name="Freeform 283">
              <a:extLst>
                <a:ext uri="{FF2B5EF4-FFF2-40B4-BE49-F238E27FC236}">
                  <a16:creationId xmlns:a16="http://schemas.microsoft.com/office/drawing/2014/main" id="{55DC7DB9-AA3E-43AF-BF4C-1B2BBFE6A992}"/>
                </a:ext>
              </a:extLst>
            </p:cNvPr>
            <p:cNvSpPr>
              <a:spLocks/>
            </p:cNvSpPr>
            <p:nvPr/>
          </p:nvSpPr>
          <p:spPr bwMode="gray">
            <a:xfrm>
              <a:off x="2999" y="1898"/>
              <a:ext cx="104" cy="67"/>
            </a:xfrm>
            <a:custGeom>
              <a:avLst/>
              <a:gdLst>
                <a:gd name="T0" fmla="*/ 104 w 104"/>
                <a:gd name="T1" fmla="*/ 48 h 67"/>
                <a:gd name="T2" fmla="*/ 104 w 104"/>
                <a:gd name="T3" fmla="*/ 29 h 67"/>
                <a:gd name="T4" fmla="*/ 95 w 104"/>
                <a:gd name="T5" fmla="*/ 29 h 67"/>
                <a:gd name="T6" fmla="*/ 95 w 104"/>
                <a:gd name="T7" fmla="*/ 10 h 67"/>
                <a:gd name="T8" fmla="*/ 76 w 104"/>
                <a:gd name="T9" fmla="*/ 10 h 67"/>
                <a:gd name="T10" fmla="*/ 76 w 104"/>
                <a:gd name="T11" fmla="*/ 10 h 67"/>
                <a:gd name="T12" fmla="*/ 66 w 104"/>
                <a:gd name="T13" fmla="*/ 0 h 67"/>
                <a:gd name="T14" fmla="*/ 57 w 104"/>
                <a:gd name="T15" fmla="*/ 0 h 67"/>
                <a:gd name="T16" fmla="*/ 47 w 104"/>
                <a:gd name="T17" fmla="*/ 0 h 67"/>
                <a:gd name="T18" fmla="*/ 47 w 104"/>
                <a:gd name="T19" fmla="*/ 10 h 67"/>
                <a:gd name="T20" fmla="*/ 47 w 104"/>
                <a:gd name="T21" fmla="*/ 10 h 67"/>
                <a:gd name="T22" fmla="*/ 47 w 104"/>
                <a:gd name="T23" fmla="*/ 29 h 67"/>
                <a:gd name="T24" fmla="*/ 38 w 104"/>
                <a:gd name="T25" fmla="*/ 29 h 67"/>
                <a:gd name="T26" fmla="*/ 28 w 104"/>
                <a:gd name="T27" fmla="*/ 20 h 67"/>
                <a:gd name="T28" fmla="*/ 28 w 104"/>
                <a:gd name="T29" fmla="*/ 10 h 67"/>
                <a:gd name="T30" fmla="*/ 19 w 104"/>
                <a:gd name="T31" fmla="*/ 10 h 67"/>
                <a:gd name="T32" fmla="*/ 9 w 104"/>
                <a:gd name="T33" fmla="*/ 20 h 67"/>
                <a:gd name="T34" fmla="*/ 9 w 104"/>
                <a:gd name="T35" fmla="*/ 29 h 67"/>
                <a:gd name="T36" fmla="*/ 0 w 104"/>
                <a:gd name="T37" fmla="*/ 39 h 67"/>
                <a:gd name="T38" fmla="*/ 0 w 104"/>
                <a:gd name="T39" fmla="*/ 48 h 67"/>
                <a:gd name="T40" fmla="*/ 0 w 104"/>
                <a:gd name="T41" fmla="*/ 48 h 67"/>
                <a:gd name="T42" fmla="*/ 9 w 104"/>
                <a:gd name="T43" fmla="*/ 39 h 67"/>
                <a:gd name="T44" fmla="*/ 38 w 104"/>
                <a:gd name="T45" fmla="*/ 39 h 67"/>
                <a:gd name="T46" fmla="*/ 66 w 104"/>
                <a:gd name="T47" fmla="*/ 48 h 67"/>
                <a:gd name="T48" fmla="*/ 85 w 104"/>
                <a:gd name="T49" fmla="*/ 67 h 67"/>
                <a:gd name="T50" fmla="*/ 85 w 104"/>
                <a:gd name="T51" fmla="*/ 67 h 67"/>
                <a:gd name="T52" fmla="*/ 104 w 104"/>
                <a:gd name="T53" fmla="*/ 48 h 6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4"/>
                <a:gd name="T82" fmla="*/ 0 h 67"/>
                <a:gd name="T83" fmla="*/ 104 w 104"/>
                <a:gd name="T84" fmla="*/ 67 h 6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4" h="67">
                  <a:moveTo>
                    <a:pt x="104" y="48"/>
                  </a:moveTo>
                  <a:lnTo>
                    <a:pt x="104" y="29"/>
                  </a:lnTo>
                  <a:lnTo>
                    <a:pt x="95" y="29"/>
                  </a:lnTo>
                  <a:lnTo>
                    <a:pt x="95" y="10"/>
                  </a:lnTo>
                  <a:lnTo>
                    <a:pt x="76" y="10"/>
                  </a:lnTo>
                  <a:lnTo>
                    <a:pt x="66" y="0"/>
                  </a:lnTo>
                  <a:lnTo>
                    <a:pt x="57" y="0"/>
                  </a:lnTo>
                  <a:lnTo>
                    <a:pt x="47" y="0"/>
                  </a:lnTo>
                  <a:lnTo>
                    <a:pt x="47" y="10"/>
                  </a:lnTo>
                  <a:lnTo>
                    <a:pt x="47" y="29"/>
                  </a:lnTo>
                  <a:lnTo>
                    <a:pt x="38" y="29"/>
                  </a:lnTo>
                  <a:lnTo>
                    <a:pt x="28" y="20"/>
                  </a:lnTo>
                  <a:lnTo>
                    <a:pt x="28" y="10"/>
                  </a:lnTo>
                  <a:lnTo>
                    <a:pt x="19" y="10"/>
                  </a:lnTo>
                  <a:lnTo>
                    <a:pt x="9" y="20"/>
                  </a:lnTo>
                  <a:lnTo>
                    <a:pt x="9" y="29"/>
                  </a:lnTo>
                  <a:lnTo>
                    <a:pt x="0" y="39"/>
                  </a:lnTo>
                  <a:lnTo>
                    <a:pt x="0" y="48"/>
                  </a:lnTo>
                  <a:lnTo>
                    <a:pt x="9" y="39"/>
                  </a:lnTo>
                  <a:lnTo>
                    <a:pt x="38" y="39"/>
                  </a:lnTo>
                  <a:lnTo>
                    <a:pt x="66" y="48"/>
                  </a:lnTo>
                  <a:lnTo>
                    <a:pt x="85" y="67"/>
                  </a:lnTo>
                  <a:lnTo>
                    <a:pt x="104" y="4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05" name="Freeform 284">
              <a:extLst>
                <a:ext uri="{FF2B5EF4-FFF2-40B4-BE49-F238E27FC236}">
                  <a16:creationId xmlns:a16="http://schemas.microsoft.com/office/drawing/2014/main" id="{C2E72738-3E0C-46C0-A20E-A0D3A2577676}"/>
                </a:ext>
              </a:extLst>
            </p:cNvPr>
            <p:cNvSpPr>
              <a:spLocks/>
            </p:cNvSpPr>
            <p:nvPr/>
          </p:nvSpPr>
          <p:spPr bwMode="gray">
            <a:xfrm>
              <a:off x="3094" y="1574"/>
              <a:ext cx="543" cy="678"/>
            </a:xfrm>
            <a:custGeom>
              <a:avLst/>
              <a:gdLst>
                <a:gd name="T0" fmla="*/ 419 w 543"/>
                <a:gd name="T1" fmla="*/ 487 h 678"/>
                <a:gd name="T2" fmla="*/ 381 w 543"/>
                <a:gd name="T3" fmla="*/ 477 h 678"/>
                <a:gd name="T4" fmla="*/ 314 w 543"/>
                <a:gd name="T5" fmla="*/ 487 h 678"/>
                <a:gd name="T6" fmla="*/ 286 w 543"/>
                <a:gd name="T7" fmla="*/ 554 h 678"/>
                <a:gd name="T8" fmla="*/ 314 w 543"/>
                <a:gd name="T9" fmla="*/ 582 h 678"/>
                <a:gd name="T10" fmla="*/ 295 w 543"/>
                <a:gd name="T11" fmla="*/ 592 h 678"/>
                <a:gd name="T12" fmla="*/ 286 w 543"/>
                <a:gd name="T13" fmla="*/ 601 h 678"/>
                <a:gd name="T14" fmla="*/ 276 w 543"/>
                <a:gd name="T15" fmla="*/ 620 h 678"/>
                <a:gd name="T16" fmla="*/ 286 w 543"/>
                <a:gd name="T17" fmla="*/ 630 h 678"/>
                <a:gd name="T18" fmla="*/ 295 w 543"/>
                <a:gd name="T19" fmla="*/ 649 h 678"/>
                <a:gd name="T20" fmla="*/ 305 w 543"/>
                <a:gd name="T21" fmla="*/ 659 h 678"/>
                <a:gd name="T22" fmla="*/ 295 w 543"/>
                <a:gd name="T23" fmla="*/ 678 h 678"/>
                <a:gd name="T24" fmla="*/ 229 w 543"/>
                <a:gd name="T25" fmla="*/ 649 h 678"/>
                <a:gd name="T26" fmla="*/ 152 w 543"/>
                <a:gd name="T27" fmla="*/ 620 h 678"/>
                <a:gd name="T28" fmla="*/ 133 w 543"/>
                <a:gd name="T29" fmla="*/ 601 h 678"/>
                <a:gd name="T30" fmla="*/ 143 w 543"/>
                <a:gd name="T31" fmla="*/ 582 h 678"/>
                <a:gd name="T32" fmla="*/ 162 w 543"/>
                <a:gd name="T33" fmla="*/ 554 h 678"/>
                <a:gd name="T34" fmla="*/ 162 w 543"/>
                <a:gd name="T35" fmla="*/ 506 h 678"/>
                <a:gd name="T36" fmla="*/ 105 w 543"/>
                <a:gd name="T37" fmla="*/ 487 h 678"/>
                <a:gd name="T38" fmla="*/ 57 w 543"/>
                <a:gd name="T39" fmla="*/ 458 h 678"/>
                <a:gd name="T40" fmla="*/ 67 w 543"/>
                <a:gd name="T41" fmla="*/ 449 h 678"/>
                <a:gd name="T42" fmla="*/ 38 w 543"/>
                <a:gd name="T43" fmla="*/ 382 h 678"/>
                <a:gd name="T44" fmla="*/ 9 w 543"/>
                <a:gd name="T45" fmla="*/ 353 h 678"/>
                <a:gd name="T46" fmla="*/ 0 w 543"/>
                <a:gd name="T47" fmla="*/ 286 h 678"/>
                <a:gd name="T48" fmla="*/ 38 w 543"/>
                <a:gd name="T49" fmla="*/ 277 h 678"/>
                <a:gd name="T50" fmla="*/ 9 w 543"/>
                <a:gd name="T51" fmla="*/ 258 h 678"/>
                <a:gd name="T52" fmla="*/ 38 w 543"/>
                <a:gd name="T53" fmla="*/ 172 h 678"/>
                <a:gd name="T54" fmla="*/ 38 w 543"/>
                <a:gd name="T55" fmla="*/ 134 h 678"/>
                <a:gd name="T56" fmla="*/ 19 w 543"/>
                <a:gd name="T57" fmla="*/ 67 h 678"/>
                <a:gd name="T58" fmla="*/ 19 w 543"/>
                <a:gd name="T59" fmla="*/ 19 h 678"/>
                <a:gd name="T60" fmla="*/ 57 w 543"/>
                <a:gd name="T61" fmla="*/ 0 h 678"/>
                <a:gd name="T62" fmla="*/ 67 w 543"/>
                <a:gd name="T63" fmla="*/ 19 h 678"/>
                <a:gd name="T64" fmla="*/ 143 w 543"/>
                <a:gd name="T65" fmla="*/ 38 h 678"/>
                <a:gd name="T66" fmla="*/ 191 w 543"/>
                <a:gd name="T67" fmla="*/ 48 h 678"/>
                <a:gd name="T68" fmla="*/ 124 w 543"/>
                <a:gd name="T69" fmla="*/ 86 h 678"/>
                <a:gd name="T70" fmla="*/ 67 w 543"/>
                <a:gd name="T71" fmla="*/ 67 h 678"/>
                <a:gd name="T72" fmla="*/ 105 w 543"/>
                <a:gd name="T73" fmla="*/ 124 h 678"/>
                <a:gd name="T74" fmla="*/ 143 w 543"/>
                <a:gd name="T75" fmla="*/ 162 h 678"/>
                <a:gd name="T76" fmla="*/ 133 w 543"/>
                <a:gd name="T77" fmla="*/ 124 h 678"/>
                <a:gd name="T78" fmla="*/ 181 w 543"/>
                <a:gd name="T79" fmla="*/ 134 h 678"/>
                <a:gd name="T80" fmla="*/ 219 w 543"/>
                <a:gd name="T81" fmla="*/ 76 h 678"/>
                <a:gd name="T82" fmla="*/ 238 w 543"/>
                <a:gd name="T83" fmla="*/ 57 h 678"/>
                <a:gd name="T84" fmla="*/ 238 w 543"/>
                <a:gd name="T85" fmla="*/ 29 h 678"/>
                <a:gd name="T86" fmla="*/ 257 w 543"/>
                <a:gd name="T87" fmla="*/ 57 h 678"/>
                <a:gd name="T88" fmla="*/ 295 w 543"/>
                <a:gd name="T89" fmla="*/ 67 h 678"/>
                <a:gd name="T90" fmla="*/ 305 w 543"/>
                <a:gd name="T91" fmla="*/ 57 h 678"/>
                <a:gd name="T92" fmla="*/ 353 w 543"/>
                <a:gd name="T93" fmla="*/ 38 h 678"/>
                <a:gd name="T94" fmla="*/ 372 w 543"/>
                <a:gd name="T95" fmla="*/ 29 h 678"/>
                <a:gd name="T96" fmla="*/ 381 w 543"/>
                <a:gd name="T97" fmla="*/ 38 h 678"/>
                <a:gd name="T98" fmla="*/ 400 w 543"/>
                <a:gd name="T99" fmla="*/ 38 h 678"/>
                <a:gd name="T100" fmla="*/ 438 w 543"/>
                <a:gd name="T101" fmla="*/ 29 h 678"/>
                <a:gd name="T102" fmla="*/ 467 w 543"/>
                <a:gd name="T103" fmla="*/ 38 h 678"/>
                <a:gd name="T104" fmla="*/ 476 w 543"/>
                <a:gd name="T105" fmla="*/ 10 h 678"/>
                <a:gd name="T106" fmla="*/ 543 w 543"/>
                <a:gd name="T107" fmla="*/ 76 h 678"/>
                <a:gd name="T108" fmla="*/ 486 w 543"/>
                <a:gd name="T109" fmla="*/ 200 h 678"/>
                <a:gd name="T110" fmla="*/ 467 w 543"/>
                <a:gd name="T111" fmla="*/ 363 h 678"/>
                <a:gd name="T112" fmla="*/ 438 w 543"/>
                <a:gd name="T113" fmla="*/ 449 h 6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43"/>
                <a:gd name="T172" fmla="*/ 0 h 678"/>
                <a:gd name="T173" fmla="*/ 543 w 543"/>
                <a:gd name="T174" fmla="*/ 678 h 67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43" h="678">
                  <a:moveTo>
                    <a:pt x="476" y="487"/>
                  </a:moveTo>
                  <a:lnTo>
                    <a:pt x="476" y="496"/>
                  </a:lnTo>
                  <a:lnTo>
                    <a:pt x="457" y="496"/>
                  </a:lnTo>
                  <a:lnTo>
                    <a:pt x="448" y="487"/>
                  </a:lnTo>
                  <a:lnTo>
                    <a:pt x="419" y="487"/>
                  </a:lnTo>
                  <a:lnTo>
                    <a:pt x="410" y="496"/>
                  </a:lnTo>
                  <a:lnTo>
                    <a:pt x="400" y="487"/>
                  </a:lnTo>
                  <a:lnTo>
                    <a:pt x="391" y="487"/>
                  </a:lnTo>
                  <a:lnTo>
                    <a:pt x="381" y="477"/>
                  </a:lnTo>
                  <a:lnTo>
                    <a:pt x="372" y="477"/>
                  </a:lnTo>
                  <a:lnTo>
                    <a:pt x="362" y="477"/>
                  </a:lnTo>
                  <a:lnTo>
                    <a:pt x="353" y="477"/>
                  </a:lnTo>
                  <a:lnTo>
                    <a:pt x="343" y="468"/>
                  </a:lnTo>
                  <a:lnTo>
                    <a:pt x="314" y="487"/>
                  </a:lnTo>
                  <a:lnTo>
                    <a:pt x="314" y="496"/>
                  </a:lnTo>
                  <a:lnTo>
                    <a:pt x="305" y="506"/>
                  </a:lnTo>
                  <a:lnTo>
                    <a:pt x="295" y="496"/>
                  </a:lnTo>
                  <a:lnTo>
                    <a:pt x="286" y="496"/>
                  </a:lnTo>
                  <a:lnTo>
                    <a:pt x="286" y="554"/>
                  </a:lnTo>
                  <a:lnTo>
                    <a:pt x="305" y="554"/>
                  </a:lnTo>
                  <a:lnTo>
                    <a:pt x="314" y="563"/>
                  </a:lnTo>
                  <a:lnTo>
                    <a:pt x="314" y="582"/>
                  </a:lnTo>
                  <a:lnTo>
                    <a:pt x="305" y="592"/>
                  </a:lnTo>
                  <a:lnTo>
                    <a:pt x="295" y="592"/>
                  </a:lnTo>
                  <a:lnTo>
                    <a:pt x="295" y="601"/>
                  </a:lnTo>
                  <a:lnTo>
                    <a:pt x="286" y="601"/>
                  </a:lnTo>
                  <a:lnTo>
                    <a:pt x="286" y="611"/>
                  </a:lnTo>
                  <a:lnTo>
                    <a:pt x="276" y="611"/>
                  </a:lnTo>
                  <a:lnTo>
                    <a:pt x="276" y="620"/>
                  </a:lnTo>
                  <a:lnTo>
                    <a:pt x="286" y="620"/>
                  </a:lnTo>
                  <a:lnTo>
                    <a:pt x="286" y="630"/>
                  </a:lnTo>
                  <a:lnTo>
                    <a:pt x="295" y="630"/>
                  </a:lnTo>
                  <a:lnTo>
                    <a:pt x="295" y="639"/>
                  </a:lnTo>
                  <a:lnTo>
                    <a:pt x="295" y="649"/>
                  </a:lnTo>
                  <a:lnTo>
                    <a:pt x="295" y="659"/>
                  </a:lnTo>
                  <a:lnTo>
                    <a:pt x="305" y="659"/>
                  </a:lnTo>
                  <a:lnTo>
                    <a:pt x="305" y="668"/>
                  </a:lnTo>
                  <a:lnTo>
                    <a:pt x="305" y="678"/>
                  </a:lnTo>
                  <a:lnTo>
                    <a:pt x="295" y="678"/>
                  </a:lnTo>
                  <a:lnTo>
                    <a:pt x="276" y="668"/>
                  </a:lnTo>
                  <a:lnTo>
                    <a:pt x="267" y="668"/>
                  </a:lnTo>
                  <a:lnTo>
                    <a:pt x="248" y="649"/>
                  </a:lnTo>
                  <a:lnTo>
                    <a:pt x="229" y="649"/>
                  </a:lnTo>
                  <a:lnTo>
                    <a:pt x="219" y="649"/>
                  </a:lnTo>
                  <a:lnTo>
                    <a:pt x="200" y="639"/>
                  </a:lnTo>
                  <a:lnTo>
                    <a:pt x="181" y="639"/>
                  </a:lnTo>
                  <a:lnTo>
                    <a:pt x="171" y="630"/>
                  </a:lnTo>
                  <a:lnTo>
                    <a:pt x="152" y="620"/>
                  </a:lnTo>
                  <a:lnTo>
                    <a:pt x="143" y="611"/>
                  </a:lnTo>
                  <a:lnTo>
                    <a:pt x="133" y="611"/>
                  </a:lnTo>
                  <a:lnTo>
                    <a:pt x="133" y="601"/>
                  </a:lnTo>
                  <a:lnTo>
                    <a:pt x="143" y="601"/>
                  </a:lnTo>
                  <a:lnTo>
                    <a:pt x="152" y="592"/>
                  </a:lnTo>
                  <a:lnTo>
                    <a:pt x="143" y="582"/>
                  </a:lnTo>
                  <a:lnTo>
                    <a:pt x="162" y="573"/>
                  </a:lnTo>
                  <a:lnTo>
                    <a:pt x="143" y="573"/>
                  </a:lnTo>
                  <a:lnTo>
                    <a:pt x="152" y="563"/>
                  </a:lnTo>
                  <a:lnTo>
                    <a:pt x="162" y="554"/>
                  </a:lnTo>
                  <a:lnTo>
                    <a:pt x="171" y="554"/>
                  </a:lnTo>
                  <a:lnTo>
                    <a:pt x="171" y="534"/>
                  </a:lnTo>
                  <a:lnTo>
                    <a:pt x="181" y="525"/>
                  </a:lnTo>
                  <a:lnTo>
                    <a:pt x="171" y="515"/>
                  </a:lnTo>
                  <a:lnTo>
                    <a:pt x="162" y="506"/>
                  </a:lnTo>
                  <a:lnTo>
                    <a:pt x="152" y="506"/>
                  </a:lnTo>
                  <a:lnTo>
                    <a:pt x="143" y="496"/>
                  </a:lnTo>
                  <a:lnTo>
                    <a:pt x="114" y="496"/>
                  </a:lnTo>
                  <a:lnTo>
                    <a:pt x="105" y="496"/>
                  </a:lnTo>
                  <a:lnTo>
                    <a:pt x="105" y="487"/>
                  </a:lnTo>
                  <a:lnTo>
                    <a:pt x="95" y="487"/>
                  </a:lnTo>
                  <a:lnTo>
                    <a:pt x="86" y="458"/>
                  </a:lnTo>
                  <a:lnTo>
                    <a:pt x="67" y="458"/>
                  </a:lnTo>
                  <a:lnTo>
                    <a:pt x="57" y="468"/>
                  </a:lnTo>
                  <a:lnTo>
                    <a:pt x="57" y="458"/>
                  </a:lnTo>
                  <a:lnTo>
                    <a:pt x="48" y="449"/>
                  </a:lnTo>
                  <a:lnTo>
                    <a:pt x="48" y="439"/>
                  </a:lnTo>
                  <a:lnTo>
                    <a:pt x="57" y="439"/>
                  </a:lnTo>
                  <a:lnTo>
                    <a:pt x="67" y="449"/>
                  </a:lnTo>
                  <a:lnTo>
                    <a:pt x="76" y="439"/>
                  </a:lnTo>
                  <a:lnTo>
                    <a:pt x="57" y="420"/>
                  </a:lnTo>
                  <a:lnTo>
                    <a:pt x="48" y="410"/>
                  </a:lnTo>
                  <a:lnTo>
                    <a:pt x="48" y="391"/>
                  </a:lnTo>
                  <a:lnTo>
                    <a:pt x="38" y="382"/>
                  </a:lnTo>
                  <a:lnTo>
                    <a:pt x="28" y="382"/>
                  </a:lnTo>
                  <a:lnTo>
                    <a:pt x="19" y="382"/>
                  </a:lnTo>
                  <a:lnTo>
                    <a:pt x="19" y="372"/>
                  </a:lnTo>
                  <a:lnTo>
                    <a:pt x="9" y="372"/>
                  </a:lnTo>
                  <a:lnTo>
                    <a:pt x="9" y="353"/>
                  </a:lnTo>
                  <a:lnTo>
                    <a:pt x="0" y="353"/>
                  </a:lnTo>
                  <a:lnTo>
                    <a:pt x="0" y="334"/>
                  </a:lnTo>
                  <a:lnTo>
                    <a:pt x="0" y="324"/>
                  </a:lnTo>
                  <a:lnTo>
                    <a:pt x="0" y="315"/>
                  </a:lnTo>
                  <a:lnTo>
                    <a:pt x="0" y="286"/>
                  </a:lnTo>
                  <a:lnTo>
                    <a:pt x="9" y="286"/>
                  </a:lnTo>
                  <a:lnTo>
                    <a:pt x="9" y="277"/>
                  </a:lnTo>
                  <a:lnTo>
                    <a:pt x="19" y="277"/>
                  </a:lnTo>
                  <a:lnTo>
                    <a:pt x="38" y="277"/>
                  </a:lnTo>
                  <a:lnTo>
                    <a:pt x="38" y="267"/>
                  </a:lnTo>
                  <a:lnTo>
                    <a:pt x="28" y="267"/>
                  </a:lnTo>
                  <a:lnTo>
                    <a:pt x="19" y="267"/>
                  </a:lnTo>
                  <a:lnTo>
                    <a:pt x="9" y="267"/>
                  </a:lnTo>
                  <a:lnTo>
                    <a:pt x="9" y="258"/>
                  </a:lnTo>
                  <a:lnTo>
                    <a:pt x="19" y="239"/>
                  </a:lnTo>
                  <a:lnTo>
                    <a:pt x="28" y="220"/>
                  </a:lnTo>
                  <a:lnTo>
                    <a:pt x="57" y="191"/>
                  </a:lnTo>
                  <a:lnTo>
                    <a:pt x="48" y="181"/>
                  </a:lnTo>
                  <a:lnTo>
                    <a:pt x="38" y="172"/>
                  </a:lnTo>
                  <a:lnTo>
                    <a:pt x="38" y="162"/>
                  </a:lnTo>
                  <a:lnTo>
                    <a:pt x="38" y="153"/>
                  </a:lnTo>
                  <a:lnTo>
                    <a:pt x="38" y="143"/>
                  </a:lnTo>
                  <a:lnTo>
                    <a:pt x="38" y="134"/>
                  </a:lnTo>
                  <a:lnTo>
                    <a:pt x="28" y="124"/>
                  </a:lnTo>
                  <a:lnTo>
                    <a:pt x="38" y="115"/>
                  </a:lnTo>
                  <a:lnTo>
                    <a:pt x="28" y="105"/>
                  </a:lnTo>
                  <a:lnTo>
                    <a:pt x="38" y="86"/>
                  </a:lnTo>
                  <a:lnTo>
                    <a:pt x="19" y="67"/>
                  </a:lnTo>
                  <a:lnTo>
                    <a:pt x="28" y="57"/>
                  </a:lnTo>
                  <a:lnTo>
                    <a:pt x="19" y="48"/>
                  </a:lnTo>
                  <a:lnTo>
                    <a:pt x="9" y="38"/>
                  </a:lnTo>
                  <a:lnTo>
                    <a:pt x="9" y="29"/>
                  </a:lnTo>
                  <a:lnTo>
                    <a:pt x="19" y="19"/>
                  </a:lnTo>
                  <a:lnTo>
                    <a:pt x="28" y="19"/>
                  </a:lnTo>
                  <a:lnTo>
                    <a:pt x="48" y="10"/>
                  </a:lnTo>
                  <a:lnTo>
                    <a:pt x="57" y="10"/>
                  </a:lnTo>
                  <a:lnTo>
                    <a:pt x="57" y="0"/>
                  </a:lnTo>
                  <a:lnTo>
                    <a:pt x="67" y="0"/>
                  </a:lnTo>
                  <a:lnTo>
                    <a:pt x="76" y="10"/>
                  </a:lnTo>
                  <a:lnTo>
                    <a:pt x="67" y="10"/>
                  </a:lnTo>
                  <a:lnTo>
                    <a:pt x="67" y="19"/>
                  </a:lnTo>
                  <a:lnTo>
                    <a:pt x="76" y="19"/>
                  </a:lnTo>
                  <a:lnTo>
                    <a:pt x="86" y="19"/>
                  </a:lnTo>
                  <a:lnTo>
                    <a:pt x="105" y="19"/>
                  </a:lnTo>
                  <a:lnTo>
                    <a:pt x="124" y="19"/>
                  </a:lnTo>
                  <a:lnTo>
                    <a:pt x="143" y="38"/>
                  </a:lnTo>
                  <a:lnTo>
                    <a:pt x="162" y="38"/>
                  </a:lnTo>
                  <a:lnTo>
                    <a:pt x="171" y="38"/>
                  </a:lnTo>
                  <a:lnTo>
                    <a:pt x="171" y="48"/>
                  </a:lnTo>
                  <a:lnTo>
                    <a:pt x="181" y="48"/>
                  </a:lnTo>
                  <a:lnTo>
                    <a:pt x="191" y="48"/>
                  </a:lnTo>
                  <a:lnTo>
                    <a:pt x="200" y="57"/>
                  </a:lnTo>
                  <a:lnTo>
                    <a:pt x="200" y="76"/>
                  </a:lnTo>
                  <a:lnTo>
                    <a:pt x="162" y="95"/>
                  </a:lnTo>
                  <a:lnTo>
                    <a:pt x="143" y="95"/>
                  </a:lnTo>
                  <a:lnTo>
                    <a:pt x="124" y="86"/>
                  </a:lnTo>
                  <a:lnTo>
                    <a:pt x="105" y="76"/>
                  </a:lnTo>
                  <a:lnTo>
                    <a:pt x="95" y="76"/>
                  </a:lnTo>
                  <a:lnTo>
                    <a:pt x="86" y="76"/>
                  </a:lnTo>
                  <a:lnTo>
                    <a:pt x="67" y="67"/>
                  </a:lnTo>
                  <a:lnTo>
                    <a:pt x="86" y="86"/>
                  </a:lnTo>
                  <a:lnTo>
                    <a:pt x="105" y="95"/>
                  </a:lnTo>
                  <a:lnTo>
                    <a:pt x="105" y="105"/>
                  </a:lnTo>
                  <a:lnTo>
                    <a:pt x="95" y="115"/>
                  </a:lnTo>
                  <a:lnTo>
                    <a:pt x="105" y="124"/>
                  </a:lnTo>
                  <a:lnTo>
                    <a:pt x="105" y="143"/>
                  </a:lnTo>
                  <a:lnTo>
                    <a:pt x="105" y="153"/>
                  </a:lnTo>
                  <a:lnTo>
                    <a:pt x="114" y="153"/>
                  </a:lnTo>
                  <a:lnTo>
                    <a:pt x="124" y="162"/>
                  </a:lnTo>
                  <a:lnTo>
                    <a:pt x="143" y="162"/>
                  </a:lnTo>
                  <a:lnTo>
                    <a:pt x="152" y="153"/>
                  </a:lnTo>
                  <a:lnTo>
                    <a:pt x="143" y="153"/>
                  </a:lnTo>
                  <a:lnTo>
                    <a:pt x="133" y="143"/>
                  </a:lnTo>
                  <a:lnTo>
                    <a:pt x="124" y="134"/>
                  </a:lnTo>
                  <a:lnTo>
                    <a:pt x="133" y="124"/>
                  </a:lnTo>
                  <a:lnTo>
                    <a:pt x="143" y="124"/>
                  </a:lnTo>
                  <a:lnTo>
                    <a:pt x="143" y="134"/>
                  </a:lnTo>
                  <a:lnTo>
                    <a:pt x="162" y="143"/>
                  </a:lnTo>
                  <a:lnTo>
                    <a:pt x="181" y="143"/>
                  </a:lnTo>
                  <a:lnTo>
                    <a:pt x="181" y="134"/>
                  </a:lnTo>
                  <a:lnTo>
                    <a:pt x="171" y="105"/>
                  </a:lnTo>
                  <a:lnTo>
                    <a:pt x="191" y="95"/>
                  </a:lnTo>
                  <a:lnTo>
                    <a:pt x="200" y="86"/>
                  </a:lnTo>
                  <a:lnTo>
                    <a:pt x="210" y="76"/>
                  </a:lnTo>
                  <a:lnTo>
                    <a:pt x="219" y="76"/>
                  </a:lnTo>
                  <a:lnTo>
                    <a:pt x="238" y="86"/>
                  </a:lnTo>
                  <a:lnTo>
                    <a:pt x="248" y="67"/>
                  </a:lnTo>
                  <a:lnTo>
                    <a:pt x="238" y="67"/>
                  </a:lnTo>
                  <a:lnTo>
                    <a:pt x="238" y="57"/>
                  </a:lnTo>
                  <a:lnTo>
                    <a:pt x="238" y="48"/>
                  </a:lnTo>
                  <a:lnTo>
                    <a:pt x="238" y="38"/>
                  </a:lnTo>
                  <a:lnTo>
                    <a:pt x="229" y="38"/>
                  </a:lnTo>
                  <a:lnTo>
                    <a:pt x="229" y="29"/>
                  </a:lnTo>
                  <a:lnTo>
                    <a:pt x="238" y="29"/>
                  </a:lnTo>
                  <a:lnTo>
                    <a:pt x="248" y="38"/>
                  </a:lnTo>
                  <a:lnTo>
                    <a:pt x="267" y="38"/>
                  </a:lnTo>
                  <a:lnTo>
                    <a:pt x="276" y="48"/>
                  </a:lnTo>
                  <a:lnTo>
                    <a:pt x="257" y="57"/>
                  </a:lnTo>
                  <a:lnTo>
                    <a:pt x="248" y="57"/>
                  </a:lnTo>
                  <a:lnTo>
                    <a:pt x="257" y="67"/>
                  </a:lnTo>
                  <a:lnTo>
                    <a:pt x="276" y="76"/>
                  </a:lnTo>
                  <a:lnTo>
                    <a:pt x="295" y="67"/>
                  </a:lnTo>
                  <a:lnTo>
                    <a:pt x="295" y="57"/>
                  </a:lnTo>
                  <a:lnTo>
                    <a:pt x="305" y="57"/>
                  </a:lnTo>
                  <a:lnTo>
                    <a:pt x="305" y="48"/>
                  </a:lnTo>
                  <a:lnTo>
                    <a:pt x="314" y="48"/>
                  </a:lnTo>
                  <a:lnTo>
                    <a:pt x="324" y="48"/>
                  </a:lnTo>
                  <a:lnTo>
                    <a:pt x="334" y="38"/>
                  </a:lnTo>
                  <a:lnTo>
                    <a:pt x="353" y="38"/>
                  </a:lnTo>
                  <a:lnTo>
                    <a:pt x="362" y="38"/>
                  </a:lnTo>
                  <a:lnTo>
                    <a:pt x="372" y="29"/>
                  </a:lnTo>
                  <a:lnTo>
                    <a:pt x="381" y="29"/>
                  </a:lnTo>
                  <a:lnTo>
                    <a:pt x="391" y="29"/>
                  </a:lnTo>
                  <a:lnTo>
                    <a:pt x="381" y="29"/>
                  </a:lnTo>
                  <a:lnTo>
                    <a:pt x="391" y="38"/>
                  </a:lnTo>
                  <a:lnTo>
                    <a:pt x="381" y="38"/>
                  </a:lnTo>
                  <a:lnTo>
                    <a:pt x="381" y="48"/>
                  </a:lnTo>
                  <a:lnTo>
                    <a:pt x="391" y="38"/>
                  </a:lnTo>
                  <a:lnTo>
                    <a:pt x="400" y="38"/>
                  </a:lnTo>
                  <a:lnTo>
                    <a:pt x="410" y="38"/>
                  </a:lnTo>
                  <a:lnTo>
                    <a:pt x="419" y="38"/>
                  </a:lnTo>
                  <a:lnTo>
                    <a:pt x="429" y="38"/>
                  </a:lnTo>
                  <a:lnTo>
                    <a:pt x="438" y="29"/>
                  </a:lnTo>
                  <a:lnTo>
                    <a:pt x="448" y="29"/>
                  </a:lnTo>
                  <a:lnTo>
                    <a:pt x="457" y="29"/>
                  </a:lnTo>
                  <a:lnTo>
                    <a:pt x="467" y="29"/>
                  </a:lnTo>
                  <a:lnTo>
                    <a:pt x="457" y="38"/>
                  </a:lnTo>
                  <a:lnTo>
                    <a:pt x="467" y="38"/>
                  </a:lnTo>
                  <a:lnTo>
                    <a:pt x="476" y="38"/>
                  </a:lnTo>
                  <a:lnTo>
                    <a:pt x="476" y="29"/>
                  </a:lnTo>
                  <a:lnTo>
                    <a:pt x="486" y="29"/>
                  </a:lnTo>
                  <a:lnTo>
                    <a:pt x="486" y="19"/>
                  </a:lnTo>
                  <a:lnTo>
                    <a:pt x="476" y="10"/>
                  </a:lnTo>
                  <a:lnTo>
                    <a:pt x="496" y="10"/>
                  </a:lnTo>
                  <a:lnTo>
                    <a:pt x="534" y="10"/>
                  </a:lnTo>
                  <a:lnTo>
                    <a:pt x="543" y="29"/>
                  </a:lnTo>
                  <a:lnTo>
                    <a:pt x="534" y="38"/>
                  </a:lnTo>
                  <a:lnTo>
                    <a:pt x="543" y="76"/>
                  </a:lnTo>
                  <a:lnTo>
                    <a:pt x="534" y="86"/>
                  </a:lnTo>
                  <a:lnTo>
                    <a:pt x="524" y="95"/>
                  </a:lnTo>
                  <a:lnTo>
                    <a:pt x="486" y="143"/>
                  </a:lnTo>
                  <a:lnTo>
                    <a:pt x="476" y="191"/>
                  </a:lnTo>
                  <a:lnTo>
                    <a:pt x="486" y="200"/>
                  </a:lnTo>
                  <a:lnTo>
                    <a:pt x="476" y="229"/>
                  </a:lnTo>
                  <a:lnTo>
                    <a:pt x="467" y="277"/>
                  </a:lnTo>
                  <a:lnTo>
                    <a:pt x="476" y="305"/>
                  </a:lnTo>
                  <a:lnTo>
                    <a:pt x="476" y="344"/>
                  </a:lnTo>
                  <a:lnTo>
                    <a:pt x="467" y="363"/>
                  </a:lnTo>
                  <a:lnTo>
                    <a:pt x="457" y="372"/>
                  </a:lnTo>
                  <a:lnTo>
                    <a:pt x="448" y="382"/>
                  </a:lnTo>
                  <a:lnTo>
                    <a:pt x="457" y="391"/>
                  </a:lnTo>
                  <a:lnTo>
                    <a:pt x="438" y="439"/>
                  </a:lnTo>
                  <a:lnTo>
                    <a:pt x="438" y="449"/>
                  </a:lnTo>
                  <a:lnTo>
                    <a:pt x="457" y="477"/>
                  </a:lnTo>
                  <a:lnTo>
                    <a:pt x="476" y="48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06" name="Freeform 285">
              <a:extLst>
                <a:ext uri="{FF2B5EF4-FFF2-40B4-BE49-F238E27FC236}">
                  <a16:creationId xmlns:a16="http://schemas.microsoft.com/office/drawing/2014/main" id="{916CB9B3-4103-4EED-9022-38A5EBC49D2C}"/>
                </a:ext>
              </a:extLst>
            </p:cNvPr>
            <p:cNvSpPr>
              <a:spLocks/>
            </p:cNvSpPr>
            <p:nvPr/>
          </p:nvSpPr>
          <p:spPr bwMode="gray">
            <a:xfrm>
              <a:off x="3980" y="2032"/>
              <a:ext cx="477" cy="210"/>
            </a:xfrm>
            <a:custGeom>
              <a:avLst/>
              <a:gdLst>
                <a:gd name="T0" fmla="*/ 19 w 477"/>
                <a:gd name="T1" fmla="*/ 96 h 210"/>
                <a:gd name="T2" fmla="*/ 58 w 477"/>
                <a:gd name="T3" fmla="*/ 124 h 210"/>
                <a:gd name="T4" fmla="*/ 58 w 477"/>
                <a:gd name="T5" fmla="*/ 143 h 210"/>
                <a:gd name="T6" fmla="*/ 124 w 477"/>
                <a:gd name="T7" fmla="*/ 172 h 210"/>
                <a:gd name="T8" fmla="*/ 134 w 477"/>
                <a:gd name="T9" fmla="*/ 201 h 210"/>
                <a:gd name="T10" fmla="*/ 153 w 477"/>
                <a:gd name="T11" fmla="*/ 191 h 210"/>
                <a:gd name="T12" fmla="*/ 162 w 477"/>
                <a:gd name="T13" fmla="*/ 191 h 210"/>
                <a:gd name="T14" fmla="*/ 210 w 477"/>
                <a:gd name="T15" fmla="*/ 191 h 210"/>
                <a:gd name="T16" fmla="*/ 239 w 477"/>
                <a:gd name="T17" fmla="*/ 210 h 210"/>
                <a:gd name="T18" fmla="*/ 267 w 477"/>
                <a:gd name="T19" fmla="*/ 210 h 210"/>
                <a:gd name="T20" fmla="*/ 296 w 477"/>
                <a:gd name="T21" fmla="*/ 201 h 210"/>
                <a:gd name="T22" fmla="*/ 334 w 477"/>
                <a:gd name="T23" fmla="*/ 191 h 210"/>
                <a:gd name="T24" fmla="*/ 353 w 477"/>
                <a:gd name="T25" fmla="*/ 181 h 210"/>
                <a:gd name="T26" fmla="*/ 353 w 477"/>
                <a:gd name="T27" fmla="*/ 162 h 210"/>
                <a:gd name="T28" fmla="*/ 382 w 477"/>
                <a:gd name="T29" fmla="*/ 153 h 210"/>
                <a:gd name="T30" fmla="*/ 410 w 477"/>
                <a:gd name="T31" fmla="*/ 143 h 210"/>
                <a:gd name="T32" fmla="*/ 429 w 477"/>
                <a:gd name="T33" fmla="*/ 124 h 210"/>
                <a:gd name="T34" fmla="*/ 439 w 477"/>
                <a:gd name="T35" fmla="*/ 124 h 210"/>
                <a:gd name="T36" fmla="*/ 448 w 477"/>
                <a:gd name="T37" fmla="*/ 115 h 210"/>
                <a:gd name="T38" fmla="*/ 467 w 477"/>
                <a:gd name="T39" fmla="*/ 115 h 210"/>
                <a:gd name="T40" fmla="*/ 467 w 477"/>
                <a:gd name="T41" fmla="*/ 96 h 210"/>
                <a:gd name="T42" fmla="*/ 439 w 477"/>
                <a:gd name="T43" fmla="*/ 96 h 210"/>
                <a:gd name="T44" fmla="*/ 420 w 477"/>
                <a:gd name="T45" fmla="*/ 96 h 210"/>
                <a:gd name="T46" fmla="*/ 410 w 477"/>
                <a:gd name="T47" fmla="*/ 86 h 210"/>
                <a:gd name="T48" fmla="*/ 429 w 477"/>
                <a:gd name="T49" fmla="*/ 57 h 210"/>
                <a:gd name="T50" fmla="*/ 420 w 477"/>
                <a:gd name="T51" fmla="*/ 57 h 210"/>
                <a:gd name="T52" fmla="*/ 391 w 477"/>
                <a:gd name="T53" fmla="*/ 38 h 210"/>
                <a:gd name="T54" fmla="*/ 363 w 477"/>
                <a:gd name="T55" fmla="*/ 67 h 210"/>
                <a:gd name="T56" fmla="*/ 324 w 477"/>
                <a:gd name="T57" fmla="*/ 67 h 210"/>
                <a:gd name="T58" fmla="*/ 305 w 477"/>
                <a:gd name="T59" fmla="*/ 57 h 210"/>
                <a:gd name="T60" fmla="*/ 258 w 477"/>
                <a:gd name="T61" fmla="*/ 38 h 210"/>
                <a:gd name="T62" fmla="*/ 210 w 477"/>
                <a:gd name="T63" fmla="*/ 10 h 210"/>
                <a:gd name="T64" fmla="*/ 162 w 477"/>
                <a:gd name="T65" fmla="*/ 19 h 210"/>
                <a:gd name="T66" fmla="*/ 153 w 477"/>
                <a:gd name="T67" fmla="*/ 38 h 210"/>
                <a:gd name="T68" fmla="*/ 134 w 477"/>
                <a:gd name="T69" fmla="*/ 57 h 210"/>
                <a:gd name="T70" fmla="*/ 124 w 477"/>
                <a:gd name="T71" fmla="*/ 48 h 210"/>
                <a:gd name="T72" fmla="*/ 115 w 477"/>
                <a:gd name="T73" fmla="*/ 57 h 210"/>
                <a:gd name="T74" fmla="*/ 77 w 477"/>
                <a:gd name="T75" fmla="*/ 38 h 210"/>
                <a:gd name="T76" fmla="*/ 58 w 477"/>
                <a:gd name="T77" fmla="*/ 29 h 210"/>
                <a:gd name="T78" fmla="*/ 38 w 477"/>
                <a:gd name="T79" fmla="*/ 38 h 210"/>
                <a:gd name="T80" fmla="*/ 0 w 477"/>
                <a:gd name="T81" fmla="*/ 57 h 2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77"/>
                <a:gd name="T124" fmla="*/ 0 h 210"/>
                <a:gd name="T125" fmla="*/ 477 w 477"/>
                <a:gd name="T126" fmla="*/ 210 h 21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77" h="210">
                  <a:moveTo>
                    <a:pt x="0" y="67"/>
                  </a:moveTo>
                  <a:lnTo>
                    <a:pt x="19" y="96"/>
                  </a:lnTo>
                  <a:lnTo>
                    <a:pt x="29" y="96"/>
                  </a:lnTo>
                  <a:lnTo>
                    <a:pt x="58" y="124"/>
                  </a:lnTo>
                  <a:lnTo>
                    <a:pt x="48" y="134"/>
                  </a:lnTo>
                  <a:lnTo>
                    <a:pt x="58" y="143"/>
                  </a:lnTo>
                  <a:lnTo>
                    <a:pt x="77" y="153"/>
                  </a:lnTo>
                  <a:lnTo>
                    <a:pt x="124" y="172"/>
                  </a:lnTo>
                  <a:lnTo>
                    <a:pt x="124" y="181"/>
                  </a:lnTo>
                  <a:lnTo>
                    <a:pt x="134" y="201"/>
                  </a:lnTo>
                  <a:lnTo>
                    <a:pt x="143" y="201"/>
                  </a:lnTo>
                  <a:lnTo>
                    <a:pt x="153" y="191"/>
                  </a:lnTo>
                  <a:lnTo>
                    <a:pt x="162" y="191"/>
                  </a:lnTo>
                  <a:lnTo>
                    <a:pt x="181" y="191"/>
                  </a:lnTo>
                  <a:lnTo>
                    <a:pt x="210" y="191"/>
                  </a:lnTo>
                  <a:lnTo>
                    <a:pt x="229" y="210"/>
                  </a:lnTo>
                  <a:lnTo>
                    <a:pt x="239" y="210"/>
                  </a:lnTo>
                  <a:lnTo>
                    <a:pt x="258" y="210"/>
                  </a:lnTo>
                  <a:lnTo>
                    <a:pt x="267" y="210"/>
                  </a:lnTo>
                  <a:lnTo>
                    <a:pt x="286" y="201"/>
                  </a:lnTo>
                  <a:lnTo>
                    <a:pt x="296" y="201"/>
                  </a:lnTo>
                  <a:lnTo>
                    <a:pt x="315" y="201"/>
                  </a:lnTo>
                  <a:lnTo>
                    <a:pt x="334" y="191"/>
                  </a:lnTo>
                  <a:lnTo>
                    <a:pt x="344" y="181"/>
                  </a:lnTo>
                  <a:lnTo>
                    <a:pt x="353" y="181"/>
                  </a:lnTo>
                  <a:lnTo>
                    <a:pt x="363" y="172"/>
                  </a:lnTo>
                  <a:lnTo>
                    <a:pt x="353" y="162"/>
                  </a:lnTo>
                  <a:lnTo>
                    <a:pt x="363" y="143"/>
                  </a:lnTo>
                  <a:lnTo>
                    <a:pt x="382" y="153"/>
                  </a:lnTo>
                  <a:lnTo>
                    <a:pt x="401" y="134"/>
                  </a:lnTo>
                  <a:lnTo>
                    <a:pt x="410" y="143"/>
                  </a:lnTo>
                  <a:lnTo>
                    <a:pt x="420" y="143"/>
                  </a:lnTo>
                  <a:lnTo>
                    <a:pt x="429" y="124"/>
                  </a:lnTo>
                  <a:lnTo>
                    <a:pt x="439" y="115"/>
                  </a:lnTo>
                  <a:lnTo>
                    <a:pt x="439" y="124"/>
                  </a:lnTo>
                  <a:lnTo>
                    <a:pt x="448" y="124"/>
                  </a:lnTo>
                  <a:lnTo>
                    <a:pt x="448" y="115"/>
                  </a:lnTo>
                  <a:lnTo>
                    <a:pt x="458" y="115"/>
                  </a:lnTo>
                  <a:lnTo>
                    <a:pt x="467" y="115"/>
                  </a:lnTo>
                  <a:lnTo>
                    <a:pt x="477" y="115"/>
                  </a:lnTo>
                  <a:lnTo>
                    <a:pt x="467" y="96"/>
                  </a:lnTo>
                  <a:lnTo>
                    <a:pt x="448" y="86"/>
                  </a:lnTo>
                  <a:lnTo>
                    <a:pt x="439" y="96"/>
                  </a:lnTo>
                  <a:lnTo>
                    <a:pt x="429" y="96"/>
                  </a:lnTo>
                  <a:lnTo>
                    <a:pt x="420" y="96"/>
                  </a:lnTo>
                  <a:lnTo>
                    <a:pt x="410" y="96"/>
                  </a:lnTo>
                  <a:lnTo>
                    <a:pt x="410" y="86"/>
                  </a:lnTo>
                  <a:lnTo>
                    <a:pt x="420" y="76"/>
                  </a:lnTo>
                  <a:lnTo>
                    <a:pt x="429" y="57"/>
                  </a:lnTo>
                  <a:lnTo>
                    <a:pt x="439" y="57"/>
                  </a:lnTo>
                  <a:lnTo>
                    <a:pt x="420" y="57"/>
                  </a:lnTo>
                  <a:lnTo>
                    <a:pt x="401" y="48"/>
                  </a:lnTo>
                  <a:lnTo>
                    <a:pt x="391" y="38"/>
                  </a:lnTo>
                  <a:lnTo>
                    <a:pt x="382" y="57"/>
                  </a:lnTo>
                  <a:lnTo>
                    <a:pt x="363" y="67"/>
                  </a:lnTo>
                  <a:lnTo>
                    <a:pt x="344" y="67"/>
                  </a:lnTo>
                  <a:lnTo>
                    <a:pt x="324" y="67"/>
                  </a:lnTo>
                  <a:lnTo>
                    <a:pt x="324" y="57"/>
                  </a:lnTo>
                  <a:lnTo>
                    <a:pt x="305" y="57"/>
                  </a:lnTo>
                  <a:lnTo>
                    <a:pt x="296" y="48"/>
                  </a:lnTo>
                  <a:lnTo>
                    <a:pt x="258" y="38"/>
                  </a:lnTo>
                  <a:lnTo>
                    <a:pt x="229" y="48"/>
                  </a:lnTo>
                  <a:lnTo>
                    <a:pt x="210" y="10"/>
                  </a:lnTo>
                  <a:lnTo>
                    <a:pt x="172" y="0"/>
                  </a:lnTo>
                  <a:lnTo>
                    <a:pt x="162" y="19"/>
                  </a:lnTo>
                  <a:lnTo>
                    <a:pt x="153" y="29"/>
                  </a:lnTo>
                  <a:lnTo>
                    <a:pt x="153" y="38"/>
                  </a:lnTo>
                  <a:lnTo>
                    <a:pt x="153" y="48"/>
                  </a:lnTo>
                  <a:lnTo>
                    <a:pt x="134" y="57"/>
                  </a:lnTo>
                  <a:lnTo>
                    <a:pt x="134" y="48"/>
                  </a:lnTo>
                  <a:lnTo>
                    <a:pt x="124" y="48"/>
                  </a:lnTo>
                  <a:lnTo>
                    <a:pt x="115" y="57"/>
                  </a:lnTo>
                  <a:lnTo>
                    <a:pt x="96" y="38"/>
                  </a:lnTo>
                  <a:lnTo>
                    <a:pt x="77" y="38"/>
                  </a:lnTo>
                  <a:lnTo>
                    <a:pt x="67" y="29"/>
                  </a:lnTo>
                  <a:lnTo>
                    <a:pt x="58" y="29"/>
                  </a:lnTo>
                  <a:lnTo>
                    <a:pt x="48" y="38"/>
                  </a:lnTo>
                  <a:lnTo>
                    <a:pt x="38" y="38"/>
                  </a:lnTo>
                  <a:lnTo>
                    <a:pt x="29" y="57"/>
                  </a:lnTo>
                  <a:lnTo>
                    <a:pt x="0" y="57"/>
                  </a:lnTo>
                  <a:lnTo>
                    <a:pt x="0" y="6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07" name="Freeform 286">
              <a:extLst>
                <a:ext uri="{FF2B5EF4-FFF2-40B4-BE49-F238E27FC236}">
                  <a16:creationId xmlns:a16="http://schemas.microsoft.com/office/drawing/2014/main" id="{469FCED8-48BE-42EC-B44C-6CD0D6CAE435}"/>
                </a:ext>
              </a:extLst>
            </p:cNvPr>
            <p:cNvSpPr>
              <a:spLocks/>
            </p:cNvSpPr>
            <p:nvPr/>
          </p:nvSpPr>
          <p:spPr bwMode="gray">
            <a:xfrm>
              <a:off x="3980" y="2032"/>
              <a:ext cx="477" cy="210"/>
            </a:xfrm>
            <a:custGeom>
              <a:avLst/>
              <a:gdLst>
                <a:gd name="T0" fmla="*/ 19 w 477"/>
                <a:gd name="T1" fmla="*/ 96 h 210"/>
                <a:gd name="T2" fmla="*/ 58 w 477"/>
                <a:gd name="T3" fmla="*/ 124 h 210"/>
                <a:gd name="T4" fmla="*/ 58 w 477"/>
                <a:gd name="T5" fmla="*/ 143 h 210"/>
                <a:gd name="T6" fmla="*/ 124 w 477"/>
                <a:gd name="T7" fmla="*/ 172 h 210"/>
                <a:gd name="T8" fmla="*/ 134 w 477"/>
                <a:gd name="T9" fmla="*/ 201 h 210"/>
                <a:gd name="T10" fmla="*/ 153 w 477"/>
                <a:gd name="T11" fmla="*/ 191 h 210"/>
                <a:gd name="T12" fmla="*/ 162 w 477"/>
                <a:gd name="T13" fmla="*/ 191 h 210"/>
                <a:gd name="T14" fmla="*/ 210 w 477"/>
                <a:gd name="T15" fmla="*/ 191 h 210"/>
                <a:gd name="T16" fmla="*/ 239 w 477"/>
                <a:gd name="T17" fmla="*/ 210 h 210"/>
                <a:gd name="T18" fmla="*/ 267 w 477"/>
                <a:gd name="T19" fmla="*/ 210 h 210"/>
                <a:gd name="T20" fmla="*/ 296 w 477"/>
                <a:gd name="T21" fmla="*/ 201 h 210"/>
                <a:gd name="T22" fmla="*/ 334 w 477"/>
                <a:gd name="T23" fmla="*/ 191 h 210"/>
                <a:gd name="T24" fmla="*/ 353 w 477"/>
                <a:gd name="T25" fmla="*/ 181 h 210"/>
                <a:gd name="T26" fmla="*/ 353 w 477"/>
                <a:gd name="T27" fmla="*/ 162 h 210"/>
                <a:gd name="T28" fmla="*/ 382 w 477"/>
                <a:gd name="T29" fmla="*/ 153 h 210"/>
                <a:gd name="T30" fmla="*/ 410 w 477"/>
                <a:gd name="T31" fmla="*/ 143 h 210"/>
                <a:gd name="T32" fmla="*/ 429 w 477"/>
                <a:gd name="T33" fmla="*/ 124 h 210"/>
                <a:gd name="T34" fmla="*/ 439 w 477"/>
                <a:gd name="T35" fmla="*/ 124 h 210"/>
                <a:gd name="T36" fmla="*/ 448 w 477"/>
                <a:gd name="T37" fmla="*/ 115 h 210"/>
                <a:gd name="T38" fmla="*/ 467 w 477"/>
                <a:gd name="T39" fmla="*/ 115 h 210"/>
                <a:gd name="T40" fmla="*/ 467 w 477"/>
                <a:gd name="T41" fmla="*/ 96 h 210"/>
                <a:gd name="T42" fmla="*/ 439 w 477"/>
                <a:gd name="T43" fmla="*/ 96 h 210"/>
                <a:gd name="T44" fmla="*/ 420 w 477"/>
                <a:gd name="T45" fmla="*/ 96 h 210"/>
                <a:gd name="T46" fmla="*/ 410 w 477"/>
                <a:gd name="T47" fmla="*/ 86 h 210"/>
                <a:gd name="T48" fmla="*/ 429 w 477"/>
                <a:gd name="T49" fmla="*/ 57 h 210"/>
                <a:gd name="T50" fmla="*/ 420 w 477"/>
                <a:gd name="T51" fmla="*/ 57 h 210"/>
                <a:gd name="T52" fmla="*/ 391 w 477"/>
                <a:gd name="T53" fmla="*/ 38 h 210"/>
                <a:gd name="T54" fmla="*/ 363 w 477"/>
                <a:gd name="T55" fmla="*/ 67 h 210"/>
                <a:gd name="T56" fmla="*/ 324 w 477"/>
                <a:gd name="T57" fmla="*/ 67 h 210"/>
                <a:gd name="T58" fmla="*/ 305 w 477"/>
                <a:gd name="T59" fmla="*/ 57 h 210"/>
                <a:gd name="T60" fmla="*/ 258 w 477"/>
                <a:gd name="T61" fmla="*/ 38 h 210"/>
                <a:gd name="T62" fmla="*/ 210 w 477"/>
                <a:gd name="T63" fmla="*/ 10 h 210"/>
                <a:gd name="T64" fmla="*/ 162 w 477"/>
                <a:gd name="T65" fmla="*/ 19 h 210"/>
                <a:gd name="T66" fmla="*/ 153 w 477"/>
                <a:gd name="T67" fmla="*/ 38 h 210"/>
                <a:gd name="T68" fmla="*/ 134 w 477"/>
                <a:gd name="T69" fmla="*/ 57 h 210"/>
                <a:gd name="T70" fmla="*/ 124 w 477"/>
                <a:gd name="T71" fmla="*/ 48 h 210"/>
                <a:gd name="T72" fmla="*/ 115 w 477"/>
                <a:gd name="T73" fmla="*/ 57 h 210"/>
                <a:gd name="T74" fmla="*/ 77 w 477"/>
                <a:gd name="T75" fmla="*/ 38 h 210"/>
                <a:gd name="T76" fmla="*/ 58 w 477"/>
                <a:gd name="T77" fmla="*/ 29 h 210"/>
                <a:gd name="T78" fmla="*/ 38 w 477"/>
                <a:gd name="T79" fmla="*/ 38 h 210"/>
                <a:gd name="T80" fmla="*/ 0 w 477"/>
                <a:gd name="T81" fmla="*/ 57 h 2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77"/>
                <a:gd name="T124" fmla="*/ 0 h 210"/>
                <a:gd name="T125" fmla="*/ 477 w 477"/>
                <a:gd name="T126" fmla="*/ 210 h 21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77" h="210">
                  <a:moveTo>
                    <a:pt x="0" y="67"/>
                  </a:moveTo>
                  <a:lnTo>
                    <a:pt x="19" y="96"/>
                  </a:lnTo>
                  <a:lnTo>
                    <a:pt x="29" y="96"/>
                  </a:lnTo>
                  <a:lnTo>
                    <a:pt x="58" y="124"/>
                  </a:lnTo>
                  <a:lnTo>
                    <a:pt x="48" y="134"/>
                  </a:lnTo>
                  <a:lnTo>
                    <a:pt x="58" y="143"/>
                  </a:lnTo>
                  <a:lnTo>
                    <a:pt x="77" y="153"/>
                  </a:lnTo>
                  <a:lnTo>
                    <a:pt x="124" y="172"/>
                  </a:lnTo>
                  <a:lnTo>
                    <a:pt x="124" y="181"/>
                  </a:lnTo>
                  <a:lnTo>
                    <a:pt x="134" y="201"/>
                  </a:lnTo>
                  <a:lnTo>
                    <a:pt x="143" y="201"/>
                  </a:lnTo>
                  <a:lnTo>
                    <a:pt x="153" y="191"/>
                  </a:lnTo>
                  <a:lnTo>
                    <a:pt x="162" y="191"/>
                  </a:lnTo>
                  <a:lnTo>
                    <a:pt x="181" y="191"/>
                  </a:lnTo>
                  <a:lnTo>
                    <a:pt x="210" y="191"/>
                  </a:lnTo>
                  <a:lnTo>
                    <a:pt x="229" y="210"/>
                  </a:lnTo>
                  <a:lnTo>
                    <a:pt x="239" y="210"/>
                  </a:lnTo>
                  <a:lnTo>
                    <a:pt x="258" y="210"/>
                  </a:lnTo>
                  <a:lnTo>
                    <a:pt x="267" y="210"/>
                  </a:lnTo>
                  <a:lnTo>
                    <a:pt x="286" y="201"/>
                  </a:lnTo>
                  <a:lnTo>
                    <a:pt x="296" y="201"/>
                  </a:lnTo>
                  <a:lnTo>
                    <a:pt x="315" y="201"/>
                  </a:lnTo>
                  <a:lnTo>
                    <a:pt x="334" y="191"/>
                  </a:lnTo>
                  <a:lnTo>
                    <a:pt x="344" y="181"/>
                  </a:lnTo>
                  <a:lnTo>
                    <a:pt x="353" y="181"/>
                  </a:lnTo>
                  <a:lnTo>
                    <a:pt x="363" y="172"/>
                  </a:lnTo>
                  <a:lnTo>
                    <a:pt x="353" y="162"/>
                  </a:lnTo>
                  <a:lnTo>
                    <a:pt x="363" y="143"/>
                  </a:lnTo>
                  <a:lnTo>
                    <a:pt x="382" y="153"/>
                  </a:lnTo>
                  <a:lnTo>
                    <a:pt x="401" y="134"/>
                  </a:lnTo>
                  <a:lnTo>
                    <a:pt x="410" y="143"/>
                  </a:lnTo>
                  <a:lnTo>
                    <a:pt x="420" y="143"/>
                  </a:lnTo>
                  <a:lnTo>
                    <a:pt x="429" y="124"/>
                  </a:lnTo>
                  <a:lnTo>
                    <a:pt x="439" y="115"/>
                  </a:lnTo>
                  <a:lnTo>
                    <a:pt x="439" y="124"/>
                  </a:lnTo>
                  <a:lnTo>
                    <a:pt x="448" y="124"/>
                  </a:lnTo>
                  <a:lnTo>
                    <a:pt x="448" y="115"/>
                  </a:lnTo>
                  <a:lnTo>
                    <a:pt x="458" y="115"/>
                  </a:lnTo>
                  <a:lnTo>
                    <a:pt x="467" y="115"/>
                  </a:lnTo>
                  <a:lnTo>
                    <a:pt x="477" y="115"/>
                  </a:lnTo>
                  <a:lnTo>
                    <a:pt x="467" y="96"/>
                  </a:lnTo>
                  <a:lnTo>
                    <a:pt x="448" y="86"/>
                  </a:lnTo>
                  <a:lnTo>
                    <a:pt x="439" y="96"/>
                  </a:lnTo>
                  <a:lnTo>
                    <a:pt x="429" y="96"/>
                  </a:lnTo>
                  <a:lnTo>
                    <a:pt x="420" y="96"/>
                  </a:lnTo>
                  <a:lnTo>
                    <a:pt x="410" y="96"/>
                  </a:lnTo>
                  <a:lnTo>
                    <a:pt x="410" y="86"/>
                  </a:lnTo>
                  <a:lnTo>
                    <a:pt x="420" y="76"/>
                  </a:lnTo>
                  <a:lnTo>
                    <a:pt x="429" y="57"/>
                  </a:lnTo>
                  <a:lnTo>
                    <a:pt x="439" y="57"/>
                  </a:lnTo>
                  <a:lnTo>
                    <a:pt x="420" y="57"/>
                  </a:lnTo>
                  <a:lnTo>
                    <a:pt x="401" y="48"/>
                  </a:lnTo>
                  <a:lnTo>
                    <a:pt x="391" y="38"/>
                  </a:lnTo>
                  <a:lnTo>
                    <a:pt x="382" y="57"/>
                  </a:lnTo>
                  <a:lnTo>
                    <a:pt x="363" y="67"/>
                  </a:lnTo>
                  <a:lnTo>
                    <a:pt x="344" y="67"/>
                  </a:lnTo>
                  <a:lnTo>
                    <a:pt x="324" y="67"/>
                  </a:lnTo>
                  <a:lnTo>
                    <a:pt x="324" y="57"/>
                  </a:lnTo>
                  <a:lnTo>
                    <a:pt x="305" y="57"/>
                  </a:lnTo>
                  <a:lnTo>
                    <a:pt x="296" y="48"/>
                  </a:lnTo>
                  <a:lnTo>
                    <a:pt x="258" y="38"/>
                  </a:lnTo>
                  <a:lnTo>
                    <a:pt x="229" y="48"/>
                  </a:lnTo>
                  <a:lnTo>
                    <a:pt x="210" y="10"/>
                  </a:lnTo>
                  <a:lnTo>
                    <a:pt x="172" y="0"/>
                  </a:lnTo>
                  <a:lnTo>
                    <a:pt x="162" y="19"/>
                  </a:lnTo>
                  <a:lnTo>
                    <a:pt x="153" y="29"/>
                  </a:lnTo>
                  <a:lnTo>
                    <a:pt x="153" y="38"/>
                  </a:lnTo>
                  <a:lnTo>
                    <a:pt x="153" y="48"/>
                  </a:lnTo>
                  <a:lnTo>
                    <a:pt x="134" y="57"/>
                  </a:lnTo>
                  <a:lnTo>
                    <a:pt x="134" y="48"/>
                  </a:lnTo>
                  <a:lnTo>
                    <a:pt x="124" y="48"/>
                  </a:lnTo>
                  <a:lnTo>
                    <a:pt x="115" y="57"/>
                  </a:lnTo>
                  <a:lnTo>
                    <a:pt x="96" y="38"/>
                  </a:lnTo>
                  <a:lnTo>
                    <a:pt x="77" y="38"/>
                  </a:lnTo>
                  <a:lnTo>
                    <a:pt x="67" y="29"/>
                  </a:lnTo>
                  <a:lnTo>
                    <a:pt x="58" y="29"/>
                  </a:lnTo>
                  <a:lnTo>
                    <a:pt x="48" y="38"/>
                  </a:lnTo>
                  <a:lnTo>
                    <a:pt x="38" y="38"/>
                  </a:lnTo>
                  <a:lnTo>
                    <a:pt x="29" y="57"/>
                  </a:lnTo>
                  <a:lnTo>
                    <a:pt x="0" y="57"/>
                  </a:lnTo>
                  <a:lnTo>
                    <a:pt x="0" y="6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08" name="Freeform 287">
              <a:extLst>
                <a:ext uri="{FF2B5EF4-FFF2-40B4-BE49-F238E27FC236}">
                  <a16:creationId xmlns:a16="http://schemas.microsoft.com/office/drawing/2014/main" id="{8039B392-00DC-4989-A79F-7F45D506D786}"/>
                </a:ext>
              </a:extLst>
            </p:cNvPr>
            <p:cNvSpPr>
              <a:spLocks/>
            </p:cNvSpPr>
            <p:nvPr/>
          </p:nvSpPr>
          <p:spPr bwMode="gray">
            <a:xfrm>
              <a:off x="3275" y="2213"/>
              <a:ext cx="105" cy="48"/>
            </a:xfrm>
            <a:custGeom>
              <a:avLst/>
              <a:gdLst>
                <a:gd name="T0" fmla="*/ 48 w 105"/>
                <a:gd name="T1" fmla="*/ 39 h 48"/>
                <a:gd name="T2" fmla="*/ 38 w 105"/>
                <a:gd name="T3" fmla="*/ 39 h 48"/>
                <a:gd name="T4" fmla="*/ 29 w 105"/>
                <a:gd name="T5" fmla="*/ 29 h 48"/>
                <a:gd name="T6" fmla="*/ 29 w 105"/>
                <a:gd name="T7" fmla="*/ 29 h 48"/>
                <a:gd name="T8" fmla="*/ 19 w 105"/>
                <a:gd name="T9" fmla="*/ 20 h 48"/>
                <a:gd name="T10" fmla="*/ 19 w 105"/>
                <a:gd name="T11" fmla="*/ 20 h 48"/>
                <a:gd name="T12" fmla="*/ 19 w 105"/>
                <a:gd name="T13" fmla="*/ 10 h 48"/>
                <a:gd name="T14" fmla="*/ 10 w 105"/>
                <a:gd name="T15" fmla="*/ 10 h 48"/>
                <a:gd name="T16" fmla="*/ 0 w 105"/>
                <a:gd name="T17" fmla="*/ 0 h 48"/>
                <a:gd name="T18" fmla="*/ 19 w 105"/>
                <a:gd name="T19" fmla="*/ 10 h 48"/>
                <a:gd name="T20" fmla="*/ 38 w 105"/>
                <a:gd name="T21" fmla="*/ 10 h 48"/>
                <a:gd name="T22" fmla="*/ 48 w 105"/>
                <a:gd name="T23" fmla="*/ 10 h 48"/>
                <a:gd name="T24" fmla="*/ 67 w 105"/>
                <a:gd name="T25" fmla="*/ 20 h 48"/>
                <a:gd name="T26" fmla="*/ 86 w 105"/>
                <a:gd name="T27" fmla="*/ 29 h 48"/>
                <a:gd name="T28" fmla="*/ 86 w 105"/>
                <a:gd name="T29" fmla="*/ 29 h 48"/>
                <a:gd name="T30" fmla="*/ 95 w 105"/>
                <a:gd name="T31" fmla="*/ 29 h 48"/>
                <a:gd name="T32" fmla="*/ 105 w 105"/>
                <a:gd name="T33" fmla="*/ 48 h 48"/>
                <a:gd name="T34" fmla="*/ 105 w 105"/>
                <a:gd name="T35" fmla="*/ 48 h 48"/>
                <a:gd name="T36" fmla="*/ 76 w 105"/>
                <a:gd name="T37" fmla="*/ 48 h 48"/>
                <a:gd name="T38" fmla="*/ 67 w 105"/>
                <a:gd name="T39" fmla="*/ 39 h 48"/>
                <a:gd name="T40" fmla="*/ 48 w 105"/>
                <a:gd name="T41" fmla="*/ 39 h 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5"/>
                <a:gd name="T64" fmla="*/ 0 h 48"/>
                <a:gd name="T65" fmla="*/ 105 w 105"/>
                <a:gd name="T66" fmla="*/ 48 h 4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5" h="48">
                  <a:moveTo>
                    <a:pt x="48" y="39"/>
                  </a:moveTo>
                  <a:lnTo>
                    <a:pt x="38" y="39"/>
                  </a:lnTo>
                  <a:lnTo>
                    <a:pt x="29" y="29"/>
                  </a:lnTo>
                  <a:lnTo>
                    <a:pt x="19" y="20"/>
                  </a:lnTo>
                  <a:lnTo>
                    <a:pt x="19" y="10"/>
                  </a:lnTo>
                  <a:lnTo>
                    <a:pt x="10" y="10"/>
                  </a:lnTo>
                  <a:lnTo>
                    <a:pt x="0" y="0"/>
                  </a:lnTo>
                  <a:lnTo>
                    <a:pt x="19" y="10"/>
                  </a:lnTo>
                  <a:lnTo>
                    <a:pt x="38" y="10"/>
                  </a:lnTo>
                  <a:lnTo>
                    <a:pt x="48" y="10"/>
                  </a:lnTo>
                  <a:lnTo>
                    <a:pt x="67" y="20"/>
                  </a:lnTo>
                  <a:lnTo>
                    <a:pt x="86" y="29"/>
                  </a:lnTo>
                  <a:lnTo>
                    <a:pt x="95" y="29"/>
                  </a:lnTo>
                  <a:lnTo>
                    <a:pt x="105" y="48"/>
                  </a:lnTo>
                  <a:lnTo>
                    <a:pt x="76" y="48"/>
                  </a:lnTo>
                  <a:lnTo>
                    <a:pt x="67" y="39"/>
                  </a:lnTo>
                  <a:lnTo>
                    <a:pt x="48" y="3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09" name="Freeform 288">
              <a:extLst>
                <a:ext uri="{FF2B5EF4-FFF2-40B4-BE49-F238E27FC236}">
                  <a16:creationId xmlns:a16="http://schemas.microsoft.com/office/drawing/2014/main" id="{8FBCC757-99FC-47B6-B14F-676B2769E053}"/>
                </a:ext>
              </a:extLst>
            </p:cNvPr>
            <p:cNvSpPr>
              <a:spLocks/>
            </p:cNvSpPr>
            <p:nvPr/>
          </p:nvSpPr>
          <p:spPr bwMode="gray">
            <a:xfrm>
              <a:off x="3275" y="2213"/>
              <a:ext cx="105" cy="48"/>
            </a:xfrm>
            <a:custGeom>
              <a:avLst/>
              <a:gdLst>
                <a:gd name="T0" fmla="*/ 48 w 105"/>
                <a:gd name="T1" fmla="*/ 39 h 48"/>
                <a:gd name="T2" fmla="*/ 38 w 105"/>
                <a:gd name="T3" fmla="*/ 39 h 48"/>
                <a:gd name="T4" fmla="*/ 29 w 105"/>
                <a:gd name="T5" fmla="*/ 29 h 48"/>
                <a:gd name="T6" fmla="*/ 29 w 105"/>
                <a:gd name="T7" fmla="*/ 29 h 48"/>
                <a:gd name="T8" fmla="*/ 19 w 105"/>
                <a:gd name="T9" fmla="*/ 20 h 48"/>
                <a:gd name="T10" fmla="*/ 19 w 105"/>
                <a:gd name="T11" fmla="*/ 20 h 48"/>
                <a:gd name="T12" fmla="*/ 19 w 105"/>
                <a:gd name="T13" fmla="*/ 10 h 48"/>
                <a:gd name="T14" fmla="*/ 10 w 105"/>
                <a:gd name="T15" fmla="*/ 10 h 48"/>
                <a:gd name="T16" fmla="*/ 0 w 105"/>
                <a:gd name="T17" fmla="*/ 0 h 48"/>
                <a:gd name="T18" fmla="*/ 19 w 105"/>
                <a:gd name="T19" fmla="*/ 10 h 48"/>
                <a:gd name="T20" fmla="*/ 38 w 105"/>
                <a:gd name="T21" fmla="*/ 10 h 48"/>
                <a:gd name="T22" fmla="*/ 48 w 105"/>
                <a:gd name="T23" fmla="*/ 10 h 48"/>
                <a:gd name="T24" fmla="*/ 67 w 105"/>
                <a:gd name="T25" fmla="*/ 20 h 48"/>
                <a:gd name="T26" fmla="*/ 86 w 105"/>
                <a:gd name="T27" fmla="*/ 29 h 48"/>
                <a:gd name="T28" fmla="*/ 86 w 105"/>
                <a:gd name="T29" fmla="*/ 29 h 48"/>
                <a:gd name="T30" fmla="*/ 95 w 105"/>
                <a:gd name="T31" fmla="*/ 29 h 48"/>
                <a:gd name="T32" fmla="*/ 105 w 105"/>
                <a:gd name="T33" fmla="*/ 48 h 48"/>
                <a:gd name="T34" fmla="*/ 105 w 105"/>
                <a:gd name="T35" fmla="*/ 48 h 48"/>
                <a:gd name="T36" fmla="*/ 76 w 105"/>
                <a:gd name="T37" fmla="*/ 48 h 48"/>
                <a:gd name="T38" fmla="*/ 67 w 105"/>
                <a:gd name="T39" fmla="*/ 39 h 48"/>
                <a:gd name="T40" fmla="*/ 48 w 105"/>
                <a:gd name="T41" fmla="*/ 39 h 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5"/>
                <a:gd name="T64" fmla="*/ 0 h 48"/>
                <a:gd name="T65" fmla="*/ 105 w 105"/>
                <a:gd name="T66" fmla="*/ 48 h 4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5" h="48">
                  <a:moveTo>
                    <a:pt x="48" y="39"/>
                  </a:moveTo>
                  <a:lnTo>
                    <a:pt x="38" y="39"/>
                  </a:lnTo>
                  <a:lnTo>
                    <a:pt x="29" y="29"/>
                  </a:lnTo>
                  <a:lnTo>
                    <a:pt x="19" y="20"/>
                  </a:lnTo>
                  <a:lnTo>
                    <a:pt x="19" y="10"/>
                  </a:lnTo>
                  <a:lnTo>
                    <a:pt x="10" y="10"/>
                  </a:lnTo>
                  <a:lnTo>
                    <a:pt x="0" y="0"/>
                  </a:lnTo>
                  <a:lnTo>
                    <a:pt x="19" y="10"/>
                  </a:lnTo>
                  <a:lnTo>
                    <a:pt x="38" y="10"/>
                  </a:lnTo>
                  <a:lnTo>
                    <a:pt x="48" y="10"/>
                  </a:lnTo>
                  <a:lnTo>
                    <a:pt x="67" y="20"/>
                  </a:lnTo>
                  <a:lnTo>
                    <a:pt x="86" y="29"/>
                  </a:lnTo>
                  <a:lnTo>
                    <a:pt x="95" y="29"/>
                  </a:lnTo>
                  <a:lnTo>
                    <a:pt x="105" y="48"/>
                  </a:lnTo>
                  <a:lnTo>
                    <a:pt x="76" y="48"/>
                  </a:lnTo>
                  <a:lnTo>
                    <a:pt x="67" y="39"/>
                  </a:lnTo>
                  <a:lnTo>
                    <a:pt x="48" y="3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10" name="Freeform 289">
              <a:extLst>
                <a:ext uri="{FF2B5EF4-FFF2-40B4-BE49-F238E27FC236}">
                  <a16:creationId xmlns:a16="http://schemas.microsoft.com/office/drawing/2014/main" id="{DB182B67-2795-48D9-B10A-7ECA4BA584D9}"/>
                </a:ext>
              </a:extLst>
            </p:cNvPr>
            <p:cNvSpPr>
              <a:spLocks/>
            </p:cNvSpPr>
            <p:nvPr/>
          </p:nvSpPr>
          <p:spPr bwMode="gray">
            <a:xfrm>
              <a:off x="3075" y="2242"/>
              <a:ext cx="267" cy="115"/>
            </a:xfrm>
            <a:custGeom>
              <a:avLst/>
              <a:gdLst>
                <a:gd name="T0" fmla="*/ 267 w 267"/>
                <a:gd name="T1" fmla="*/ 48 h 115"/>
                <a:gd name="T2" fmla="*/ 267 w 267"/>
                <a:gd name="T3" fmla="*/ 86 h 115"/>
                <a:gd name="T4" fmla="*/ 257 w 267"/>
                <a:gd name="T5" fmla="*/ 76 h 115"/>
                <a:gd name="T6" fmla="*/ 229 w 267"/>
                <a:gd name="T7" fmla="*/ 86 h 115"/>
                <a:gd name="T8" fmla="*/ 219 w 267"/>
                <a:gd name="T9" fmla="*/ 86 h 115"/>
                <a:gd name="T10" fmla="*/ 181 w 267"/>
                <a:gd name="T11" fmla="*/ 95 h 115"/>
                <a:gd name="T12" fmla="*/ 152 w 267"/>
                <a:gd name="T13" fmla="*/ 95 h 115"/>
                <a:gd name="T14" fmla="*/ 143 w 267"/>
                <a:gd name="T15" fmla="*/ 115 h 115"/>
                <a:gd name="T16" fmla="*/ 143 w 267"/>
                <a:gd name="T17" fmla="*/ 95 h 115"/>
                <a:gd name="T18" fmla="*/ 124 w 267"/>
                <a:gd name="T19" fmla="*/ 95 h 115"/>
                <a:gd name="T20" fmla="*/ 114 w 267"/>
                <a:gd name="T21" fmla="*/ 95 h 115"/>
                <a:gd name="T22" fmla="*/ 95 w 267"/>
                <a:gd name="T23" fmla="*/ 105 h 115"/>
                <a:gd name="T24" fmla="*/ 76 w 267"/>
                <a:gd name="T25" fmla="*/ 95 h 115"/>
                <a:gd name="T26" fmla="*/ 67 w 267"/>
                <a:gd name="T27" fmla="*/ 95 h 115"/>
                <a:gd name="T28" fmla="*/ 57 w 267"/>
                <a:gd name="T29" fmla="*/ 95 h 115"/>
                <a:gd name="T30" fmla="*/ 38 w 267"/>
                <a:gd name="T31" fmla="*/ 95 h 115"/>
                <a:gd name="T32" fmla="*/ 28 w 267"/>
                <a:gd name="T33" fmla="*/ 95 h 115"/>
                <a:gd name="T34" fmla="*/ 19 w 267"/>
                <a:gd name="T35" fmla="*/ 105 h 115"/>
                <a:gd name="T36" fmla="*/ 28 w 267"/>
                <a:gd name="T37" fmla="*/ 95 h 115"/>
                <a:gd name="T38" fmla="*/ 19 w 267"/>
                <a:gd name="T39" fmla="*/ 86 h 115"/>
                <a:gd name="T40" fmla="*/ 9 w 267"/>
                <a:gd name="T41" fmla="*/ 95 h 115"/>
                <a:gd name="T42" fmla="*/ 19 w 267"/>
                <a:gd name="T43" fmla="*/ 86 h 115"/>
                <a:gd name="T44" fmla="*/ 19 w 267"/>
                <a:gd name="T45" fmla="*/ 86 h 115"/>
                <a:gd name="T46" fmla="*/ 9 w 267"/>
                <a:gd name="T47" fmla="*/ 67 h 115"/>
                <a:gd name="T48" fmla="*/ 0 w 267"/>
                <a:gd name="T49" fmla="*/ 67 h 115"/>
                <a:gd name="T50" fmla="*/ 9 w 267"/>
                <a:gd name="T51" fmla="*/ 67 h 115"/>
                <a:gd name="T52" fmla="*/ 9 w 267"/>
                <a:gd name="T53" fmla="*/ 57 h 115"/>
                <a:gd name="T54" fmla="*/ 9 w 267"/>
                <a:gd name="T55" fmla="*/ 48 h 115"/>
                <a:gd name="T56" fmla="*/ 0 w 267"/>
                <a:gd name="T57" fmla="*/ 38 h 115"/>
                <a:gd name="T58" fmla="*/ 19 w 267"/>
                <a:gd name="T59" fmla="*/ 29 h 115"/>
                <a:gd name="T60" fmla="*/ 28 w 267"/>
                <a:gd name="T61" fmla="*/ 29 h 115"/>
                <a:gd name="T62" fmla="*/ 47 w 267"/>
                <a:gd name="T63" fmla="*/ 29 h 115"/>
                <a:gd name="T64" fmla="*/ 38 w 267"/>
                <a:gd name="T65" fmla="*/ 19 h 115"/>
                <a:gd name="T66" fmla="*/ 47 w 267"/>
                <a:gd name="T67" fmla="*/ 10 h 115"/>
                <a:gd name="T68" fmla="*/ 67 w 267"/>
                <a:gd name="T69" fmla="*/ 10 h 115"/>
                <a:gd name="T70" fmla="*/ 105 w 267"/>
                <a:gd name="T71" fmla="*/ 0 h 115"/>
                <a:gd name="T72" fmla="*/ 124 w 267"/>
                <a:gd name="T73" fmla="*/ 0 h 115"/>
                <a:gd name="T74" fmla="*/ 143 w 267"/>
                <a:gd name="T75" fmla="*/ 0 h 115"/>
                <a:gd name="T76" fmla="*/ 162 w 267"/>
                <a:gd name="T77" fmla="*/ 19 h 115"/>
                <a:gd name="T78" fmla="*/ 181 w 267"/>
                <a:gd name="T79" fmla="*/ 19 h 115"/>
                <a:gd name="T80" fmla="*/ 210 w 267"/>
                <a:gd name="T81" fmla="*/ 19 h 115"/>
                <a:gd name="T82" fmla="*/ 229 w 267"/>
                <a:gd name="T83" fmla="*/ 0 h 115"/>
                <a:gd name="T84" fmla="*/ 248 w 267"/>
                <a:gd name="T85" fmla="*/ 10 h 115"/>
                <a:gd name="T86" fmla="*/ 257 w 267"/>
                <a:gd name="T87" fmla="*/ 29 h 115"/>
                <a:gd name="T88" fmla="*/ 267 w 267"/>
                <a:gd name="T89" fmla="*/ 38 h 11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7"/>
                <a:gd name="T136" fmla="*/ 0 h 115"/>
                <a:gd name="T137" fmla="*/ 267 w 267"/>
                <a:gd name="T138" fmla="*/ 115 h 11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7" h="115">
                  <a:moveTo>
                    <a:pt x="267" y="38"/>
                  </a:moveTo>
                  <a:lnTo>
                    <a:pt x="267" y="48"/>
                  </a:lnTo>
                  <a:lnTo>
                    <a:pt x="267" y="76"/>
                  </a:lnTo>
                  <a:lnTo>
                    <a:pt x="267" y="86"/>
                  </a:lnTo>
                  <a:lnTo>
                    <a:pt x="257" y="86"/>
                  </a:lnTo>
                  <a:lnTo>
                    <a:pt x="257" y="76"/>
                  </a:lnTo>
                  <a:lnTo>
                    <a:pt x="238" y="76"/>
                  </a:lnTo>
                  <a:lnTo>
                    <a:pt x="229" y="86"/>
                  </a:lnTo>
                  <a:lnTo>
                    <a:pt x="229" y="76"/>
                  </a:lnTo>
                  <a:lnTo>
                    <a:pt x="219" y="86"/>
                  </a:lnTo>
                  <a:lnTo>
                    <a:pt x="200" y="86"/>
                  </a:lnTo>
                  <a:lnTo>
                    <a:pt x="181" y="95"/>
                  </a:lnTo>
                  <a:lnTo>
                    <a:pt x="171" y="86"/>
                  </a:lnTo>
                  <a:lnTo>
                    <a:pt x="152" y="95"/>
                  </a:lnTo>
                  <a:lnTo>
                    <a:pt x="152" y="105"/>
                  </a:lnTo>
                  <a:lnTo>
                    <a:pt x="143" y="115"/>
                  </a:lnTo>
                  <a:lnTo>
                    <a:pt x="143" y="105"/>
                  </a:lnTo>
                  <a:lnTo>
                    <a:pt x="143" y="95"/>
                  </a:lnTo>
                  <a:lnTo>
                    <a:pt x="124" y="95"/>
                  </a:lnTo>
                  <a:lnTo>
                    <a:pt x="114" y="95"/>
                  </a:lnTo>
                  <a:lnTo>
                    <a:pt x="105" y="95"/>
                  </a:lnTo>
                  <a:lnTo>
                    <a:pt x="95" y="105"/>
                  </a:lnTo>
                  <a:lnTo>
                    <a:pt x="86" y="105"/>
                  </a:lnTo>
                  <a:lnTo>
                    <a:pt x="76" y="95"/>
                  </a:lnTo>
                  <a:lnTo>
                    <a:pt x="67" y="86"/>
                  </a:lnTo>
                  <a:lnTo>
                    <a:pt x="67" y="95"/>
                  </a:lnTo>
                  <a:lnTo>
                    <a:pt x="57" y="95"/>
                  </a:lnTo>
                  <a:lnTo>
                    <a:pt x="47" y="105"/>
                  </a:lnTo>
                  <a:lnTo>
                    <a:pt x="38" y="95"/>
                  </a:lnTo>
                  <a:lnTo>
                    <a:pt x="28" y="95"/>
                  </a:lnTo>
                  <a:lnTo>
                    <a:pt x="28" y="105"/>
                  </a:lnTo>
                  <a:lnTo>
                    <a:pt x="19" y="105"/>
                  </a:lnTo>
                  <a:lnTo>
                    <a:pt x="28" y="95"/>
                  </a:lnTo>
                  <a:lnTo>
                    <a:pt x="19" y="86"/>
                  </a:lnTo>
                  <a:lnTo>
                    <a:pt x="19" y="95"/>
                  </a:lnTo>
                  <a:lnTo>
                    <a:pt x="9" y="95"/>
                  </a:lnTo>
                  <a:lnTo>
                    <a:pt x="9" y="86"/>
                  </a:lnTo>
                  <a:lnTo>
                    <a:pt x="19" y="86"/>
                  </a:lnTo>
                  <a:lnTo>
                    <a:pt x="19" y="76"/>
                  </a:lnTo>
                  <a:lnTo>
                    <a:pt x="9" y="67"/>
                  </a:lnTo>
                  <a:lnTo>
                    <a:pt x="0" y="67"/>
                  </a:lnTo>
                  <a:lnTo>
                    <a:pt x="9" y="67"/>
                  </a:lnTo>
                  <a:lnTo>
                    <a:pt x="9" y="57"/>
                  </a:lnTo>
                  <a:lnTo>
                    <a:pt x="9" y="48"/>
                  </a:lnTo>
                  <a:lnTo>
                    <a:pt x="0" y="48"/>
                  </a:lnTo>
                  <a:lnTo>
                    <a:pt x="0" y="38"/>
                  </a:lnTo>
                  <a:lnTo>
                    <a:pt x="9" y="29"/>
                  </a:lnTo>
                  <a:lnTo>
                    <a:pt x="19" y="29"/>
                  </a:lnTo>
                  <a:lnTo>
                    <a:pt x="28" y="29"/>
                  </a:lnTo>
                  <a:lnTo>
                    <a:pt x="38" y="29"/>
                  </a:lnTo>
                  <a:lnTo>
                    <a:pt x="47" y="29"/>
                  </a:lnTo>
                  <a:lnTo>
                    <a:pt x="47" y="19"/>
                  </a:lnTo>
                  <a:lnTo>
                    <a:pt x="38" y="19"/>
                  </a:lnTo>
                  <a:lnTo>
                    <a:pt x="38" y="10"/>
                  </a:lnTo>
                  <a:lnTo>
                    <a:pt x="47" y="10"/>
                  </a:lnTo>
                  <a:lnTo>
                    <a:pt x="67" y="10"/>
                  </a:lnTo>
                  <a:lnTo>
                    <a:pt x="86" y="10"/>
                  </a:lnTo>
                  <a:lnTo>
                    <a:pt x="105" y="0"/>
                  </a:lnTo>
                  <a:lnTo>
                    <a:pt x="114" y="0"/>
                  </a:lnTo>
                  <a:lnTo>
                    <a:pt x="124" y="0"/>
                  </a:lnTo>
                  <a:lnTo>
                    <a:pt x="133" y="10"/>
                  </a:lnTo>
                  <a:lnTo>
                    <a:pt x="143" y="0"/>
                  </a:lnTo>
                  <a:lnTo>
                    <a:pt x="152" y="19"/>
                  </a:lnTo>
                  <a:lnTo>
                    <a:pt x="162" y="19"/>
                  </a:lnTo>
                  <a:lnTo>
                    <a:pt x="171" y="19"/>
                  </a:lnTo>
                  <a:lnTo>
                    <a:pt x="181" y="19"/>
                  </a:lnTo>
                  <a:lnTo>
                    <a:pt x="190" y="19"/>
                  </a:lnTo>
                  <a:lnTo>
                    <a:pt x="210" y="19"/>
                  </a:lnTo>
                  <a:lnTo>
                    <a:pt x="219" y="10"/>
                  </a:lnTo>
                  <a:lnTo>
                    <a:pt x="229" y="0"/>
                  </a:lnTo>
                  <a:lnTo>
                    <a:pt x="238" y="10"/>
                  </a:lnTo>
                  <a:lnTo>
                    <a:pt x="248" y="10"/>
                  </a:lnTo>
                  <a:lnTo>
                    <a:pt x="257" y="19"/>
                  </a:lnTo>
                  <a:lnTo>
                    <a:pt x="257" y="29"/>
                  </a:lnTo>
                  <a:lnTo>
                    <a:pt x="267"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11" name="Freeform 290">
              <a:extLst>
                <a:ext uri="{FF2B5EF4-FFF2-40B4-BE49-F238E27FC236}">
                  <a16:creationId xmlns:a16="http://schemas.microsoft.com/office/drawing/2014/main" id="{DB60A953-004D-4107-BE0C-4B4011D1985F}"/>
                </a:ext>
              </a:extLst>
            </p:cNvPr>
            <p:cNvSpPr>
              <a:spLocks/>
            </p:cNvSpPr>
            <p:nvPr/>
          </p:nvSpPr>
          <p:spPr bwMode="gray">
            <a:xfrm>
              <a:off x="3075" y="2242"/>
              <a:ext cx="267" cy="115"/>
            </a:xfrm>
            <a:custGeom>
              <a:avLst/>
              <a:gdLst>
                <a:gd name="T0" fmla="*/ 267 w 267"/>
                <a:gd name="T1" fmla="*/ 48 h 115"/>
                <a:gd name="T2" fmla="*/ 267 w 267"/>
                <a:gd name="T3" fmla="*/ 86 h 115"/>
                <a:gd name="T4" fmla="*/ 257 w 267"/>
                <a:gd name="T5" fmla="*/ 76 h 115"/>
                <a:gd name="T6" fmla="*/ 229 w 267"/>
                <a:gd name="T7" fmla="*/ 86 h 115"/>
                <a:gd name="T8" fmla="*/ 219 w 267"/>
                <a:gd name="T9" fmla="*/ 86 h 115"/>
                <a:gd name="T10" fmla="*/ 181 w 267"/>
                <a:gd name="T11" fmla="*/ 95 h 115"/>
                <a:gd name="T12" fmla="*/ 152 w 267"/>
                <a:gd name="T13" fmla="*/ 95 h 115"/>
                <a:gd name="T14" fmla="*/ 143 w 267"/>
                <a:gd name="T15" fmla="*/ 115 h 115"/>
                <a:gd name="T16" fmla="*/ 143 w 267"/>
                <a:gd name="T17" fmla="*/ 95 h 115"/>
                <a:gd name="T18" fmla="*/ 124 w 267"/>
                <a:gd name="T19" fmla="*/ 95 h 115"/>
                <a:gd name="T20" fmla="*/ 114 w 267"/>
                <a:gd name="T21" fmla="*/ 95 h 115"/>
                <a:gd name="T22" fmla="*/ 95 w 267"/>
                <a:gd name="T23" fmla="*/ 105 h 115"/>
                <a:gd name="T24" fmla="*/ 76 w 267"/>
                <a:gd name="T25" fmla="*/ 95 h 115"/>
                <a:gd name="T26" fmla="*/ 67 w 267"/>
                <a:gd name="T27" fmla="*/ 95 h 115"/>
                <a:gd name="T28" fmla="*/ 57 w 267"/>
                <a:gd name="T29" fmla="*/ 95 h 115"/>
                <a:gd name="T30" fmla="*/ 38 w 267"/>
                <a:gd name="T31" fmla="*/ 95 h 115"/>
                <a:gd name="T32" fmla="*/ 28 w 267"/>
                <a:gd name="T33" fmla="*/ 95 h 115"/>
                <a:gd name="T34" fmla="*/ 19 w 267"/>
                <a:gd name="T35" fmla="*/ 105 h 115"/>
                <a:gd name="T36" fmla="*/ 28 w 267"/>
                <a:gd name="T37" fmla="*/ 95 h 115"/>
                <a:gd name="T38" fmla="*/ 19 w 267"/>
                <a:gd name="T39" fmla="*/ 86 h 115"/>
                <a:gd name="T40" fmla="*/ 9 w 267"/>
                <a:gd name="T41" fmla="*/ 95 h 115"/>
                <a:gd name="T42" fmla="*/ 19 w 267"/>
                <a:gd name="T43" fmla="*/ 86 h 115"/>
                <a:gd name="T44" fmla="*/ 19 w 267"/>
                <a:gd name="T45" fmla="*/ 86 h 115"/>
                <a:gd name="T46" fmla="*/ 9 w 267"/>
                <a:gd name="T47" fmla="*/ 67 h 115"/>
                <a:gd name="T48" fmla="*/ 0 w 267"/>
                <a:gd name="T49" fmla="*/ 67 h 115"/>
                <a:gd name="T50" fmla="*/ 9 w 267"/>
                <a:gd name="T51" fmla="*/ 67 h 115"/>
                <a:gd name="T52" fmla="*/ 9 w 267"/>
                <a:gd name="T53" fmla="*/ 57 h 115"/>
                <a:gd name="T54" fmla="*/ 9 w 267"/>
                <a:gd name="T55" fmla="*/ 48 h 115"/>
                <a:gd name="T56" fmla="*/ 0 w 267"/>
                <a:gd name="T57" fmla="*/ 38 h 115"/>
                <a:gd name="T58" fmla="*/ 19 w 267"/>
                <a:gd name="T59" fmla="*/ 29 h 115"/>
                <a:gd name="T60" fmla="*/ 28 w 267"/>
                <a:gd name="T61" fmla="*/ 29 h 115"/>
                <a:gd name="T62" fmla="*/ 47 w 267"/>
                <a:gd name="T63" fmla="*/ 29 h 115"/>
                <a:gd name="T64" fmla="*/ 38 w 267"/>
                <a:gd name="T65" fmla="*/ 19 h 115"/>
                <a:gd name="T66" fmla="*/ 47 w 267"/>
                <a:gd name="T67" fmla="*/ 10 h 115"/>
                <a:gd name="T68" fmla="*/ 67 w 267"/>
                <a:gd name="T69" fmla="*/ 10 h 115"/>
                <a:gd name="T70" fmla="*/ 105 w 267"/>
                <a:gd name="T71" fmla="*/ 0 h 115"/>
                <a:gd name="T72" fmla="*/ 124 w 267"/>
                <a:gd name="T73" fmla="*/ 0 h 115"/>
                <a:gd name="T74" fmla="*/ 143 w 267"/>
                <a:gd name="T75" fmla="*/ 0 h 115"/>
                <a:gd name="T76" fmla="*/ 162 w 267"/>
                <a:gd name="T77" fmla="*/ 19 h 115"/>
                <a:gd name="T78" fmla="*/ 181 w 267"/>
                <a:gd name="T79" fmla="*/ 19 h 115"/>
                <a:gd name="T80" fmla="*/ 210 w 267"/>
                <a:gd name="T81" fmla="*/ 19 h 115"/>
                <a:gd name="T82" fmla="*/ 229 w 267"/>
                <a:gd name="T83" fmla="*/ 0 h 115"/>
                <a:gd name="T84" fmla="*/ 248 w 267"/>
                <a:gd name="T85" fmla="*/ 10 h 115"/>
                <a:gd name="T86" fmla="*/ 257 w 267"/>
                <a:gd name="T87" fmla="*/ 29 h 115"/>
                <a:gd name="T88" fmla="*/ 267 w 267"/>
                <a:gd name="T89" fmla="*/ 38 h 11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7"/>
                <a:gd name="T136" fmla="*/ 0 h 115"/>
                <a:gd name="T137" fmla="*/ 267 w 267"/>
                <a:gd name="T138" fmla="*/ 115 h 11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7" h="115">
                  <a:moveTo>
                    <a:pt x="267" y="38"/>
                  </a:moveTo>
                  <a:lnTo>
                    <a:pt x="267" y="48"/>
                  </a:lnTo>
                  <a:lnTo>
                    <a:pt x="267" y="76"/>
                  </a:lnTo>
                  <a:lnTo>
                    <a:pt x="267" y="86"/>
                  </a:lnTo>
                  <a:lnTo>
                    <a:pt x="257" y="86"/>
                  </a:lnTo>
                  <a:lnTo>
                    <a:pt x="257" y="76"/>
                  </a:lnTo>
                  <a:lnTo>
                    <a:pt x="238" y="76"/>
                  </a:lnTo>
                  <a:lnTo>
                    <a:pt x="229" y="86"/>
                  </a:lnTo>
                  <a:lnTo>
                    <a:pt x="229" y="76"/>
                  </a:lnTo>
                  <a:lnTo>
                    <a:pt x="219" y="86"/>
                  </a:lnTo>
                  <a:lnTo>
                    <a:pt x="200" y="86"/>
                  </a:lnTo>
                  <a:lnTo>
                    <a:pt x="181" y="95"/>
                  </a:lnTo>
                  <a:lnTo>
                    <a:pt x="171" y="86"/>
                  </a:lnTo>
                  <a:lnTo>
                    <a:pt x="152" y="95"/>
                  </a:lnTo>
                  <a:lnTo>
                    <a:pt x="152" y="105"/>
                  </a:lnTo>
                  <a:lnTo>
                    <a:pt x="143" y="115"/>
                  </a:lnTo>
                  <a:lnTo>
                    <a:pt x="143" y="105"/>
                  </a:lnTo>
                  <a:lnTo>
                    <a:pt x="143" y="95"/>
                  </a:lnTo>
                  <a:lnTo>
                    <a:pt x="124" y="95"/>
                  </a:lnTo>
                  <a:lnTo>
                    <a:pt x="114" y="95"/>
                  </a:lnTo>
                  <a:lnTo>
                    <a:pt x="105" y="95"/>
                  </a:lnTo>
                  <a:lnTo>
                    <a:pt x="95" y="105"/>
                  </a:lnTo>
                  <a:lnTo>
                    <a:pt x="86" y="105"/>
                  </a:lnTo>
                  <a:lnTo>
                    <a:pt x="76" y="95"/>
                  </a:lnTo>
                  <a:lnTo>
                    <a:pt x="67" y="86"/>
                  </a:lnTo>
                  <a:lnTo>
                    <a:pt x="67" y="95"/>
                  </a:lnTo>
                  <a:lnTo>
                    <a:pt x="57" y="95"/>
                  </a:lnTo>
                  <a:lnTo>
                    <a:pt x="47" y="105"/>
                  </a:lnTo>
                  <a:lnTo>
                    <a:pt x="38" y="95"/>
                  </a:lnTo>
                  <a:lnTo>
                    <a:pt x="28" y="95"/>
                  </a:lnTo>
                  <a:lnTo>
                    <a:pt x="28" y="105"/>
                  </a:lnTo>
                  <a:lnTo>
                    <a:pt x="19" y="105"/>
                  </a:lnTo>
                  <a:lnTo>
                    <a:pt x="28" y="95"/>
                  </a:lnTo>
                  <a:lnTo>
                    <a:pt x="19" y="86"/>
                  </a:lnTo>
                  <a:lnTo>
                    <a:pt x="19" y="95"/>
                  </a:lnTo>
                  <a:lnTo>
                    <a:pt x="9" y="95"/>
                  </a:lnTo>
                  <a:lnTo>
                    <a:pt x="9" y="86"/>
                  </a:lnTo>
                  <a:lnTo>
                    <a:pt x="19" y="86"/>
                  </a:lnTo>
                  <a:lnTo>
                    <a:pt x="19" y="76"/>
                  </a:lnTo>
                  <a:lnTo>
                    <a:pt x="9" y="67"/>
                  </a:lnTo>
                  <a:lnTo>
                    <a:pt x="0" y="67"/>
                  </a:lnTo>
                  <a:lnTo>
                    <a:pt x="9" y="67"/>
                  </a:lnTo>
                  <a:lnTo>
                    <a:pt x="9" y="57"/>
                  </a:lnTo>
                  <a:lnTo>
                    <a:pt x="9" y="48"/>
                  </a:lnTo>
                  <a:lnTo>
                    <a:pt x="0" y="48"/>
                  </a:lnTo>
                  <a:lnTo>
                    <a:pt x="0" y="38"/>
                  </a:lnTo>
                  <a:lnTo>
                    <a:pt x="9" y="29"/>
                  </a:lnTo>
                  <a:lnTo>
                    <a:pt x="19" y="29"/>
                  </a:lnTo>
                  <a:lnTo>
                    <a:pt x="28" y="29"/>
                  </a:lnTo>
                  <a:lnTo>
                    <a:pt x="38" y="29"/>
                  </a:lnTo>
                  <a:lnTo>
                    <a:pt x="47" y="29"/>
                  </a:lnTo>
                  <a:lnTo>
                    <a:pt x="47" y="19"/>
                  </a:lnTo>
                  <a:lnTo>
                    <a:pt x="38" y="19"/>
                  </a:lnTo>
                  <a:lnTo>
                    <a:pt x="38" y="10"/>
                  </a:lnTo>
                  <a:lnTo>
                    <a:pt x="47" y="10"/>
                  </a:lnTo>
                  <a:lnTo>
                    <a:pt x="67" y="10"/>
                  </a:lnTo>
                  <a:lnTo>
                    <a:pt x="86" y="10"/>
                  </a:lnTo>
                  <a:lnTo>
                    <a:pt x="105" y="0"/>
                  </a:lnTo>
                  <a:lnTo>
                    <a:pt x="114" y="0"/>
                  </a:lnTo>
                  <a:lnTo>
                    <a:pt x="124" y="0"/>
                  </a:lnTo>
                  <a:lnTo>
                    <a:pt x="133" y="10"/>
                  </a:lnTo>
                  <a:lnTo>
                    <a:pt x="143" y="0"/>
                  </a:lnTo>
                  <a:lnTo>
                    <a:pt x="152" y="19"/>
                  </a:lnTo>
                  <a:lnTo>
                    <a:pt x="162" y="19"/>
                  </a:lnTo>
                  <a:lnTo>
                    <a:pt x="171" y="19"/>
                  </a:lnTo>
                  <a:lnTo>
                    <a:pt x="181" y="19"/>
                  </a:lnTo>
                  <a:lnTo>
                    <a:pt x="190" y="19"/>
                  </a:lnTo>
                  <a:lnTo>
                    <a:pt x="210" y="19"/>
                  </a:lnTo>
                  <a:lnTo>
                    <a:pt x="219" y="10"/>
                  </a:lnTo>
                  <a:lnTo>
                    <a:pt x="229" y="0"/>
                  </a:lnTo>
                  <a:lnTo>
                    <a:pt x="238" y="10"/>
                  </a:lnTo>
                  <a:lnTo>
                    <a:pt x="248" y="10"/>
                  </a:lnTo>
                  <a:lnTo>
                    <a:pt x="257" y="19"/>
                  </a:lnTo>
                  <a:lnTo>
                    <a:pt x="257" y="29"/>
                  </a:lnTo>
                  <a:lnTo>
                    <a:pt x="267"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12" name="Freeform 291">
              <a:extLst>
                <a:ext uri="{FF2B5EF4-FFF2-40B4-BE49-F238E27FC236}">
                  <a16:creationId xmlns:a16="http://schemas.microsoft.com/office/drawing/2014/main" id="{57399DC3-0E4E-4CAC-B762-667FE76EA8B0}"/>
                </a:ext>
              </a:extLst>
            </p:cNvPr>
            <p:cNvSpPr>
              <a:spLocks/>
            </p:cNvSpPr>
            <p:nvPr/>
          </p:nvSpPr>
          <p:spPr bwMode="gray">
            <a:xfrm>
              <a:off x="3342" y="2280"/>
              <a:ext cx="276" cy="239"/>
            </a:xfrm>
            <a:custGeom>
              <a:avLst/>
              <a:gdLst>
                <a:gd name="T0" fmla="*/ 248 w 276"/>
                <a:gd name="T1" fmla="*/ 229 h 239"/>
                <a:gd name="T2" fmla="*/ 228 w 276"/>
                <a:gd name="T3" fmla="*/ 229 h 239"/>
                <a:gd name="T4" fmla="*/ 209 w 276"/>
                <a:gd name="T5" fmla="*/ 229 h 239"/>
                <a:gd name="T6" fmla="*/ 190 w 276"/>
                <a:gd name="T7" fmla="*/ 220 h 239"/>
                <a:gd name="T8" fmla="*/ 181 w 276"/>
                <a:gd name="T9" fmla="*/ 210 h 239"/>
                <a:gd name="T10" fmla="*/ 171 w 276"/>
                <a:gd name="T11" fmla="*/ 201 h 239"/>
                <a:gd name="T12" fmla="*/ 133 w 276"/>
                <a:gd name="T13" fmla="*/ 210 h 239"/>
                <a:gd name="T14" fmla="*/ 124 w 276"/>
                <a:gd name="T15" fmla="*/ 210 h 239"/>
                <a:gd name="T16" fmla="*/ 114 w 276"/>
                <a:gd name="T17" fmla="*/ 201 h 239"/>
                <a:gd name="T18" fmla="*/ 95 w 276"/>
                <a:gd name="T19" fmla="*/ 182 h 239"/>
                <a:gd name="T20" fmla="*/ 86 w 276"/>
                <a:gd name="T21" fmla="*/ 162 h 239"/>
                <a:gd name="T22" fmla="*/ 66 w 276"/>
                <a:gd name="T23" fmla="*/ 153 h 239"/>
                <a:gd name="T24" fmla="*/ 47 w 276"/>
                <a:gd name="T25" fmla="*/ 153 h 239"/>
                <a:gd name="T26" fmla="*/ 38 w 276"/>
                <a:gd name="T27" fmla="*/ 115 h 239"/>
                <a:gd name="T28" fmla="*/ 9 w 276"/>
                <a:gd name="T29" fmla="*/ 96 h 239"/>
                <a:gd name="T30" fmla="*/ 19 w 276"/>
                <a:gd name="T31" fmla="*/ 67 h 239"/>
                <a:gd name="T32" fmla="*/ 0 w 276"/>
                <a:gd name="T33" fmla="*/ 48 h 239"/>
                <a:gd name="T34" fmla="*/ 0 w 276"/>
                <a:gd name="T35" fmla="*/ 10 h 239"/>
                <a:gd name="T36" fmla="*/ 19 w 276"/>
                <a:gd name="T37" fmla="*/ 10 h 239"/>
                <a:gd name="T38" fmla="*/ 38 w 276"/>
                <a:gd name="T39" fmla="*/ 10 h 239"/>
                <a:gd name="T40" fmla="*/ 57 w 276"/>
                <a:gd name="T41" fmla="*/ 10 h 239"/>
                <a:gd name="T42" fmla="*/ 66 w 276"/>
                <a:gd name="T43" fmla="*/ 29 h 239"/>
                <a:gd name="T44" fmla="*/ 66 w 276"/>
                <a:gd name="T45" fmla="*/ 29 h 239"/>
                <a:gd name="T46" fmla="*/ 66 w 276"/>
                <a:gd name="T47" fmla="*/ 38 h 239"/>
                <a:gd name="T48" fmla="*/ 76 w 276"/>
                <a:gd name="T49" fmla="*/ 38 h 239"/>
                <a:gd name="T50" fmla="*/ 86 w 276"/>
                <a:gd name="T51" fmla="*/ 38 h 239"/>
                <a:gd name="T52" fmla="*/ 86 w 276"/>
                <a:gd name="T53" fmla="*/ 38 h 239"/>
                <a:gd name="T54" fmla="*/ 86 w 276"/>
                <a:gd name="T55" fmla="*/ 48 h 239"/>
                <a:gd name="T56" fmla="*/ 86 w 276"/>
                <a:gd name="T57" fmla="*/ 48 h 239"/>
                <a:gd name="T58" fmla="*/ 95 w 276"/>
                <a:gd name="T59" fmla="*/ 48 h 239"/>
                <a:gd name="T60" fmla="*/ 95 w 276"/>
                <a:gd name="T61" fmla="*/ 57 h 239"/>
                <a:gd name="T62" fmla="*/ 114 w 276"/>
                <a:gd name="T63" fmla="*/ 57 h 239"/>
                <a:gd name="T64" fmla="*/ 114 w 276"/>
                <a:gd name="T65" fmla="*/ 57 h 239"/>
                <a:gd name="T66" fmla="*/ 124 w 276"/>
                <a:gd name="T67" fmla="*/ 48 h 239"/>
                <a:gd name="T68" fmla="*/ 133 w 276"/>
                <a:gd name="T69" fmla="*/ 48 h 239"/>
                <a:gd name="T70" fmla="*/ 143 w 276"/>
                <a:gd name="T71" fmla="*/ 48 h 239"/>
                <a:gd name="T72" fmla="*/ 143 w 276"/>
                <a:gd name="T73" fmla="*/ 48 h 239"/>
                <a:gd name="T74" fmla="*/ 143 w 276"/>
                <a:gd name="T75" fmla="*/ 48 h 239"/>
                <a:gd name="T76" fmla="*/ 162 w 276"/>
                <a:gd name="T77" fmla="*/ 38 h 239"/>
                <a:gd name="T78" fmla="*/ 200 w 276"/>
                <a:gd name="T79" fmla="*/ 29 h 239"/>
                <a:gd name="T80" fmla="*/ 219 w 276"/>
                <a:gd name="T81" fmla="*/ 38 h 239"/>
                <a:gd name="T82" fmla="*/ 248 w 276"/>
                <a:gd name="T83" fmla="*/ 67 h 239"/>
                <a:gd name="T84" fmla="*/ 238 w 276"/>
                <a:gd name="T85" fmla="*/ 96 h 239"/>
                <a:gd name="T86" fmla="*/ 238 w 276"/>
                <a:gd name="T87" fmla="*/ 134 h 239"/>
                <a:gd name="T88" fmla="*/ 248 w 276"/>
                <a:gd name="T89" fmla="*/ 134 h 239"/>
                <a:gd name="T90" fmla="*/ 248 w 276"/>
                <a:gd name="T91" fmla="*/ 153 h 239"/>
                <a:gd name="T92" fmla="*/ 238 w 276"/>
                <a:gd name="T93" fmla="*/ 172 h 239"/>
                <a:gd name="T94" fmla="*/ 267 w 276"/>
                <a:gd name="T95" fmla="*/ 201 h 239"/>
                <a:gd name="T96" fmla="*/ 276 w 276"/>
                <a:gd name="T97" fmla="*/ 210 h 239"/>
                <a:gd name="T98" fmla="*/ 257 w 276"/>
                <a:gd name="T99" fmla="*/ 229 h 23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6"/>
                <a:gd name="T151" fmla="*/ 0 h 239"/>
                <a:gd name="T152" fmla="*/ 276 w 276"/>
                <a:gd name="T153" fmla="*/ 239 h 23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6" h="239">
                  <a:moveTo>
                    <a:pt x="248" y="239"/>
                  </a:moveTo>
                  <a:lnTo>
                    <a:pt x="248" y="229"/>
                  </a:lnTo>
                  <a:lnTo>
                    <a:pt x="238" y="229"/>
                  </a:lnTo>
                  <a:lnTo>
                    <a:pt x="228" y="229"/>
                  </a:lnTo>
                  <a:lnTo>
                    <a:pt x="219" y="229"/>
                  </a:lnTo>
                  <a:lnTo>
                    <a:pt x="209" y="229"/>
                  </a:lnTo>
                  <a:lnTo>
                    <a:pt x="200" y="229"/>
                  </a:lnTo>
                  <a:lnTo>
                    <a:pt x="190" y="220"/>
                  </a:lnTo>
                  <a:lnTo>
                    <a:pt x="181" y="210"/>
                  </a:lnTo>
                  <a:lnTo>
                    <a:pt x="181" y="201"/>
                  </a:lnTo>
                  <a:lnTo>
                    <a:pt x="171" y="201"/>
                  </a:lnTo>
                  <a:lnTo>
                    <a:pt x="171" y="210"/>
                  </a:lnTo>
                  <a:lnTo>
                    <a:pt x="133" y="210"/>
                  </a:lnTo>
                  <a:lnTo>
                    <a:pt x="124" y="210"/>
                  </a:lnTo>
                  <a:lnTo>
                    <a:pt x="114" y="201"/>
                  </a:lnTo>
                  <a:lnTo>
                    <a:pt x="105" y="191"/>
                  </a:lnTo>
                  <a:lnTo>
                    <a:pt x="95" y="182"/>
                  </a:lnTo>
                  <a:lnTo>
                    <a:pt x="95" y="172"/>
                  </a:lnTo>
                  <a:lnTo>
                    <a:pt x="86" y="162"/>
                  </a:lnTo>
                  <a:lnTo>
                    <a:pt x="66" y="153"/>
                  </a:lnTo>
                  <a:lnTo>
                    <a:pt x="57" y="162"/>
                  </a:lnTo>
                  <a:lnTo>
                    <a:pt x="47" y="153"/>
                  </a:lnTo>
                  <a:lnTo>
                    <a:pt x="47" y="134"/>
                  </a:lnTo>
                  <a:lnTo>
                    <a:pt x="38" y="115"/>
                  </a:lnTo>
                  <a:lnTo>
                    <a:pt x="28" y="115"/>
                  </a:lnTo>
                  <a:lnTo>
                    <a:pt x="9" y="96"/>
                  </a:lnTo>
                  <a:lnTo>
                    <a:pt x="28" y="67"/>
                  </a:lnTo>
                  <a:lnTo>
                    <a:pt x="19" y="67"/>
                  </a:lnTo>
                  <a:lnTo>
                    <a:pt x="0" y="48"/>
                  </a:lnTo>
                  <a:lnTo>
                    <a:pt x="0" y="38"/>
                  </a:lnTo>
                  <a:lnTo>
                    <a:pt x="0" y="10"/>
                  </a:lnTo>
                  <a:lnTo>
                    <a:pt x="0" y="0"/>
                  </a:lnTo>
                  <a:lnTo>
                    <a:pt x="19" y="10"/>
                  </a:lnTo>
                  <a:lnTo>
                    <a:pt x="28" y="10"/>
                  </a:lnTo>
                  <a:lnTo>
                    <a:pt x="38" y="10"/>
                  </a:lnTo>
                  <a:lnTo>
                    <a:pt x="57" y="0"/>
                  </a:lnTo>
                  <a:lnTo>
                    <a:pt x="57" y="10"/>
                  </a:lnTo>
                  <a:lnTo>
                    <a:pt x="57" y="19"/>
                  </a:lnTo>
                  <a:lnTo>
                    <a:pt x="66" y="29"/>
                  </a:lnTo>
                  <a:lnTo>
                    <a:pt x="66" y="38"/>
                  </a:lnTo>
                  <a:lnTo>
                    <a:pt x="76" y="38"/>
                  </a:lnTo>
                  <a:lnTo>
                    <a:pt x="86" y="38"/>
                  </a:lnTo>
                  <a:lnTo>
                    <a:pt x="86" y="48"/>
                  </a:lnTo>
                  <a:lnTo>
                    <a:pt x="95" y="48"/>
                  </a:lnTo>
                  <a:lnTo>
                    <a:pt x="95" y="57"/>
                  </a:lnTo>
                  <a:lnTo>
                    <a:pt x="105" y="57"/>
                  </a:lnTo>
                  <a:lnTo>
                    <a:pt x="114" y="57"/>
                  </a:lnTo>
                  <a:lnTo>
                    <a:pt x="124" y="48"/>
                  </a:lnTo>
                  <a:lnTo>
                    <a:pt x="133" y="48"/>
                  </a:lnTo>
                  <a:lnTo>
                    <a:pt x="143" y="48"/>
                  </a:lnTo>
                  <a:lnTo>
                    <a:pt x="143" y="38"/>
                  </a:lnTo>
                  <a:lnTo>
                    <a:pt x="162" y="38"/>
                  </a:lnTo>
                  <a:lnTo>
                    <a:pt x="162" y="29"/>
                  </a:lnTo>
                  <a:lnTo>
                    <a:pt x="200" y="29"/>
                  </a:lnTo>
                  <a:lnTo>
                    <a:pt x="209" y="38"/>
                  </a:lnTo>
                  <a:lnTo>
                    <a:pt x="219" y="38"/>
                  </a:lnTo>
                  <a:lnTo>
                    <a:pt x="248" y="57"/>
                  </a:lnTo>
                  <a:lnTo>
                    <a:pt x="248" y="67"/>
                  </a:lnTo>
                  <a:lnTo>
                    <a:pt x="248" y="77"/>
                  </a:lnTo>
                  <a:lnTo>
                    <a:pt x="238" y="96"/>
                  </a:lnTo>
                  <a:lnTo>
                    <a:pt x="238" y="115"/>
                  </a:lnTo>
                  <a:lnTo>
                    <a:pt x="238" y="134"/>
                  </a:lnTo>
                  <a:lnTo>
                    <a:pt x="248" y="134"/>
                  </a:lnTo>
                  <a:lnTo>
                    <a:pt x="257" y="143"/>
                  </a:lnTo>
                  <a:lnTo>
                    <a:pt x="248" y="153"/>
                  </a:lnTo>
                  <a:lnTo>
                    <a:pt x="238" y="162"/>
                  </a:lnTo>
                  <a:lnTo>
                    <a:pt x="238" y="172"/>
                  </a:lnTo>
                  <a:lnTo>
                    <a:pt x="267" y="191"/>
                  </a:lnTo>
                  <a:lnTo>
                    <a:pt x="267" y="201"/>
                  </a:lnTo>
                  <a:lnTo>
                    <a:pt x="276" y="201"/>
                  </a:lnTo>
                  <a:lnTo>
                    <a:pt x="276" y="210"/>
                  </a:lnTo>
                  <a:lnTo>
                    <a:pt x="257" y="220"/>
                  </a:lnTo>
                  <a:lnTo>
                    <a:pt x="257" y="229"/>
                  </a:lnTo>
                  <a:lnTo>
                    <a:pt x="248" y="23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13" name="Freeform 292">
              <a:extLst>
                <a:ext uri="{FF2B5EF4-FFF2-40B4-BE49-F238E27FC236}">
                  <a16:creationId xmlns:a16="http://schemas.microsoft.com/office/drawing/2014/main" id="{52E07E80-545E-44B3-9C2F-E37AC933CDF8}"/>
                </a:ext>
              </a:extLst>
            </p:cNvPr>
            <p:cNvSpPr>
              <a:spLocks/>
            </p:cNvSpPr>
            <p:nvPr/>
          </p:nvSpPr>
          <p:spPr bwMode="gray">
            <a:xfrm>
              <a:off x="3342" y="2280"/>
              <a:ext cx="276" cy="239"/>
            </a:xfrm>
            <a:custGeom>
              <a:avLst/>
              <a:gdLst>
                <a:gd name="T0" fmla="*/ 248 w 276"/>
                <a:gd name="T1" fmla="*/ 229 h 239"/>
                <a:gd name="T2" fmla="*/ 228 w 276"/>
                <a:gd name="T3" fmla="*/ 229 h 239"/>
                <a:gd name="T4" fmla="*/ 209 w 276"/>
                <a:gd name="T5" fmla="*/ 229 h 239"/>
                <a:gd name="T6" fmla="*/ 190 w 276"/>
                <a:gd name="T7" fmla="*/ 220 h 239"/>
                <a:gd name="T8" fmla="*/ 181 w 276"/>
                <a:gd name="T9" fmla="*/ 210 h 239"/>
                <a:gd name="T10" fmla="*/ 171 w 276"/>
                <a:gd name="T11" fmla="*/ 201 h 239"/>
                <a:gd name="T12" fmla="*/ 133 w 276"/>
                <a:gd name="T13" fmla="*/ 210 h 239"/>
                <a:gd name="T14" fmla="*/ 124 w 276"/>
                <a:gd name="T15" fmla="*/ 210 h 239"/>
                <a:gd name="T16" fmla="*/ 114 w 276"/>
                <a:gd name="T17" fmla="*/ 201 h 239"/>
                <a:gd name="T18" fmla="*/ 95 w 276"/>
                <a:gd name="T19" fmla="*/ 182 h 239"/>
                <a:gd name="T20" fmla="*/ 86 w 276"/>
                <a:gd name="T21" fmla="*/ 162 h 239"/>
                <a:gd name="T22" fmla="*/ 66 w 276"/>
                <a:gd name="T23" fmla="*/ 153 h 239"/>
                <a:gd name="T24" fmla="*/ 47 w 276"/>
                <a:gd name="T25" fmla="*/ 153 h 239"/>
                <a:gd name="T26" fmla="*/ 38 w 276"/>
                <a:gd name="T27" fmla="*/ 115 h 239"/>
                <a:gd name="T28" fmla="*/ 9 w 276"/>
                <a:gd name="T29" fmla="*/ 96 h 239"/>
                <a:gd name="T30" fmla="*/ 28 w 276"/>
                <a:gd name="T31" fmla="*/ 67 h 239"/>
                <a:gd name="T32" fmla="*/ 0 w 276"/>
                <a:gd name="T33" fmla="*/ 48 h 239"/>
                <a:gd name="T34" fmla="*/ 0 w 276"/>
                <a:gd name="T35" fmla="*/ 10 h 239"/>
                <a:gd name="T36" fmla="*/ 19 w 276"/>
                <a:gd name="T37" fmla="*/ 10 h 239"/>
                <a:gd name="T38" fmla="*/ 38 w 276"/>
                <a:gd name="T39" fmla="*/ 10 h 239"/>
                <a:gd name="T40" fmla="*/ 57 w 276"/>
                <a:gd name="T41" fmla="*/ 10 h 239"/>
                <a:gd name="T42" fmla="*/ 66 w 276"/>
                <a:gd name="T43" fmla="*/ 29 h 239"/>
                <a:gd name="T44" fmla="*/ 66 w 276"/>
                <a:gd name="T45" fmla="*/ 38 h 239"/>
                <a:gd name="T46" fmla="*/ 76 w 276"/>
                <a:gd name="T47" fmla="*/ 38 h 239"/>
                <a:gd name="T48" fmla="*/ 86 w 276"/>
                <a:gd name="T49" fmla="*/ 38 h 239"/>
                <a:gd name="T50" fmla="*/ 86 w 276"/>
                <a:gd name="T51" fmla="*/ 48 h 239"/>
                <a:gd name="T52" fmla="*/ 114 w 276"/>
                <a:gd name="T53" fmla="*/ 57 h 239"/>
                <a:gd name="T54" fmla="*/ 133 w 276"/>
                <a:gd name="T55" fmla="*/ 48 h 239"/>
                <a:gd name="T56" fmla="*/ 143 w 276"/>
                <a:gd name="T57" fmla="*/ 48 h 239"/>
                <a:gd name="T58" fmla="*/ 143 w 276"/>
                <a:gd name="T59" fmla="*/ 48 h 239"/>
                <a:gd name="T60" fmla="*/ 162 w 276"/>
                <a:gd name="T61" fmla="*/ 38 h 239"/>
                <a:gd name="T62" fmla="*/ 200 w 276"/>
                <a:gd name="T63" fmla="*/ 29 h 239"/>
                <a:gd name="T64" fmla="*/ 219 w 276"/>
                <a:gd name="T65" fmla="*/ 38 h 239"/>
                <a:gd name="T66" fmla="*/ 248 w 276"/>
                <a:gd name="T67" fmla="*/ 67 h 239"/>
                <a:gd name="T68" fmla="*/ 238 w 276"/>
                <a:gd name="T69" fmla="*/ 96 h 239"/>
                <a:gd name="T70" fmla="*/ 238 w 276"/>
                <a:gd name="T71" fmla="*/ 134 h 239"/>
                <a:gd name="T72" fmla="*/ 248 w 276"/>
                <a:gd name="T73" fmla="*/ 134 h 239"/>
                <a:gd name="T74" fmla="*/ 248 w 276"/>
                <a:gd name="T75" fmla="*/ 153 h 239"/>
                <a:gd name="T76" fmla="*/ 238 w 276"/>
                <a:gd name="T77" fmla="*/ 172 h 239"/>
                <a:gd name="T78" fmla="*/ 267 w 276"/>
                <a:gd name="T79" fmla="*/ 201 h 239"/>
                <a:gd name="T80" fmla="*/ 276 w 276"/>
                <a:gd name="T81" fmla="*/ 210 h 239"/>
                <a:gd name="T82" fmla="*/ 257 w 276"/>
                <a:gd name="T83" fmla="*/ 229 h 23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76"/>
                <a:gd name="T127" fmla="*/ 0 h 239"/>
                <a:gd name="T128" fmla="*/ 276 w 276"/>
                <a:gd name="T129" fmla="*/ 239 h 23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76" h="239">
                  <a:moveTo>
                    <a:pt x="248" y="239"/>
                  </a:moveTo>
                  <a:lnTo>
                    <a:pt x="248" y="229"/>
                  </a:lnTo>
                  <a:lnTo>
                    <a:pt x="238" y="229"/>
                  </a:lnTo>
                  <a:lnTo>
                    <a:pt x="228" y="229"/>
                  </a:lnTo>
                  <a:lnTo>
                    <a:pt x="219" y="229"/>
                  </a:lnTo>
                  <a:lnTo>
                    <a:pt x="209" y="229"/>
                  </a:lnTo>
                  <a:lnTo>
                    <a:pt x="200" y="229"/>
                  </a:lnTo>
                  <a:lnTo>
                    <a:pt x="190" y="220"/>
                  </a:lnTo>
                  <a:lnTo>
                    <a:pt x="181" y="210"/>
                  </a:lnTo>
                  <a:lnTo>
                    <a:pt x="181" y="201"/>
                  </a:lnTo>
                  <a:lnTo>
                    <a:pt x="171" y="201"/>
                  </a:lnTo>
                  <a:lnTo>
                    <a:pt x="171" y="210"/>
                  </a:lnTo>
                  <a:lnTo>
                    <a:pt x="133" y="210"/>
                  </a:lnTo>
                  <a:lnTo>
                    <a:pt x="124" y="210"/>
                  </a:lnTo>
                  <a:lnTo>
                    <a:pt x="114" y="201"/>
                  </a:lnTo>
                  <a:lnTo>
                    <a:pt x="95" y="191"/>
                  </a:lnTo>
                  <a:lnTo>
                    <a:pt x="95" y="182"/>
                  </a:lnTo>
                  <a:lnTo>
                    <a:pt x="95" y="172"/>
                  </a:lnTo>
                  <a:lnTo>
                    <a:pt x="86" y="162"/>
                  </a:lnTo>
                  <a:lnTo>
                    <a:pt x="66" y="153"/>
                  </a:lnTo>
                  <a:lnTo>
                    <a:pt x="57" y="162"/>
                  </a:lnTo>
                  <a:lnTo>
                    <a:pt x="47" y="153"/>
                  </a:lnTo>
                  <a:lnTo>
                    <a:pt x="47" y="134"/>
                  </a:lnTo>
                  <a:lnTo>
                    <a:pt x="38" y="115"/>
                  </a:lnTo>
                  <a:lnTo>
                    <a:pt x="28" y="115"/>
                  </a:lnTo>
                  <a:lnTo>
                    <a:pt x="9" y="96"/>
                  </a:lnTo>
                  <a:lnTo>
                    <a:pt x="28" y="67"/>
                  </a:lnTo>
                  <a:lnTo>
                    <a:pt x="19" y="67"/>
                  </a:lnTo>
                  <a:lnTo>
                    <a:pt x="0" y="48"/>
                  </a:lnTo>
                  <a:lnTo>
                    <a:pt x="0" y="38"/>
                  </a:lnTo>
                  <a:lnTo>
                    <a:pt x="0" y="10"/>
                  </a:lnTo>
                  <a:lnTo>
                    <a:pt x="0" y="0"/>
                  </a:lnTo>
                  <a:lnTo>
                    <a:pt x="19" y="10"/>
                  </a:lnTo>
                  <a:lnTo>
                    <a:pt x="28" y="10"/>
                  </a:lnTo>
                  <a:lnTo>
                    <a:pt x="38" y="10"/>
                  </a:lnTo>
                  <a:lnTo>
                    <a:pt x="57" y="0"/>
                  </a:lnTo>
                  <a:lnTo>
                    <a:pt x="57" y="10"/>
                  </a:lnTo>
                  <a:lnTo>
                    <a:pt x="57" y="19"/>
                  </a:lnTo>
                  <a:lnTo>
                    <a:pt x="66" y="29"/>
                  </a:lnTo>
                  <a:lnTo>
                    <a:pt x="66" y="38"/>
                  </a:lnTo>
                  <a:lnTo>
                    <a:pt x="76" y="38"/>
                  </a:lnTo>
                  <a:lnTo>
                    <a:pt x="86" y="38"/>
                  </a:lnTo>
                  <a:lnTo>
                    <a:pt x="86" y="48"/>
                  </a:lnTo>
                  <a:lnTo>
                    <a:pt x="95" y="57"/>
                  </a:lnTo>
                  <a:lnTo>
                    <a:pt x="114" y="57"/>
                  </a:lnTo>
                  <a:lnTo>
                    <a:pt x="124" y="48"/>
                  </a:lnTo>
                  <a:lnTo>
                    <a:pt x="133" y="48"/>
                  </a:lnTo>
                  <a:lnTo>
                    <a:pt x="143" y="48"/>
                  </a:lnTo>
                  <a:lnTo>
                    <a:pt x="143" y="38"/>
                  </a:lnTo>
                  <a:lnTo>
                    <a:pt x="162" y="38"/>
                  </a:lnTo>
                  <a:lnTo>
                    <a:pt x="162" y="29"/>
                  </a:lnTo>
                  <a:lnTo>
                    <a:pt x="200" y="29"/>
                  </a:lnTo>
                  <a:lnTo>
                    <a:pt x="209" y="38"/>
                  </a:lnTo>
                  <a:lnTo>
                    <a:pt x="219" y="38"/>
                  </a:lnTo>
                  <a:lnTo>
                    <a:pt x="248" y="57"/>
                  </a:lnTo>
                  <a:lnTo>
                    <a:pt x="248" y="67"/>
                  </a:lnTo>
                  <a:lnTo>
                    <a:pt x="248" y="77"/>
                  </a:lnTo>
                  <a:lnTo>
                    <a:pt x="238" y="96"/>
                  </a:lnTo>
                  <a:lnTo>
                    <a:pt x="238" y="115"/>
                  </a:lnTo>
                  <a:lnTo>
                    <a:pt x="238" y="134"/>
                  </a:lnTo>
                  <a:lnTo>
                    <a:pt x="248" y="134"/>
                  </a:lnTo>
                  <a:lnTo>
                    <a:pt x="257" y="143"/>
                  </a:lnTo>
                  <a:lnTo>
                    <a:pt x="248" y="153"/>
                  </a:lnTo>
                  <a:lnTo>
                    <a:pt x="238" y="162"/>
                  </a:lnTo>
                  <a:lnTo>
                    <a:pt x="238" y="172"/>
                  </a:lnTo>
                  <a:lnTo>
                    <a:pt x="267" y="191"/>
                  </a:lnTo>
                  <a:lnTo>
                    <a:pt x="267" y="201"/>
                  </a:lnTo>
                  <a:lnTo>
                    <a:pt x="276" y="201"/>
                  </a:lnTo>
                  <a:lnTo>
                    <a:pt x="276" y="210"/>
                  </a:lnTo>
                  <a:lnTo>
                    <a:pt x="257" y="220"/>
                  </a:lnTo>
                  <a:lnTo>
                    <a:pt x="257" y="229"/>
                  </a:lnTo>
                  <a:lnTo>
                    <a:pt x="248" y="23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14" name="Freeform 293">
              <a:extLst>
                <a:ext uri="{FF2B5EF4-FFF2-40B4-BE49-F238E27FC236}">
                  <a16:creationId xmlns:a16="http://schemas.microsoft.com/office/drawing/2014/main" id="{FF4034C2-B6C4-445E-BF3E-5F042C316B05}"/>
                </a:ext>
              </a:extLst>
            </p:cNvPr>
            <p:cNvSpPr>
              <a:spLocks/>
            </p:cNvSpPr>
            <p:nvPr/>
          </p:nvSpPr>
          <p:spPr bwMode="gray">
            <a:xfrm>
              <a:off x="3466" y="2223"/>
              <a:ext cx="200" cy="134"/>
            </a:xfrm>
            <a:custGeom>
              <a:avLst/>
              <a:gdLst>
                <a:gd name="T0" fmla="*/ 28 w 200"/>
                <a:gd name="T1" fmla="*/ 19 h 134"/>
                <a:gd name="T2" fmla="*/ 9 w 200"/>
                <a:gd name="T3" fmla="*/ 10 h 134"/>
                <a:gd name="T4" fmla="*/ 0 w 200"/>
                <a:gd name="T5" fmla="*/ 10 h 134"/>
                <a:gd name="T6" fmla="*/ 0 w 200"/>
                <a:gd name="T7" fmla="*/ 19 h 134"/>
                <a:gd name="T8" fmla="*/ 0 w 200"/>
                <a:gd name="T9" fmla="*/ 19 h 134"/>
                <a:gd name="T10" fmla="*/ 0 w 200"/>
                <a:gd name="T11" fmla="*/ 10 h 134"/>
                <a:gd name="T12" fmla="*/ 0 w 200"/>
                <a:gd name="T13" fmla="*/ 10 h 134"/>
                <a:gd name="T14" fmla="*/ 9 w 200"/>
                <a:gd name="T15" fmla="*/ 10 h 134"/>
                <a:gd name="T16" fmla="*/ 19 w 200"/>
                <a:gd name="T17" fmla="*/ 19 h 134"/>
                <a:gd name="T18" fmla="*/ 19 w 200"/>
                <a:gd name="T19" fmla="*/ 19 h 134"/>
                <a:gd name="T20" fmla="*/ 19 w 200"/>
                <a:gd name="T21" fmla="*/ 19 h 134"/>
                <a:gd name="T22" fmla="*/ 19 w 200"/>
                <a:gd name="T23" fmla="*/ 29 h 134"/>
                <a:gd name="T24" fmla="*/ 28 w 200"/>
                <a:gd name="T25" fmla="*/ 29 h 134"/>
                <a:gd name="T26" fmla="*/ 28 w 200"/>
                <a:gd name="T27" fmla="*/ 38 h 134"/>
                <a:gd name="T28" fmla="*/ 28 w 200"/>
                <a:gd name="T29" fmla="*/ 38 h 134"/>
                <a:gd name="T30" fmla="*/ 19 w 200"/>
                <a:gd name="T31" fmla="*/ 38 h 134"/>
                <a:gd name="T32" fmla="*/ 9 w 200"/>
                <a:gd name="T33" fmla="*/ 38 h 134"/>
                <a:gd name="T34" fmla="*/ 9 w 200"/>
                <a:gd name="T35" fmla="*/ 38 h 134"/>
                <a:gd name="T36" fmla="*/ 0 w 200"/>
                <a:gd name="T37" fmla="*/ 38 h 134"/>
                <a:gd name="T38" fmla="*/ 0 w 200"/>
                <a:gd name="T39" fmla="*/ 38 h 134"/>
                <a:gd name="T40" fmla="*/ 0 w 200"/>
                <a:gd name="T41" fmla="*/ 48 h 134"/>
                <a:gd name="T42" fmla="*/ 0 w 200"/>
                <a:gd name="T43" fmla="*/ 48 h 134"/>
                <a:gd name="T44" fmla="*/ 0 w 200"/>
                <a:gd name="T45" fmla="*/ 48 h 134"/>
                <a:gd name="T46" fmla="*/ 9 w 200"/>
                <a:gd name="T47" fmla="*/ 48 h 134"/>
                <a:gd name="T48" fmla="*/ 9 w 200"/>
                <a:gd name="T49" fmla="*/ 48 h 134"/>
                <a:gd name="T50" fmla="*/ 9 w 200"/>
                <a:gd name="T51" fmla="*/ 48 h 134"/>
                <a:gd name="T52" fmla="*/ 9 w 200"/>
                <a:gd name="T53" fmla="*/ 57 h 134"/>
                <a:gd name="T54" fmla="*/ 9 w 200"/>
                <a:gd name="T55" fmla="*/ 57 h 134"/>
                <a:gd name="T56" fmla="*/ 9 w 200"/>
                <a:gd name="T57" fmla="*/ 57 h 134"/>
                <a:gd name="T58" fmla="*/ 9 w 200"/>
                <a:gd name="T59" fmla="*/ 57 h 134"/>
                <a:gd name="T60" fmla="*/ 9 w 200"/>
                <a:gd name="T61" fmla="*/ 57 h 134"/>
                <a:gd name="T62" fmla="*/ 9 w 200"/>
                <a:gd name="T63" fmla="*/ 57 h 134"/>
                <a:gd name="T64" fmla="*/ 9 w 200"/>
                <a:gd name="T65" fmla="*/ 67 h 134"/>
                <a:gd name="T66" fmla="*/ 19 w 200"/>
                <a:gd name="T67" fmla="*/ 67 h 134"/>
                <a:gd name="T68" fmla="*/ 19 w 200"/>
                <a:gd name="T69" fmla="*/ 67 h 134"/>
                <a:gd name="T70" fmla="*/ 38 w 200"/>
                <a:gd name="T71" fmla="*/ 95 h 134"/>
                <a:gd name="T72" fmla="*/ 76 w 200"/>
                <a:gd name="T73" fmla="*/ 86 h 134"/>
                <a:gd name="T74" fmla="*/ 95 w 200"/>
                <a:gd name="T75" fmla="*/ 95 h 134"/>
                <a:gd name="T76" fmla="*/ 124 w 200"/>
                <a:gd name="T77" fmla="*/ 124 h 134"/>
                <a:gd name="T78" fmla="*/ 143 w 200"/>
                <a:gd name="T79" fmla="*/ 134 h 134"/>
                <a:gd name="T80" fmla="*/ 171 w 200"/>
                <a:gd name="T81" fmla="*/ 114 h 134"/>
                <a:gd name="T82" fmla="*/ 200 w 200"/>
                <a:gd name="T83" fmla="*/ 95 h 134"/>
                <a:gd name="T84" fmla="*/ 181 w 200"/>
                <a:gd name="T85" fmla="*/ 86 h 134"/>
                <a:gd name="T86" fmla="*/ 162 w 200"/>
                <a:gd name="T87" fmla="*/ 76 h 134"/>
                <a:gd name="T88" fmla="*/ 143 w 200"/>
                <a:gd name="T89" fmla="*/ 48 h 134"/>
                <a:gd name="T90" fmla="*/ 124 w 200"/>
                <a:gd name="T91" fmla="*/ 29 h 134"/>
                <a:gd name="T92" fmla="*/ 104 w 200"/>
                <a:gd name="T93" fmla="*/ 19 h 134"/>
                <a:gd name="T94" fmla="*/ 95 w 200"/>
                <a:gd name="T95" fmla="*/ 10 h 134"/>
                <a:gd name="T96" fmla="*/ 85 w 200"/>
                <a:gd name="T97" fmla="*/ 0 h 134"/>
                <a:gd name="T98" fmla="*/ 76 w 200"/>
                <a:gd name="T99" fmla="*/ 10 h 134"/>
                <a:gd name="T100" fmla="*/ 66 w 200"/>
                <a:gd name="T101" fmla="*/ 19 h 13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0"/>
                <a:gd name="T154" fmla="*/ 0 h 134"/>
                <a:gd name="T155" fmla="*/ 200 w 200"/>
                <a:gd name="T156" fmla="*/ 134 h 13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0" h="134">
                  <a:moveTo>
                    <a:pt x="38" y="19"/>
                  </a:moveTo>
                  <a:lnTo>
                    <a:pt x="28" y="19"/>
                  </a:lnTo>
                  <a:lnTo>
                    <a:pt x="19" y="10"/>
                  </a:lnTo>
                  <a:lnTo>
                    <a:pt x="9" y="10"/>
                  </a:lnTo>
                  <a:lnTo>
                    <a:pt x="0" y="10"/>
                  </a:lnTo>
                  <a:lnTo>
                    <a:pt x="0" y="19"/>
                  </a:lnTo>
                  <a:lnTo>
                    <a:pt x="0" y="10"/>
                  </a:lnTo>
                  <a:lnTo>
                    <a:pt x="9" y="10"/>
                  </a:lnTo>
                  <a:lnTo>
                    <a:pt x="9" y="19"/>
                  </a:lnTo>
                  <a:lnTo>
                    <a:pt x="19" y="19"/>
                  </a:lnTo>
                  <a:lnTo>
                    <a:pt x="19" y="29"/>
                  </a:lnTo>
                  <a:lnTo>
                    <a:pt x="28" y="29"/>
                  </a:lnTo>
                  <a:lnTo>
                    <a:pt x="28" y="38"/>
                  </a:lnTo>
                  <a:lnTo>
                    <a:pt x="19" y="38"/>
                  </a:lnTo>
                  <a:lnTo>
                    <a:pt x="9" y="38"/>
                  </a:lnTo>
                  <a:lnTo>
                    <a:pt x="0" y="38"/>
                  </a:lnTo>
                  <a:lnTo>
                    <a:pt x="0" y="48"/>
                  </a:lnTo>
                  <a:lnTo>
                    <a:pt x="9" y="48"/>
                  </a:lnTo>
                  <a:lnTo>
                    <a:pt x="9" y="57"/>
                  </a:lnTo>
                  <a:lnTo>
                    <a:pt x="9" y="67"/>
                  </a:lnTo>
                  <a:lnTo>
                    <a:pt x="19" y="67"/>
                  </a:lnTo>
                  <a:lnTo>
                    <a:pt x="19" y="95"/>
                  </a:lnTo>
                  <a:lnTo>
                    <a:pt x="38" y="95"/>
                  </a:lnTo>
                  <a:lnTo>
                    <a:pt x="38" y="86"/>
                  </a:lnTo>
                  <a:lnTo>
                    <a:pt x="76" y="86"/>
                  </a:lnTo>
                  <a:lnTo>
                    <a:pt x="85" y="95"/>
                  </a:lnTo>
                  <a:lnTo>
                    <a:pt x="95" y="95"/>
                  </a:lnTo>
                  <a:lnTo>
                    <a:pt x="124" y="114"/>
                  </a:lnTo>
                  <a:lnTo>
                    <a:pt x="124" y="124"/>
                  </a:lnTo>
                  <a:lnTo>
                    <a:pt x="133" y="134"/>
                  </a:lnTo>
                  <a:lnTo>
                    <a:pt x="143" y="134"/>
                  </a:lnTo>
                  <a:lnTo>
                    <a:pt x="152" y="124"/>
                  </a:lnTo>
                  <a:lnTo>
                    <a:pt x="171" y="114"/>
                  </a:lnTo>
                  <a:lnTo>
                    <a:pt x="181" y="95"/>
                  </a:lnTo>
                  <a:lnTo>
                    <a:pt x="200" y="95"/>
                  </a:lnTo>
                  <a:lnTo>
                    <a:pt x="190" y="86"/>
                  </a:lnTo>
                  <a:lnTo>
                    <a:pt x="181" y="86"/>
                  </a:lnTo>
                  <a:lnTo>
                    <a:pt x="171" y="76"/>
                  </a:lnTo>
                  <a:lnTo>
                    <a:pt x="162" y="76"/>
                  </a:lnTo>
                  <a:lnTo>
                    <a:pt x="143" y="57"/>
                  </a:lnTo>
                  <a:lnTo>
                    <a:pt x="143" y="48"/>
                  </a:lnTo>
                  <a:lnTo>
                    <a:pt x="133" y="38"/>
                  </a:lnTo>
                  <a:lnTo>
                    <a:pt x="124" y="29"/>
                  </a:lnTo>
                  <a:lnTo>
                    <a:pt x="104" y="19"/>
                  </a:lnTo>
                  <a:lnTo>
                    <a:pt x="104" y="10"/>
                  </a:lnTo>
                  <a:lnTo>
                    <a:pt x="95" y="10"/>
                  </a:lnTo>
                  <a:lnTo>
                    <a:pt x="85" y="0"/>
                  </a:lnTo>
                  <a:lnTo>
                    <a:pt x="85" y="10"/>
                  </a:lnTo>
                  <a:lnTo>
                    <a:pt x="76" y="10"/>
                  </a:lnTo>
                  <a:lnTo>
                    <a:pt x="66" y="10"/>
                  </a:lnTo>
                  <a:lnTo>
                    <a:pt x="66" y="19"/>
                  </a:lnTo>
                  <a:lnTo>
                    <a:pt x="38"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15" name="Freeform 294">
              <a:extLst>
                <a:ext uri="{FF2B5EF4-FFF2-40B4-BE49-F238E27FC236}">
                  <a16:creationId xmlns:a16="http://schemas.microsoft.com/office/drawing/2014/main" id="{5ADEE93C-1DB9-4DF0-9ECF-40D6A563D308}"/>
                </a:ext>
              </a:extLst>
            </p:cNvPr>
            <p:cNvSpPr>
              <a:spLocks/>
            </p:cNvSpPr>
            <p:nvPr/>
          </p:nvSpPr>
          <p:spPr bwMode="gray">
            <a:xfrm>
              <a:off x="3380" y="1965"/>
              <a:ext cx="591" cy="296"/>
            </a:xfrm>
            <a:custGeom>
              <a:avLst/>
              <a:gdLst>
                <a:gd name="T0" fmla="*/ 353 w 591"/>
                <a:gd name="T1" fmla="*/ 268 h 296"/>
                <a:gd name="T2" fmla="*/ 391 w 591"/>
                <a:gd name="T3" fmla="*/ 258 h 296"/>
                <a:gd name="T4" fmla="*/ 419 w 591"/>
                <a:gd name="T5" fmla="*/ 258 h 296"/>
                <a:gd name="T6" fmla="*/ 486 w 591"/>
                <a:gd name="T7" fmla="*/ 268 h 296"/>
                <a:gd name="T8" fmla="*/ 486 w 591"/>
                <a:gd name="T9" fmla="*/ 220 h 296"/>
                <a:gd name="T10" fmla="*/ 524 w 591"/>
                <a:gd name="T11" fmla="*/ 201 h 296"/>
                <a:gd name="T12" fmla="*/ 572 w 591"/>
                <a:gd name="T13" fmla="*/ 172 h 296"/>
                <a:gd name="T14" fmla="*/ 562 w 591"/>
                <a:gd name="T15" fmla="*/ 124 h 296"/>
                <a:gd name="T16" fmla="*/ 476 w 591"/>
                <a:gd name="T17" fmla="*/ 77 h 296"/>
                <a:gd name="T18" fmla="*/ 438 w 591"/>
                <a:gd name="T19" fmla="*/ 19 h 296"/>
                <a:gd name="T20" fmla="*/ 391 w 591"/>
                <a:gd name="T21" fmla="*/ 38 h 296"/>
                <a:gd name="T22" fmla="*/ 353 w 591"/>
                <a:gd name="T23" fmla="*/ 10 h 296"/>
                <a:gd name="T24" fmla="*/ 286 w 591"/>
                <a:gd name="T25" fmla="*/ 19 h 296"/>
                <a:gd name="T26" fmla="*/ 200 w 591"/>
                <a:gd name="T27" fmla="*/ 48 h 296"/>
                <a:gd name="T28" fmla="*/ 200 w 591"/>
                <a:gd name="T29" fmla="*/ 58 h 296"/>
                <a:gd name="T30" fmla="*/ 200 w 591"/>
                <a:gd name="T31" fmla="*/ 86 h 296"/>
                <a:gd name="T32" fmla="*/ 190 w 591"/>
                <a:gd name="T33" fmla="*/ 96 h 296"/>
                <a:gd name="T34" fmla="*/ 162 w 591"/>
                <a:gd name="T35" fmla="*/ 96 h 296"/>
                <a:gd name="T36" fmla="*/ 114 w 591"/>
                <a:gd name="T37" fmla="*/ 96 h 296"/>
                <a:gd name="T38" fmla="*/ 76 w 591"/>
                <a:gd name="T39" fmla="*/ 86 h 296"/>
                <a:gd name="T40" fmla="*/ 28 w 591"/>
                <a:gd name="T41" fmla="*/ 115 h 296"/>
                <a:gd name="T42" fmla="*/ 0 w 591"/>
                <a:gd name="T43" fmla="*/ 163 h 296"/>
                <a:gd name="T44" fmla="*/ 28 w 591"/>
                <a:gd name="T45" fmla="*/ 191 h 296"/>
                <a:gd name="T46" fmla="*/ 48 w 591"/>
                <a:gd name="T47" fmla="*/ 191 h 296"/>
                <a:gd name="T48" fmla="*/ 57 w 591"/>
                <a:gd name="T49" fmla="*/ 182 h 296"/>
                <a:gd name="T50" fmla="*/ 57 w 591"/>
                <a:gd name="T51" fmla="*/ 182 h 296"/>
                <a:gd name="T52" fmla="*/ 67 w 591"/>
                <a:gd name="T53" fmla="*/ 182 h 296"/>
                <a:gd name="T54" fmla="*/ 76 w 591"/>
                <a:gd name="T55" fmla="*/ 182 h 296"/>
                <a:gd name="T56" fmla="*/ 86 w 591"/>
                <a:gd name="T57" fmla="*/ 182 h 296"/>
                <a:gd name="T58" fmla="*/ 95 w 591"/>
                <a:gd name="T59" fmla="*/ 182 h 296"/>
                <a:gd name="T60" fmla="*/ 95 w 591"/>
                <a:gd name="T61" fmla="*/ 191 h 296"/>
                <a:gd name="T62" fmla="*/ 86 w 591"/>
                <a:gd name="T63" fmla="*/ 201 h 296"/>
                <a:gd name="T64" fmla="*/ 86 w 591"/>
                <a:gd name="T65" fmla="*/ 210 h 296"/>
                <a:gd name="T66" fmla="*/ 76 w 591"/>
                <a:gd name="T67" fmla="*/ 210 h 296"/>
                <a:gd name="T68" fmla="*/ 67 w 591"/>
                <a:gd name="T69" fmla="*/ 220 h 296"/>
                <a:gd name="T70" fmla="*/ 57 w 591"/>
                <a:gd name="T71" fmla="*/ 220 h 296"/>
                <a:gd name="T72" fmla="*/ 67 w 591"/>
                <a:gd name="T73" fmla="*/ 229 h 296"/>
                <a:gd name="T74" fmla="*/ 57 w 591"/>
                <a:gd name="T75" fmla="*/ 229 h 296"/>
                <a:gd name="T76" fmla="*/ 57 w 591"/>
                <a:gd name="T77" fmla="*/ 229 h 296"/>
                <a:gd name="T78" fmla="*/ 48 w 591"/>
                <a:gd name="T79" fmla="*/ 229 h 296"/>
                <a:gd name="T80" fmla="*/ 48 w 591"/>
                <a:gd name="T81" fmla="*/ 229 h 296"/>
                <a:gd name="T82" fmla="*/ 57 w 591"/>
                <a:gd name="T83" fmla="*/ 239 h 296"/>
                <a:gd name="T84" fmla="*/ 67 w 591"/>
                <a:gd name="T85" fmla="*/ 248 h 296"/>
                <a:gd name="T86" fmla="*/ 67 w 591"/>
                <a:gd name="T87" fmla="*/ 258 h 296"/>
                <a:gd name="T88" fmla="*/ 76 w 591"/>
                <a:gd name="T89" fmla="*/ 258 h 296"/>
                <a:gd name="T90" fmla="*/ 86 w 591"/>
                <a:gd name="T91" fmla="*/ 258 h 296"/>
                <a:gd name="T92" fmla="*/ 86 w 591"/>
                <a:gd name="T93" fmla="*/ 268 h 296"/>
                <a:gd name="T94" fmla="*/ 95 w 591"/>
                <a:gd name="T95" fmla="*/ 268 h 296"/>
                <a:gd name="T96" fmla="*/ 124 w 591"/>
                <a:gd name="T97" fmla="*/ 229 h 296"/>
                <a:gd name="T98" fmla="*/ 229 w 591"/>
                <a:gd name="T99" fmla="*/ 239 h 296"/>
                <a:gd name="T100" fmla="*/ 267 w 591"/>
                <a:gd name="T101" fmla="*/ 268 h 296"/>
                <a:gd name="T102" fmla="*/ 305 w 591"/>
                <a:gd name="T103" fmla="*/ 296 h 2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1"/>
                <a:gd name="T157" fmla="*/ 0 h 296"/>
                <a:gd name="T158" fmla="*/ 591 w 591"/>
                <a:gd name="T159" fmla="*/ 296 h 29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1" h="296">
                  <a:moveTo>
                    <a:pt x="324" y="287"/>
                  </a:moveTo>
                  <a:lnTo>
                    <a:pt x="324" y="277"/>
                  </a:lnTo>
                  <a:lnTo>
                    <a:pt x="333" y="268"/>
                  </a:lnTo>
                  <a:lnTo>
                    <a:pt x="353" y="268"/>
                  </a:lnTo>
                  <a:lnTo>
                    <a:pt x="362" y="258"/>
                  </a:lnTo>
                  <a:lnTo>
                    <a:pt x="372" y="258"/>
                  </a:lnTo>
                  <a:lnTo>
                    <a:pt x="372" y="268"/>
                  </a:lnTo>
                  <a:lnTo>
                    <a:pt x="391" y="258"/>
                  </a:lnTo>
                  <a:lnTo>
                    <a:pt x="400" y="248"/>
                  </a:lnTo>
                  <a:lnTo>
                    <a:pt x="410" y="248"/>
                  </a:lnTo>
                  <a:lnTo>
                    <a:pt x="419" y="258"/>
                  </a:lnTo>
                  <a:lnTo>
                    <a:pt x="438" y="248"/>
                  </a:lnTo>
                  <a:lnTo>
                    <a:pt x="467" y="258"/>
                  </a:lnTo>
                  <a:lnTo>
                    <a:pt x="486" y="258"/>
                  </a:lnTo>
                  <a:lnTo>
                    <a:pt x="486" y="268"/>
                  </a:lnTo>
                  <a:lnTo>
                    <a:pt x="496" y="248"/>
                  </a:lnTo>
                  <a:lnTo>
                    <a:pt x="496" y="239"/>
                  </a:lnTo>
                  <a:lnTo>
                    <a:pt x="496" y="229"/>
                  </a:lnTo>
                  <a:lnTo>
                    <a:pt x="486" y="220"/>
                  </a:lnTo>
                  <a:lnTo>
                    <a:pt x="515" y="210"/>
                  </a:lnTo>
                  <a:lnTo>
                    <a:pt x="515" y="220"/>
                  </a:lnTo>
                  <a:lnTo>
                    <a:pt x="524" y="210"/>
                  </a:lnTo>
                  <a:lnTo>
                    <a:pt x="524" y="201"/>
                  </a:lnTo>
                  <a:lnTo>
                    <a:pt x="534" y="182"/>
                  </a:lnTo>
                  <a:lnTo>
                    <a:pt x="553" y="182"/>
                  </a:lnTo>
                  <a:lnTo>
                    <a:pt x="562" y="182"/>
                  </a:lnTo>
                  <a:lnTo>
                    <a:pt x="572" y="172"/>
                  </a:lnTo>
                  <a:lnTo>
                    <a:pt x="572" y="153"/>
                  </a:lnTo>
                  <a:lnTo>
                    <a:pt x="591" y="134"/>
                  </a:lnTo>
                  <a:lnTo>
                    <a:pt x="562" y="124"/>
                  </a:lnTo>
                  <a:lnTo>
                    <a:pt x="543" y="96"/>
                  </a:lnTo>
                  <a:lnTo>
                    <a:pt x="524" y="96"/>
                  </a:lnTo>
                  <a:lnTo>
                    <a:pt x="486" y="96"/>
                  </a:lnTo>
                  <a:lnTo>
                    <a:pt x="476" y="77"/>
                  </a:lnTo>
                  <a:lnTo>
                    <a:pt x="467" y="58"/>
                  </a:lnTo>
                  <a:lnTo>
                    <a:pt x="448" y="48"/>
                  </a:lnTo>
                  <a:lnTo>
                    <a:pt x="438" y="29"/>
                  </a:lnTo>
                  <a:lnTo>
                    <a:pt x="438" y="19"/>
                  </a:lnTo>
                  <a:lnTo>
                    <a:pt x="419" y="19"/>
                  </a:lnTo>
                  <a:lnTo>
                    <a:pt x="410" y="29"/>
                  </a:lnTo>
                  <a:lnTo>
                    <a:pt x="410" y="38"/>
                  </a:lnTo>
                  <a:lnTo>
                    <a:pt x="391" y="38"/>
                  </a:lnTo>
                  <a:lnTo>
                    <a:pt x="391" y="29"/>
                  </a:lnTo>
                  <a:lnTo>
                    <a:pt x="372" y="19"/>
                  </a:lnTo>
                  <a:lnTo>
                    <a:pt x="353" y="19"/>
                  </a:lnTo>
                  <a:lnTo>
                    <a:pt x="353" y="10"/>
                  </a:lnTo>
                  <a:lnTo>
                    <a:pt x="343" y="0"/>
                  </a:lnTo>
                  <a:lnTo>
                    <a:pt x="324" y="0"/>
                  </a:lnTo>
                  <a:lnTo>
                    <a:pt x="305" y="0"/>
                  </a:lnTo>
                  <a:lnTo>
                    <a:pt x="286" y="19"/>
                  </a:lnTo>
                  <a:lnTo>
                    <a:pt x="248" y="29"/>
                  </a:lnTo>
                  <a:lnTo>
                    <a:pt x="219" y="38"/>
                  </a:lnTo>
                  <a:lnTo>
                    <a:pt x="200" y="38"/>
                  </a:lnTo>
                  <a:lnTo>
                    <a:pt x="200" y="48"/>
                  </a:lnTo>
                  <a:lnTo>
                    <a:pt x="219" y="48"/>
                  </a:lnTo>
                  <a:lnTo>
                    <a:pt x="200" y="58"/>
                  </a:lnTo>
                  <a:lnTo>
                    <a:pt x="210" y="67"/>
                  </a:lnTo>
                  <a:lnTo>
                    <a:pt x="210" y="77"/>
                  </a:lnTo>
                  <a:lnTo>
                    <a:pt x="200" y="77"/>
                  </a:lnTo>
                  <a:lnTo>
                    <a:pt x="200" y="86"/>
                  </a:lnTo>
                  <a:lnTo>
                    <a:pt x="210" y="96"/>
                  </a:lnTo>
                  <a:lnTo>
                    <a:pt x="210" y="105"/>
                  </a:lnTo>
                  <a:lnTo>
                    <a:pt x="200" y="105"/>
                  </a:lnTo>
                  <a:lnTo>
                    <a:pt x="190" y="96"/>
                  </a:lnTo>
                  <a:lnTo>
                    <a:pt x="190" y="105"/>
                  </a:lnTo>
                  <a:lnTo>
                    <a:pt x="171" y="105"/>
                  </a:lnTo>
                  <a:lnTo>
                    <a:pt x="162" y="96"/>
                  </a:lnTo>
                  <a:lnTo>
                    <a:pt x="133" y="96"/>
                  </a:lnTo>
                  <a:lnTo>
                    <a:pt x="124" y="105"/>
                  </a:lnTo>
                  <a:lnTo>
                    <a:pt x="114" y="96"/>
                  </a:lnTo>
                  <a:lnTo>
                    <a:pt x="105" y="96"/>
                  </a:lnTo>
                  <a:lnTo>
                    <a:pt x="95" y="86"/>
                  </a:lnTo>
                  <a:lnTo>
                    <a:pt x="86" y="86"/>
                  </a:lnTo>
                  <a:lnTo>
                    <a:pt x="76" y="86"/>
                  </a:lnTo>
                  <a:lnTo>
                    <a:pt x="67" y="86"/>
                  </a:lnTo>
                  <a:lnTo>
                    <a:pt x="57" y="77"/>
                  </a:lnTo>
                  <a:lnTo>
                    <a:pt x="28" y="96"/>
                  </a:lnTo>
                  <a:lnTo>
                    <a:pt x="28" y="115"/>
                  </a:lnTo>
                  <a:lnTo>
                    <a:pt x="19" y="115"/>
                  </a:lnTo>
                  <a:lnTo>
                    <a:pt x="9" y="105"/>
                  </a:lnTo>
                  <a:lnTo>
                    <a:pt x="0" y="105"/>
                  </a:lnTo>
                  <a:lnTo>
                    <a:pt x="0" y="163"/>
                  </a:lnTo>
                  <a:lnTo>
                    <a:pt x="19" y="163"/>
                  </a:lnTo>
                  <a:lnTo>
                    <a:pt x="28" y="172"/>
                  </a:lnTo>
                  <a:lnTo>
                    <a:pt x="28" y="191"/>
                  </a:lnTo>
                  <a:lnTo>
                    <a:pt x="38" y="191"/>
                  </a:lnTo>
                  <a:lnTo>
                    <a:pt x="48" y="191"/>
                  </a:lnTo>
                  <a:lnTo>
                    <a:pt x="57" y="191"/>
                  </a:lnTo>
                  <a:lnTo>
                    <a:pt x="57" y="182"/>
                  </a:lnTo>
                  <a:lnTo>
                    <a:pt x="67" y="182"/>
                  </a:lnTo>
                  <a:lnTo>
                    <a:pt x="76" y="182"/>
                  </a:lnTo>
                  <a:lnTo>
                    <a:pt x="86" y="182"/>
                  </a:lnTo>
                  <a:lnTo>
                    <a:pt x="95" y="182"/>
                  </a:lnTo>
                  <a:lnTo>
                    <a:pt x="95" y="191"/>
                  </a:lnTo>
                  <a:lnTo>
                    <a:pt x="95" y="201"/>
                  </a:lnTo>
                  <a:lnTo>
                    <a:pt x="86" y="201"/>
                  </a:lnTo>
                  <a:lnTo>
                    <a:pt x="95" y="210"/>
                  </a:lnTo>
                  <a:lnTo>
                    <a:pt x="86" y="210"/>
                  </a:lnTo>
                  <a:lnTo>
                    <a:pt x="76" y="210"/>
                  </a:lnTo>
                  <a:lnTo>
                    <a:pt x="67" y="210"/>
                  </a:lnTo>
                  <a:lnTo>
                    <a:pt x="67" y="220"/>
                  </a:lnTo>
                  <a:lnTo>
                    <a:pt x="57" y="220"/>
                  </a:lnTo>
                  <a:lnTo>
                    <a:pt x="67" y="220"/>
                  </a:lnTo>
                  <a:lnTo>
                    <a:pt x="67" y="229"/>
                  </a:lnTo>
                  <a:lnTo>
                    <a:pt x="57" y="229"/>
                  </a:lnTo>
                  <a:lnTo>
                    <a:pt x="48" y="220"/>
                  </a:lnTo>
                  <a:lnTo>
                    <a:pt x="48" y="229"/>
                  </a:lnTo>
                  <a:lnTo>
                    <a:pt x="57" y="229"/>
                  </a:lnTo>
                  <a:lnTo>
                    <a:pt x="57" y="239"/>
                  </a:lnTo>
                  <a:lnTo>
                    <a:pt x="67" y="248"/>
                  </a:lnTo>
                  <a:lnTo>
                    <a:pt x="67" y="258"/>
                  </a:lnTo>
                  <a:lnTo>
                    <a:pt x="76" y="258"/>
                  </a:lnTo>
                  <a:lnTo>
                    <a:pt x="86" y="258"/>
                  </a:lnTo>
                  <a:lnTo>
                    <a:pt x="86" y="268"/>
                  </a:lnTo>
                  <a:lnTo>
                    <a:pt x="95" y="268"/>
                  </a:lnTo>
                  <a:lnTo>
                    <a:pt x="105" y="268"/>
                  </a:lnTo>
                  <a:lnTo>
                    <a:pt x="114" y="277"/>
                  </a:lnTo>
                  <a:lnTo>
                    <a:pt x="124" y="277"/>
                  </a:lnTo>
                  <a:lnTo>
                    <a:pt x="124" y="229"/>
                  </a:lnTo>
                  <a:lnTo>
                    <a:pt x="171" y="201"/>
                  </a:lnTo>
                  <a:lnTo>
                    <a:pt x="210" y="229"/>
                  </a:lnTo>
                  <a:lnTo>
                    <a:pt x="219" y="239"/>
                  </a:lnTo>
                  <a:lnTo>
                    <a:pt x="229" y="239"/>
                  </a:lnTo>
                  <a:lnTo>
                    <a:pt x="248" y="239"/>
                  </a:lnTo>
                  <a:lnTo>
                    <a:pt x="267" y="248"/>
                  </a:lnTo>
                  <a:lnTo>
                    <a:pt x="267" y="268"/>
                  </a:lnTo>
                  <a:lnTo>
                    <a:pt x="276" y="258"/>
                  </a:lnTo>
                  <a:lnTo>
                    <a:pt x="286" y="287"/>
                  </a:lnTo>
                  <a:lnTo>
                    <a:pt x="295" y="287"/>
                  </a:lnTo>
                  <a:lnTo>
                    <a:pt x="305" y="296"/>
                  </a:lnTo>
                  <a:lnTo>
                    <a:pt x="314" y="287"/>
                  </a:lnTo>
                  <a:lnTo>
                    <a:pt x="324" y="28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16" name="Freeform 295">
              <a:extLst>
                <a:ext uri="{FF2B5EF4-FFF2-40B4-BE49-F238E27FC236}">
                  <a16:creationId xmlns:a16="http://schemas.microsoft.com/office/drawing/2014/main" id="{AD4D07F6-81AF-448B-845B-BB68BFB446B8}"/>
                </a:ext>
              </a:extLst>
            </p:cNvPr>
            <p:cNvSpPr>
              <a:spLocks/>
            </p:cNvSpPr>
            <p:nvPr/>
          </p:nvSpPr>
          <p:spPr bwMode="gray">
            <a:xfrm>
              <a:off x="3380" y="1965"/>
              <a:ext cx="591" cy="296"/>
            </a:xfrm>
            <a:custGeom>
              <a:avLst/>
              <a:gdLst>
                <a:gd name="T0" fmla="*/ 333 w 591"/>
                <a:gd name="T1" fmla="*/ 268 h 296"/>
                <a:gd name="T2" fmla="*/ 372 w 591"/>
                <a:gd name="T3" fmla="*/ 258 h 296"/>
                <a:gd name="T4" fmla="*/ 391 w 591"/>
                <a:gd name="T5" fmla="*/ 258 h 296"/>
                <a:gd name="T6" fmla="*/ 419 w 591"/>
                <a:gd name="T7" fmla="*/ 258 h 296"/>
                <a:gd name="T8" fmla="*/ 486 w 591"/>
                <a:gd name="T9" fmla="*/ 258 h 296"/>
                <a:gd name="T10" fmla="*/ 496 w 591"/>
                <a:gd name="T11" fmla="*/ 239 h 296"/>
                <a:gd name="T12" fmla="*/ 515 w 591"/>
                <a:gd name="T13" fmla="*/ 210 h 296"/>
                <a:gd name="T14" fmla="*/ 524 w 591"/>
                <a:gd name="T15" fmla="*/ 201 h 296"/>
                <a:gd name="T16" fmla="*/ 562 w 591"/>
                <a:gd name="T17" fmla="*/ 182 h 296"/>
                <a:gd name="T18" fmla="*/ 591 w 591"/>
                <a:gd name="T19" fmla="*/ 134 h 296"/>
                <a:gd name="T20" fmla="*/ 543 w 591"/>
                <a:gd name="T21" fmla="*/ 96 h 296"/>
                <a:gd name="T22" fmla="*/ 476 w 591"/>
                <a:gd name="T23" fmla="*/ 77 h 296"/>
                <a:gd name="T24" fmla="*/ 438 w 591"/>
                <a:gd name="T25" fmla="*/ 29 h 296"/>
                <a:gd name="T26" fmla="*/ 410 w 591"/>
                <a:gd name="T27" fmla="*/ 29 h 296"/>
                <a:gd name="T28" fmla="*/ 391 w 591"/>
                <a:gd name="T29" fmla="*/ 29 h 296"/>
                <a:gd name="T30" fmla="*/ 353 w 591"/>
                <a:gd name="T31" fmla="*/ 0 h 296"/>
                <a:gd name="T32" fmla="*/ 305 w 591"/>
                <a:gd name="T33" fmla="*/ 0 h 296"/>
                <a:gd name="T34" fmla="*/ 219 w 591"/>
                <a:gd name="T35" fmla="*/ 38 h 296"/>
                <a:gd name="T36" fmla="*/ 219 w 591"/>
                <a:gd name="T37" fmla="*/ 48 h 296"/>
                <a:gd name="T38" fmla="*/ 200 w 591"/>
                <a:gd name="T39" fmla="*/ 58 h 296"/>
                <a:gd name="T40" fmla="*/ 200 w 591"/>
                <a:gd name="T41" fmla="*/ 77 h 296"/>
                <a:gd name="T42" fmla="*/ 210 w 591"/>
                <a:gd name="T43" fmla="*/ 96 h 296"/>
                <a:gd name="T44" fmla="*/ 190 w 591"/>
                <a:gd name="T45" fmla="*/ 96 h 296"/>
                <a:gd name="T46" fmla="*/ 162 w 591"/>
                <a:gd name="T47" fmla="*/ 96 h 296"/>
                <a:gd name="T48" fmla="*/ 124 w 591"/>
                <a:gd name="T49" fmla="*/ 105 h 296"/>
                <a:gd name="T50" fmla="*/ 95 w 591"/>
                <a:gd name="T51" fmla="*/ 86 h 296"/>
                <a:gd name="T52" fmla="*/ 67 w 591"/>
                <a:gd name="T53" fmla="*/ 86 h 296"/>
                <a:gd name="T54" fmla="*/ 28 w 591"/>
                <a:gd name="T55" fmla="*/ 105 h 296"/>
                <a:gd name="T56" fmla="*/ 0 w 591"/>
                <a:gd name="T57" fmla="*/ 105 h 296"/>
                <a:gd name="T58" fmla="*/ 28 w 591"/>
                <a:gd name="T59" fmla="*/ 172 h 296"/>
                <a:gd name="T60" fmla="*/ 38 w 591"/>
                <a:gd name="T61" fmla="*/ 191 h 296"/>
                <a:gd name="T62" fmla="*/ 57 w 591"/>
                <a:gd name="T63" fmla="*/ 182 h 296"/>
                <a:gd name="T64" fmla="*/ 57 w 591"/>
                <a:gd name="T65" fmla="*/ 182 h 296"/>
                <a:gd name="T66" fmla="*/ 76 w 591"/>
                <a:gd name="T67" fmla="*/ 182 h 296"/>
                <a:gd name="T68" fmla="*/ 86 w 591"/>
                <a:gd name="T69" fmla="*/ 182 h 296"/>
                <a:gd name="T70" fmla="*/ 95 w 591"/>
                <a:gd name="T71" fmla="*/ 191 h 296"/>
                <a:gd name="T72" fmla="*/ 86 w 591"/>
                <a:gd name="T73" fmla="*/ 201 h 296"/>
                <a:gd name="T74" fmla="*/ 76 w 591"/>
                <a:gd name="T75" fmla="*/ 210 h 296"/>
                <a:gd name="T76" fmla="*/ 67 w 591"/>
                <a:gd name="T77" fmla="*/ 220 h 296"/>
                <a:gd name="T78" fmla="*/ 67 w 591"/>
                <a:gd name="T79" fmla="*/ 229 h 296"/>
                <a:gd name="T80" fmla="*/ 57 w 591"/>
                <a:gd name="T81" fmla="*/ 229 h 296"/>
                <a:gd name="T82" fmla="*/ 48 w 591"/>
                <a:gd name="T83" fmla="*/ 220 h 296"/>
                <a:gd name="T84" fmla="*/ 48 w 591"/>
                <a:gd name="T85" fmla="*/ 229 h 296"/>
                <a:gd name="T86" fmla="*/ 57 w 591"/>
                <a:gd name="T87" fmla="*/ 239 h 296"/>
                <a:gd name="T88" fmla="*/ 67 w 591"/>
                <a:gd name="T89" fmla="*/ 258 h 296"/>
                <a:gd name="T90" fmla="*/ 76 w 591"/>
                <a:gd name="T91" fmla="*/ 258 h 296"/>
                <a:gd name="T92" fmla="*/ 86 w 591"/>
                <a:gd name="T93" fmla="*/ 268 h 296"/>
                <a:gd name="T94" fmla="*/ 105 w 591"/>
                <a:gd name="T95" fmla="*/ 268 h 296"/>
                <a:gd name="T96" fmla="*/ 124 w 591"/>
                <a:gd name="T97" fmla="*/ 229 h 296"/>
                <a:gd name="T98" fmla="*/ 219 w 591"/>
                <a:gd name="T99" fmla="*/ 239 h 296"/>
                <a:gd name="T100" fmla="*/ 248 w 591"/>
                <a:gd name="T101" fmla="*/ 239 h 296"/>
                <a:gd name="T102" fmla="*/ 276 w 591"/>
                <a:gd name="T103" fmla="*/ 258 h 296"/>
                <a:gd name="T104" fmla="*/ 305 w 591"/>
                <a:gd name="T105" fmla="*/ 296 h 296"/>
                <a:gd name="T106" fmla="*/ 324 w 591"/>
                <a:gd name="T107" fmla="*/ 287 h 2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91"/>
                <a:gd name="T163" fmla="*/ 0 h 296"/>
                <a:gd name="T164" fmla="*/ 591 w 591"/>
                <a:gd name="T165" fmla="*/ 296 h 2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91" h="296">
                  <a:moveTo>
                    <a:pt x="324" y="287"/>
                  </a:moveTo>
                  <a:lnTo>
                    <a:pt x="324" y="277"/>
                  </a:lnTo>
                  <a:lnTo>
                    <a:pt x="333" y="268"/>
                  </a:lnTo>
                  <a:lnTo>
                    <a:pt x="353" y="268"/>
                  </a:lnTo>
                  <a:lnTo>
                    <a:pt x="362" y="258"/>
                  </a:lnTo>
                  <a:lnTo>
                    <a:pt x="372" y="258"/>
                  </a:lnTo>
                  <a:lnTo>
                    <a:pt x="372" y="268"/>
                  </a:lnTo>
                  <a:lnTo>
                    <a:pt x="391" y="258"/>
                  </a:lnTo>
                  <a:lnTo>
                    <a:pt x="400" y="248"/>
                  </a:lnTo>
                  <a:lnTo>
                    <a:pt x="410" y="248"/>
                  </a:lnTo>
                  <a:lnTo>
                    <a:pt x="419" y="258"/>
                  </a:lnTo>
                  <a:lnTo>
                    <a:pt x="438" y="248"/>
                  </a:lnTo>
                  <a:lnTo>
                    <a:pt x="467" y="258"/>
                  </a:lnTo>
                  <a:lnTo>
                    <a:pt x="486" y="258"/>
                  </a:lnTo>
                  <a:lnTo>
                    <a:pt x="486" y="268"/>
                  </a:lnTo>
                  <a:lnTo>
                    <a:pt x="496" y="248"/>
                  </a:lnTo>
                  <a:lnTo>
                    <a:pt x="496" y="239"/>
                  </a:lnTo>
                  <a:lnTo>
                    <a:pt x="496" y="229"/>
                  </a:lnTo>
                  <a:lnTo>
                    <a:pt x="486" y="220"/>
                  </a:lnTo>
                  <a:lnTo>
                    <a:pt x="515" y="210"/>
                  </a:lnTo>
                  <a:lnTo>
                    <a:pt x="515" y="220"/>
                  </a:lnTo>
                  <a:lnTo>
                    <a:pt x="524" y="210"/>
                  </a:lnTo>
                  <a:lnTo>
                    <a:pt x="524" y="201"/>
                  </a:lnTo>
                  <a:lnTo>
                    <a:pt x="534" y="182"/>
                  </a:lnTo>
                  <a:lnTo>
                    <a:pt x="553" y="182"/>
                  </a:lnTo>
                  <a:lnTo>
                    <a:pt x="562" y="182"/>
                  </a:lnTo>
                  <a:lnTo>
                    <a:pt x="572" y="172"/>
                  </a:lnTo>
                  <a:lnTo>
                    <a:pt x="572" y="153"/>
                  </a:lnTo>
                  <a:lnTo>
                    <a:pt x="591" y="134"/>
                  </a:lnTo>
                  <a:lnTo>
                    <a:pt x="591" y="124"/>
                  </a:lnTo>
                  <a:lnTo>
                    <a:pt x="562" y="124"/>
                  </a:lnTo>
                  <a:lnTo>
                    <a:pt x="543" y="96"/>
                  </a:lnTo>
                  <a:lnTo>
                    <a:pt x="524" y="96"/>
                  </a:lnTo>
                  <a:lnTo>
                    <a:pt x="486" y="96"/>
                  </a:lnTo>
                  <a:lnTo>
                    <a:pt x="476" y="77"/>
                  </a:lnTo>
                  <a:lnTo>
                    <a:pt x="467" y="58"/>
                  </a:lnTo>
                  <a:lnTo>
                    <a:pt x="448" y="48"/>
                  </a:lnTo>
                  <a:lnTo>
                    <a:pt x="438" y="29"/>
                  </a:lnTo>
                  <a:lnTo>
                    <a:pt x="438" y="19"/>
                  </a:lnTo>
                  <a:lnTo>
                    <a:pt x="419" y="19"/>
                  </a:lnTo>
                  <a:lnTo>
                    <a:pt x="410" y="29"/>
                  </a:lnTo>
                  <a:lnTo>
                    <a:pt x="410" y="38"/>
                  </a:lnTo>
                  <a:lnTo>
                    <a:pt x="391" y="38"/>
                  </a:lnTo>
                  <a:lnTo>
                    <a:pt x="391" y="29"/>
                  </a:lnTo>
                  <a:lnTo>
                    <a:pt x="372" y="19"/>
                  </a:lnTo>
                  <a:lnTo>
                    <a:pt x="353" y="19"/>
                  </a:lnTo>
                  <a:lnTo>
                    <a:pt x="353" y="0"/>
                  </a:lnTo>
                  <a:lnTo>
                    <a:pt x="343" y="0"/>
                  </a:lnTo>
                  <a:lnTo>
                    <a:pt x="324" y="0"/>
                  </a:lnTo>
                  <a:lnTo>
                    <a:pt x="305" y="0"/>
                  </a:lnTo>
                  <a:lnTo>
                    <a:pt x="286" y="10"/>
                  </a:lnTo>
                  <a:lnTo>
                    <a:pt x="248" y="29"/>
                  </a:lnTo>
                  <a:lnTo>
                    <a:pt x="219" y="38"/>
                  </a:lnTo>
                  <a:lnTo>
                    <a:pt x="200" y="38"/>
                  </a:lnTo>
                  <a:lnTo>
                    <a:pt x="200" y="48"/>
                  </a:lnTo>
                  <a:lnTo>
                    <a:pt x="219" y="48"/>
                  </a:lnTo>
                  <a:lnTo>
                    <a:pt x="200" y="58"/>
                  </a:lnTo>
                  <a:lnTo>
                    <a:pt x="210" y="67"/>
                  </a:lnTo>
                  <a:lnTo>
                    <a:pt x="200" y="77"/>
                  </a:lnTo>
                  <a:lnTo>
                    <a:pt x="200" y="86"/>
                  </a:lnTo>
                  <a:lnTo>
                    <a:pt x="210" y="86"/>
                  </a:lnTo>
                  <a:lnTo>
                    <a:pt x="210" y="96"/>
                  </a:lnTo>
                  <a:lnTo>
                    <a:pt x="200" y="105"/>
                  </a:lnTo>
                  <a:lnTo>
                    <a:pt x="190" y="96"/>
                  </a:lnTo>
                  <a:lnTo>
                    <a:pt x="190" y="105"/>
                  </a:lnTo>
                  <a:lnTo>
                    <a:pt x="171" y="105"/>
                  </a:lnTo>
                  <a:lnTo>
                    <a:pt x="162" y="96"/>
                  </a:lnTo>
                  <a:lnTo>
                    <a:pt x="133" y="96"/>
                  </a:lnTo>
                  <a:lnTo>
                    <a:pt x="124" y="105"/>
                  </a:lnTo>
                  <a:lnTo>
                    <a:pt x="114" y="96"/>
                  </a:lnTo>
                  <a:lnTo>
                    <a:pt x="105" y="96"/>
                  </a:lnTo>
                  <a:lnTo>
                    <a:pt x="95" y="86"/>
                  </a:lnTo>
                  <a:lnTo>
                    <a:pt x="86" y="86"/>
                  </a:lnTo>
                  <a:lnTo>
                    <a:pt x="76" y="86"/>
                  </a:lnTo>
                  <a:lnTo>
                    <a:pt x="67" y="86"/>
                  </a:lnTo>
                  <a:lnTo>
                    <a:pt x="57" y="77"/>
                  </a:lnTo>
                  <a:lnTo>
                    <a:pt x="28" y="96"/>
                  </a:lnTo>
                  <a:lnTo>
                    <a:pt x="28" y="105"/>
                  </a:lnTo>
                  <a:lnTo>
                    <a:pt x="19" y="115"/>
                  </a:lnTo>
                  <a:lnTo>
                    <a:pt x="9" y="105"/>
                  </a:lnTo>
                  <a:lnTo>
                    <a:pt x="0" y="105"/>
                  </a:lnTo>
                  <a:lnTo>
                    <a:pt x="0" y="163"/>
                  </a:lnTo>
                  <a:lnTo>
                    <a:pt x="19" y="163"/>
                  </a:lnTo>
                  <a:lnTo>
                    <a:pt x="28" y="172"/>
                  </a:lnTo>
                  <a:lnTo>
                    <a:pt x="28" y="191"/>
                  </a:lnTo>
                  <a:lnTo>
                    <a:pt x="38" y="191"/>
                  </a:lnTo>
                  <a:lnTo>
                    <a:pt x="48" y="191"/>
                  </a:lnTo>
                  <a:lnTo>
                    <a:pt x="57" y="191"/>
                  </a:lnTo>
                  <a:lnTo>
                    <a:pt x="57" y="182"/>
                  </a:lnTo>
                  <a:lnTo>
                    <a:pt x="67" y="182"/>
                  </a:lnTo>
                  <a:lnTo>
                    <a:pt x="76" y="182"/>
                  </a:lnTo>
                  <a:lnTo>
                    <a:pt x="86" y="182"/>
                  </a:lnTo>
                  <a:lnTo>
                    <a:pt x="95" y="191"/>
                  </a:lnTo>
                  <a:lnTo>
                    <a:pt x="86" y="201"/>
                  </a:lnTo>
                  <a:lnTo>
                    <a:pt x="86" y="210"/>
                  </a:lnTo>
                  <a:lnTo>
                    <a:pt x="76" y="210"/>
                  </a:lnTo>
                  <a:lnTo>
                    <a:pt x="67" y="210"/>
                  </a:lnTo>
                  <a:lnTo>
                    <a:pt x="67" y="220"/>
                  </a:lnTo>
                  <a:lnTo>
                    <a:pt x="57" y="220"/>
                  </a:lnTo>
                  <a:lnTo>
                    <a:pt x="67" y="220"/>
                  </a:lnTo>
                  <a:lnTo>
                    <a:pt x="67" y="229"/>
                  </a:lnTo>
                  <a:lnTo>
                    <a:pt x="57" y="229"/>
                  </a:lnTo>
                  <a:lnTo>
                    <a:pt x="48" y="220"/>
                  </a:lnTo>
                  <a:lnTo>
                    <a:pt x="48" y="229"/>
                  </a:lnTo>
                  <a:lnTo>
                    <a:pt x="57" y="229"/>
                  </a:lnTo>
                  <a:lnTo>
                    <a:pt x="57" y="239"/>
                  </a:lnTo>
                  <a:lnTo>
                    <a:pt x="67" y="248"/>
                  </a:lnTo>
                  <a:lnTo>
                    <a:pt x="67" y="258"/>
                  </a:lnTo>
                  <a:lnTo>
                    <a:pt x="76" y="258"/>
                  </a:lnTo>
                  <a:lnTo>
                    <a:pt x="86" y="258"/>
                  </a:lnTo>
                  <a:lnTo>
                    <a:pt x="86" y="268"/>
                  </a:lnTo>
                  <a:lnTo>
                    <a:pt x="95" y="268"/>
                  </a:lnTo>
                  <a:lnTo>
                    <a:pt x="105" y="268"/>
                  </a:lnTo>
                  <a:lnTo>
                    <a:pt x="114" y="277"/>
                  </a:lnTo>
                  <a:lnTo>
                    <a:pt x="124" y="277"/>
                  </a:lnTo>
                  <a:lnTo>
                    <a:pt x="124" y="229"/>
                  </a:lnTo>
                  <a:lnTo>
                    <a:pt x="171" y="201"/>
                  </a:lnTo>
                  <a:lnTo>
                    <a:pt x="210" y="229"/>
                  </a:lnTo>
                  <a:lnTo>
                    <a:pt x="219" y="239"/>
                  </a:lnTo>
                  <a:lnTo>
                    <a:pt x="229" y="239"/>
                  </a:lnTo>
                  <a:lnTo>
                    <a:pt x="248" y="239"/>
                  </a:lnTo>
                  <a:lnTo>
                    <a:pt x="267" y="248"/>
                  </a:lnTo>
                  <a:lnTo>
                    <a:pt x="267" y="268"/>
                  </a:lnTo>
                  <a:lnTo>
                    <a:pt x="276" y="258"/>
                  </a:lnTo>
                  <a:lnTo>
                    <a:pt x="286" y="287"/>
                  </a:lnTo>
                  <a:lnTo>
                    <a:pt x="295" y="287"/>
                  </a:lnTo>
                  <a:lnTo>
                    <a:pt x="305" y="296"/>
                  </a:lnTo>
                  <a:lnTo>
                    <a:pt x="314" y="287"/>
                  </a:lnTo>
                  <a:lnTo>
                    <a:pt x="324" y="28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17" name="Freeform 296">
              <a:extLst>
                <a:ext uri="{FF2B5EF4-FFF2-40B4-BE49-F238E27FC236}">
                  <a16:creationId xmlns:a16="http://schemas.microsoft.com/office/drawing/2014/main" id="{1EF0C763-CF0B-40AD-A385-62E636180BDF}"/>
                </a:ext>
              </a:extLst>
            </p:cNvPr>
            <p:cNvSpPr>
              <a:spLocks/>
            </p:cNvSpPr>
            <p:nvPr/>
          </p:nvSpPr>
          <p:spPr bwMode="gray">
            <a:xfrm>
              <a:off x="3351" y="2242"/>
              <a:ext cx="77" cy="67"/>
            </a:xfrm>
            <a:custGeom>
              <a:avLst/>
              <a:gdLst>
                <a:gd name="T0" fmla="*/ 29 w 77"/>
                <a:gd name="T1" fmla="*/ 48 h 67"/>
                <a:gd name="T2" fmla="*/ 48 w 77"/>
                <a:gd name="T3" fmla="*/ 38 h 67"/>
                <a:gd name="T4" fmla="*/ 48 w 77"/>
                <a:gd name="T5" fmla="*/ 48 h 67"/>
                <a:gd name="T6" fmla="*/ 48 w 77"/>
                <a:gd name="T7" fmla="*/ 57 h 67"/>
                <a:gd name="T8" fmla="*/ 57 w 77"/>
                <a:gd name="T9" fmla="*/ 67 h 67"/>
                <a:gd name="T10" fmla="*/ 57 w 77"/>
                <a:gd name="T11" fmla="*/ 67 h 67"/>
                <a:gd name="T12" fmla="*/ 57 w 77"/>
                <a:gd name="T13" fmla="*/ 57 h 67"/>
                <a:gd name="T14" fmla="*/ 57 w 77"/>
                <a:gd name="T15" fmla="*/ 57 h 67"/>
                <a:gd name="T16" fmla="*/ 57 w 77"/>
                <a:gd name="T17" fmla="*/ 57 h 67"/>
                <a:gd name="T18" fmla="*/ 57 w 77"/>
                <a:gd name="T19" fmla="*/ 48 h 67"/>
                <a:gd name="T20" fmla="*/ 57 w 77"/>
                <a:gd name="T21" fmla="*/ 48 h 67"/>
                <a:gd name="T22" fmla="*/ 57 w 77"/>
                <a:gd name="T23" fmla="*/ 48 h 67"/>
                <a:gd name="T24" fmla="*/ 57 w 77"/>
                <a:gd name="T25" fmla="*/ 48 h 67"/>
                <a:gd name="T26" fmla="*/ 57 w 77"/>
                <a:gd name="T27" fmla="*/ 48 h 67"/>
                <a:gd name="T28" fmla="*/ 57 w 77"/>
                <a:gd name="T29" fmla="*/ 48 h 67"/>
                <a:gd name="T30" fmla="*/ 67 w 77"/>
                <a:gd name="T31" fmla="*/ 38 h 67"/>
                <a:gd name="T32" fmla="*/ 67 w 77"/>
                <a:gd name="T33" fmla="*/ 38 h 67"/>
                <a:gd name="T34" fmla="*/ 67 w 77"/>
                <a:gd name="T35" fmla="*/ 38 h 67"/>
                <a:gd name="T36" fmla="*/ 67 w 77"/>
                <a:gd name="T37" fmla="*/ 29 h 67"/>
                <a:gd name="T38" fmla="*/ 77 w 77"/>
                <a:gd name="T39" fmla="*/ 29 h 67"/>
                <a:gd name="T40" fmla="*/ 77 w 77"/>
                <a:gd name="T41" fmla="*/ 29 h 67"/>
                <a:gd name="T42" fmla="*/ 77 w 77"/>
                <a:gd name="T43" fmla="*/ 29 h 67"/>
                <a:gd name="T44" fmla="*/ 67 w 77"/>
                <a:gd name="T45" fmla="*/ 29 h 67"/>
                <a:gd name="T46" fmla="*/ 67 w 77"/>
                <a:gd name="T47" fmla="*/ 19 h 67"/>
                <a:gd name="T48" fmla="*/ 67 w 77"/>
                <a:gd name="T49" fmla="*/ 19 h 67"/>
                <a:gd name="T50" fmla="*/ 67 w 77"/>
                <a:gd name="T51" fmla="*/ 19 h 67"/>
                <a:gd name="T52" fmla="*/ 67 w 77"/>
                <a:gd name="T53" fmla="*/ 10 h 67"/>
                <a:gd name="T54" fmla="*/ 67 w 77"/>
                <a:gd name="T55" fmla="*/ 10 h 67"/>
                <a:gd name="T56" fmla="*/ 67 w 77"/>
                <a:gd name="T57" fmla="*/ 10 h 67"/>
                <a:gd name="T58" fmla="*/ 57 w 77"/>
                <a:gd name="T59" fmla="*/ 10 h 67"/>
                <a:gd name="T60" fmla="*/ 57 w 77"/>
                <a:gd name="T61" fmla="*/ 10 h 67"/>
                <a:gd name="T62" fmla="*/ 57 w 77"/>
                <a:gd name="T63" fmla="*/ 0 h 67"/>
                <a:gd name="T64" fmla="*/ 48 w 77"/>
                <a:gd name="T65" fmla="*/ 0 h 67"/>
                <a:gd name="T66" fmla="*/ 48 w 77"/>
                <a:gd name="T67" fmla="*/ 10 h 67"/>
                <a:gd name="T68" fmla="*/ 38 w 77"/>
                <a:gd name="T69" fmla="*/ 10 h 67"/>
                <a:gd name="T70" fmla="*/ 19 w 77"/>
                <a:gd name="T71" fmla="*/ 0 h 67"/>
                <a:gd name="T72" fmla="*/ 29 w 77"/>
                <a:gd name="T73" fmla="*/ 19 h 67"/>
                <a:gd name="T74" fmla="*/ 29 w 77"/>
                <a:gd name="T75" fmla="*/ 19 h 67"/>
                <a:gd name="T76" fmla="*/ 0 w 77"/>
                <a:gd name="T77" fmla="*/ 19 h 67"/>
                <a:gd name="T78" fmla="*/ 10 w 77"/>
                <a:gd name="T79" fmla="*/ 29 h 67"/>
                <a:gd name="T80" fmla="*/ 10 w 77"/>
                <a:gd name="T81" fmla="*/ 38 h 67"/>
                <a:gd name="T82" fmla="*/ 29 w 77"/>
                <a:gd name="T83" fmla="*/ 48 h 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7"/>
                <a:gd name="T127" fmla="*/ 0 h 67"/>
                <a:gd name="T128" fmla="*/ 77 w 77"/>
                <a:gd name="T129" fmla="*/ 67 h 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7" h="67">
                  <a:moveTo>
                    <a:pt x="29" y="48"/>
                  </a:moveTo>
                  <a:lnTo>
                    <a:pt x="48" y="38"/>
                  </a:lnTo>
                  <a:lnTo>
                    <a:pt x="48" y="48"/>
                  </a:lnTo>
                  <a:lnTo>
                    <a:pt x="48" y="57"/>
                  </a:lnTo>
                  <a:lnTo>
                    <a:pt x="57" y="67"/>
                  </a:lnTo>
                  <a:lnTo>
                    <a:pt x="57" y="57"/>
                  </a:lnTo>
                  <a:lnTo>
                    <a:pt x="57" y="48"/>
                  </a:lnTo>
                  <a:lnTo>
                    <a:pt x="67" y="38"/>
                  </a:lnTo>
                  <a:lnTo>
                    <a:pt x="67" y="29"/>
                  </a:lnTo>
                  <a:lnTo>
                    <a:pt x="77" y="29"/>
                  </a:lnTo>
                  <a:lnTo>
                    <a:pt x="67" y="29"/>
                  </a:lnTo>
                  <a:lnTo>
                    <a:pt x="67" y="19"/>
                  </a:lnTo>
                  <a:lnTo>
                    <a:pt x="67" y="10"/>
                  </a:lnTo>
                  <a:lnTo>
                    <a:pt x="57" y="10"/>
                  </a:lnTo>
                  <a:lnTo>
                    <a:pt x="57" y="0"/>
                  </a:lnTo>
                  <a:lnTo>
                    <a:pt x="48" y="0"/>
                  </a:lnTo>
                  <a:lnTo>
                    <a:pt x="48" y="10"/>
                  </a:lnTo>
                  <a:lnTo>
                    <a:pt x="38" y="10"/>
                  </a:lnTo>
                  <a:lnTo>
                    <a:pt x="19" y="0"/>
                  </a:lnTo>
                  <a:lnTo>
                    <a:pt x="29" y="19"/>
                  </a:lnTo>
                  <a:lnTo>
                    <a:pt x="0" y="19"/>
                  </a:lnTo>
                  <a:lnTo>
                    <a:pt x="10" y="29"/>
                  </a:lnTo>
                  <a:lnTo>
                    <a:pt x="10" y="38"/>
                  </a:lnTo>
                  <a:lnTo>
                    <a:pt x="29" y="4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18" name="Freeform 297">
              <a:extLst>
                <a:ext uri="{FF2B5EF4-FFF2-40B4-BE49-F238E27FC236}">
                  <a16:creationId xmlns:a16="http://schemas.microsoft.com/office/drawing/2014/main" id="{615D3BF0-0190-42D2-A495-F3F54E490CC5}"/>
                </a:ext>
              </a:extLst>
            </p:cNvPr>
            <p:cNvSpPr>
              <a:spLocks/>
            </p:cNvSpPr>
            <p:nvPr/>
          </p:nvSpPr>
          <p:spPr bwMode="gray">
            <a:xfrm>
              <a:off x="3351" y="2242"/>
              <a:ext cx="77" cy="67"/>
            </a:xfrm>
            <a:custGeom>
              <a:avLst/>
              <a:gdLst>
                <a:gd name="T0" fmla="*/ 29 w 77"/>
                <a:gd name="T1" fmla="*/ 48 h 67"/>
                <a:gd name="T2" fmla="*/ 48 w 77"/>
                <a:gd name="T3" fmla="*/ 38 h 67"/>
                <a:gd name="T4" fmla="*/ 48 w 77"/>
                <a:gd name="T5" fmla="*/ 48 h 67"/>
                <a:gd name="T6" fmla="*/ 48 w 77"/>
                <a:gd name="T7" fmla="*/ 57 h 67"/>
                <a:gd name="T8" fmla="*/ 57 w 77"/>
                <a:gd name="T9" fmla="*/ 67 h 67"/>
                <a:gd name="T10" fmla="*/ 57 w 77"/>
                <a:gd name="T11" fmla="*/ 57 h 67"/>
                <a:gd name="T12" fmla="*/ 57 w 77"/>
                <a:gd name="T13" fmla="*/ 48 h 67"/>
                <a:gd name="T14" fmla="*/ 57 w 77"/>
                <a:gd name="T15" fmla="*/ 48 h 67"/>
                <a:gd name="T16" fmla="*/ 57 w 77"/>
                <a:gd name="T17" fmla="*/ 48 h 67"/>
                <a:gd name="T18" fmla="*/ 67 w 77"/>
                <a:gd name="T19" fmla="*/ 38 h 67"/>
                <a:gd name="T20" fmla="*/ 67 w 77"/>
                <a:gd name="T21" fmla="*/ 38 h 67"/>
                <a:gd name="T22" fmla="*/ 67 w 77"/>
                <a:gd name="T23" fmla="*/ 29 h 67"/>
                <a:gd name="T24" fmla="*/ 77 w 77"/>
                <a:gd name="T25" fmla="*/ 29 h 67"/>
                <a:gd name="T26" fmla="*/ 67 w 77"/>
                <a:gd name="T27" fmla="*/ 29 h 67"/>
                <a:gd name="T28" fmla="*/ 67 w 77"/>
                <a:gd name="T29" fmla="*/ 19 h 67"/>
                <a:gd name="T30" fmla="*/ 67 w 77"/>
                <a:gd name="T31" fmla="*/ 10 h 67"/>
                <a:gd name="T32" fmla="*/ 67 w 77"/>
                <a:gd name="T33" fmla="*/ 10 h 67"/>
                <a:gd name="T34" fmla="*/ 57 w 77"/>
                <a:gd name="T35" fmla="*/ 10 h 67"/>
                <a:gd name="T36" fmla="*/ 48 w 77"/>
                <a:gd name="T37" fmla="*/ 0 h 67"/>
                <a:gd name="T38" fmla="*/ 48 w 77"/>
                <a:gd name="T39" fmla="*/ 10 h 67"/>
                <a:gd name="T40" fmla="*/ 38 w 77"/>
                <a:gd name="T41" fmla="*/ 10 h 67"/>
                <a:gd name="T42" fmla="*/ 19 w 77"/>
                <a:gd name="T43" fmla="*/ 0 h 67"/>
                <a:gd name="T44" fmla="*/ 29 w 77"/>
                <a:gd name="T45" fmla="*/ 19 h 67"/>
                <a:gd name="T46" fmla="*/ 29 w 77"/>
                <a:gd name="T47" fmla="*/ 19 h 67"/>
                <a:gd name="T48" fmla="*/ 0 w 77"/>
                <a:gd name="T49" fmla="*/ 19 h 67"/>
                <a:gd name="T50" fmla="*/ 10 w 77"/>
                <a:gd name="T51" fmla="*/ 29 h 67"/>
                <a:gd name="T52" fmla="*/ 10 w 77"/>
                <a:gd name="T53" fmla="*/ 38 h 67"/>
                <a:gd name="T54" fmla="*/ 29 w 77"/>
                <a:gd name="T55" fmla="*/ 48 h 6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7"/>
                <a:gd name="T85" fmla="*/ 0 h 67"/>
                <a:gd name="T86" fmla="*/ 77 w 77"/>
                <a:gd name="T87" fmla="*/ 67 h 6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7" h="67">
                  <a:moveTo>
                    <a:pt x="29" y="48"/>
                  </a:moveTo>
                  <a:lnTo>
                    <a:pt x="48" y="38"/>
                  </a:lnTo>
                  <a:lnTo>
                    <a:pt x="48" y="48"/>
                  </a:lnTo>
                  <a:lnTo>
                    <a:pt x="48" y="57"/>
                  </a:lnTo>
                  <a:lnTo>
                    <a:pt x="57" y="67"/>
                  </a:lnTo>
                  <a:lnTo>
                    <a:pt x="57" y="57"/>
                  </a:lnTo>
                  <a:lnTo>
                    <a:pt x="57" y="48"/>
                  </a:lnTo>
                  <a:lnTo>
                    <a:pt x="67" y="38"/>
                  </a:lnTo>
                  <a:lnTo>
                    <a:pt x="67" y="29"/>
                  </a:lnTo>
                  <a:lnTo>
                    <a:pt x="77" y="29"/>
                  </a:lnTo>
                  <a:lnTo>
                    <a:pt x="67" y="29"/>
                  </a:lnTo>
                  <a:lnTo>
                    <a:pt x="67" y="19"/>
                  </a:lnTo>
                  <a:lnTo>
                    <a:pt x="67" y="10"/>
                  </a:lnTo>
                  <a:lnTo>
                    <a:pt x="57" y="10"/>
                  </a:lnTo>
                  <a:lnTo>
                    <a:pt x="48" y="0"/>
                  </a:lnTo>
                  <a:lnTo>
                    <a:pt x="48" y="10"/>
                  </a:lnTo>
                  <a:lnTo>
                    <a:pt x="38" y="10"/>
                  </a:lnTo>
                  <a:lnTo>
                    <a:pt x="19" y="0"/>
                  </a:lnTo>
                  <a:lnTo>
                    <a:pt x="29" y="19"/>
                  </a:lnTo>
                  <a:lnTo>
                    <a:pt x="0" y="19"/>
                  </a:lnTo>
                  <a:lnTo>
                    <a:pt x="10" y="29"/>
                  </a:lnTo>
                  <a:lnTo>
                    <a:pt x="10" y="38"/>
                  </a:lnTo>
                  <a:lnTo>
                    <a:pt x="29" y="4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19" name="Freeform 298">
              <a:extLst>
                <a:ext uri="{FF2B5EF4-FFF2-40B4-BE49-F238E27FC236}">
                  <a16:creationId xmlns:a16="http://schemas.microsoft.com/office/drawing/2014/main" id="{CB839665-EA42-4F0C-A2F7-C95CBFF6C5A2}"/>
                </a:ext>
              </a:extLst>
            </p:cNvPr>
            <p:cNvSpPr>
              <a:spLocks/>
            </p:cNvSpPr>
            <p:nvPr/>
          </p:nvSpPr>
          <p:spPr bwMode="gray">
            <a:xfrm>
              <a:off x="3199" y="2404"/>
              <a:ext cx="9" cy="19"/>
            </a:xfrm>
            <a:custGeom>
              <a:avLst/>
              <a:gdLst>
                <a:gd name="T0" fmla="*/ 9 w 9"/>
                <a:gd name="T1" fmla="*/ 0 h 19"/>
                <a:gd name="T2" fmla="*/ 9 w 9"/>
                <a:gd name="T3" fmla="*/ 19 h 19"/>
                <a:gd name="T4" fmla="*/ 0 w 9"/>
                <a:gd name="T5" fmla="*/ 19 h 19"/>
                <a:gd name="T6" fmla="*/ 9 w 9"/>
                <a:gd name="T7" fmla="*/ 10 h 19"/>
                <a:gd name="T8" fmla="*/ 9 w 9"/>
                <a:gd name="T9" fmla="*/ 10 h 19"/>
                <a:gd name="T10" fmla="*/ 9 w 9"/>
                <a:gd name="T11" fmla="*/ 0 h 19"/>
                <a:gd name="T12" fmla="*/ 9 w 9"/>
                <a:gd name="T13" fmla="*/ 0 h 19"/>
                <a:gd name="T14" fmla="*/ 0 60000 65536"/>
                <a:gd name="T15" fmla="*/ 0 60000 65536"/>
                <a:gd name="T16" fmla="*/ 0 60000 65536"/>
                <a:gd name="T17" fmla="*/ 0 60000 65536"/>
                <a:gd name="T18" fmla="*/ 0 60000 65536"/>
                <a:gd name="T19" fmla="*/ 0 60000 65536"/>
                <a:gd name="T20" fmla="*/ 0 60000 65536"/>
                <a:gd name="T21" fmla="*/ 0 w 9"/>
                <a:gd name="T22" fmla="*/ 0 h 19"/>
                <a:gd name="T23" fmla="*/ 9 w 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9">
                  <a:moveTo>
                    <a:pt x="9" y="0"/>
                  </a:moveTo>
                  <a:lnTo>
                    <a:pt x="9" y="19"/>
                  </a:lnTo>
                  <a:lnTo>
                    <a:pt x="0" y="19"/>
                  </a:lnTo>
                  <a:lnTo>
                    <a:pt x="9" y="10"/>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20" name="Freeform 299">
              <a:extLst>
                <a:ext uri="{FF2B5EF4-FFF2-40B4-BE49-F238E27FC236}">
                  <a16:creationId xmlns:a16="http://schemas.microsoft.com/office/drawing/2014/main" id="{060D63CB-1F7C-499F-A37E-3C0F802B41FC}"/>
                </a:ext>
              </a:extLst>
            </p:cNvPr>
            <p:cNvSpPr>
              <a:spLocks/>
            </p:cNvSpPr>
            <p:nvPr/>
          </p:nvSpPr>
          <p:spPr bwMode="gray">
            <a:xfrm>
              <a:off x="3199" y="2404"/>
              <a:ext cx="9" cy="19"/>
            </a:xfrm>
            <a:custGeom>
              <a:avLst/>
              <a:gdLst>
                <a:gd name="T0" fmla="*/ 9 w 9"/>
                <a:gd name="T1" fmla="*/ 0 h 19"/>
                <a:gd name="T2" fmla="*/ 9 w 9"/>
                <a:gd name="T3" fmla="*/ 19 h 19"/>
                <a:gd name="T4" fmla="*/ 0 w 9"/>
                <a:gd name="T5" fmla="*/ 19 h 19"/>
                <a:gd name="T6" fmla="*/ 9 w 9"/>
                <a:gd name="T7" fmla="*/ 10 h 19"/>
                <a:gd name="T8" fmla="*/ 9 w 9"/>
                <a:gd name="T9" fmla="*/ 10 h 19"/>
                <a:gd name="T10" fmla="*/ 9 w 9"/>
                <a:gd name="T11" fmla="*/ 0 h 19"/>
                <a:gd name="T12" fmla="*/ 9 w 9"/>
                <a:gd name="T13" fmla="*/ 0 h 19"/>
                <a:gd name="T14" fmla="*/ 0 60000 65536"/>
                <a:gd name="T15" fmla="*/ 0 60000 65536"/>
                <a:gd name="T16" fmla="*/ 0 60000 65536"/>
                <a:gd name="T17" fmla="*/ 0 60000 65536"/>
                <a:gd name="T18" fmla="*/ 0 60000 65536"/>
                <a:gd name="T19" fmla="*/ 0 60000 65536"/>
                <a:gd name="T20" fmla="*/ 0 60000 65536"/>
                <a:gd name="T21" fmla="*/ 0 w 9"/>
                <a:gd name="T22" fmla="*/ 0 h 19"/>
                <a:gd name="T23" fmla="*/ 9 w 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9">
                  <a:moveTo>
                    <a:pt x="9" y="0"/>
                  </a:moveTo>
                  <a:lnTo>
                    <a:pt x="9" y="19"/>
                  </a:lnTo>
                  <a:lnTo>
                    <a:pt x="0" y="19"/>
                  </a:lnTo>
                  <a:lnTo>
                    <a:pt x="9" y="10"/>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21" name="Freeform 300">
              <a:extLst>
                <a:ext uri="{FF2B5EF4-FFF2-40B4-BE49-F238E27FC236}">
                  <a16:creationId xmlns:a16="http://schemas.microsoft.com/office/drawing/2014/main" id="{063AE27C-743A-4BC2-8F69-32E9315F7E6E}"/>
                </a:ext>
              </a:extLst>
            </p:cNvPr>
            <p:cNvSpPr>
              <a:spLocks/>
            </p:cNvSpPr>
            <p:nvPr/>
          </p:nvSpPr>
          <p:spPr bwMode="gray">
            <a:xfrm>
              <a:off x="3199" y="2395"/>
              <a:ext cx="66" cy="57"/>
            </a:xfrm>
            <a:custGeom>
              <a:avLst/>
              <a:gdLst>
                <a:gd name="T0" fmla="*/ 9 w 66"/>
                <a:gd name="T1" fmla="*/ 28 h 57"/>
                <a:gd name="T2" fmla="*/ 9 w 66"/>
                <a:gd name="T3" fmla="*/ 9 h 57"/>
                <a:gd name="T4" fmla="*/ 9 w 66"/>
                <a:gd name="T5" fmla="*/ 9 h 57"/>
                <a:gd name="T6" fmla="*/ 28 w 66"/>
                <a:gd name="T7" fmla="*/ 9 h 57"/>
                <a:gd name="T8" fmla="*/ 47 w 66"/>
                <a:gd name="T9" fmla="*/ 0 h 57"/>
                <a:gd name="T10" fmla="*/ 57 w 66"/>
                <a:gd name="T11" fmla="*/ 0 h 57"/>
                <a:gd name="T12" fmla="*/ 66 w 66"/>
                <a:gd name="T13" fmla="*/ 9 h 57"/>
                <a:gd name="T14" fmla="*/ 57 w 66"/>
                <a:gd name="T15" fmla="*/ 19 h 57"/>
                <a:gd name="T16" fmla="*/ 38 w 66"/>
                <a:gd name="T17" fmla="*/ 19 h 57"/>
                <a:gd name="T18" fmla="*/ 47 w 66"/>
                <a:gd name="T19" fmla="*/ 38 h 57"/>
                <a:gd name="T20" fmla="*/ 38 w 66"/>
                <a:gd name="T21" fmla="*/ 47 h 57"/>
                <a:gd name="T22" fmla="*/ 28 w 66"/>
                <a:gd name="T23" fmla="*/ 47 h 57"/>
                <a:gd name="T24" fmla="*/ 19 w 66"/>
                <a:gd name="T25" fmla="*/ 57 h 57"/>
                <a:gd name="T26" fmla="*/ 0 w 66"/>
                <a:gd name="T27" fmla="*/ 57 h 57"/>
                <a:gd name="T28" fmla="*/ 0 w 66"/>
                <a:gd name="T29" fmla="*/ 57 h 57"/>
                <a:gd name="T30" fmla="*/ 9 w 66"/>
                <a:gd name="T31" fmla="*/ 38 h 57"/>
                <a:gd name="T32" fmla="*/ 9 w 66"/>
                <a:gd name="T33" fmla="*/ 28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6"/>
                <a:gd name="T52" fmla="*/ 0 h 57"/>
                <a:gd name="T53" fmla="*/ 66 w 66"/>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6" h="57">
                  <a:moveTo>
                    <a:pt x="9" y="28"/>
                  </a:moveTo>
                  <a:lnTo>
                    <a:pt x="9" y="9"/>
                  </a:lnTo>
                  <a:lnTo>
                    <a:pt x="28" y="9"/>
                  </a:lnTo>
                  <a:lnTo>
                    <a:pt x="47" y="0"/>
                  </a:lnTo>
                  <a:lnTo>
                    <a:pt x="57" y="0"/>
                  </a:lnTo>
                  <a:lnTo>
                    <a:pt x="66" y="9"/>
                  </a:lnTo>
                  <a:lnTo>
                    <a:pt x="57" y="19"/>
                  </a:lnTo>
                  <a:lnTo>
                    <a:pt x="38" y="19"/>
                  </a:lnTo>
                  <a:lnTo>
                    <a:pt x="47" y="38"/>
                  </a:lnTo>
                  <a:lnTo>
                    <a:pt x="38" y="47"/>
                  </a:lnTo>
                  <a:lnTo>
                    <a:pt x="28" y="47"/>
                  </a:lnTo>
                  <a:lnTo>
                    <a:pt x="19" y="57"/>
                  </a:lnTo>
                  <a:lnTo>
                    <a:pt x="0" y="57"/>
                  </a:lnTo>
                  <a:lnTo>
                    <a:pt x="9" y="38"/>
                  </a:lnTo>
                  <a:lnTo>
                    <a:pt x="9" y="2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22" name="Freeform 301">
              <a:extLst>
                <a:ext uri="{FF2B5EF4-FFF2-40B4-BE49-F238E27FC236}">
                  <a16:creationId xmlns:a16="http://schemas.microsoft.com/office/drawing/2014/main" id="{37C1AF27-A388-4E13-B03D-F536CA9F8A8B}"/>
                </a:ext>
              </a:extLst>
            </p:cNvPr>
            <p:cNvSpPr>
              <a:spLocks/>
            </p:cNvSpPr>
            <p:nvPr/>
          </p:nvSpPr>
          <p:spPr bwMode="gray">
            <a:xfrm>
              <a:off x="3199" y="2404"/>
              <a:ext cx="305" cy="248"/>
            </a:xfrm>
            <a:custGeom>
              <a:avLst/>
              <a:gdLst>
                <a:gd name="T0" fmla="*/ 295 w 305"/>
                <a:gd name="T1" fmla="*/ 153 h 248"/>
                <a:gd name="T2" fmla="*/ 257 w 305"/>
                <a:gd name="T3" fmla="*/ 143 h 248"/>
                <a:gd name="T4" fmla="*/ 248 w 305"/>
                <a:gd name="T5" fmla="*/ 134 h 248"/>
                <a:gd name="T6" fmla="*/ 248 w 305"/>
                <a:gd name="T7" fmla="*/ 124 h 248"/>
                <a:gd name="T8" fmla="*/ 248 w 305"/>
                <a:gd name="T9" fmla="*/ 124 h 248"/>
                <a:gd name="T10" fmla="*/ 238 w 305"/>
                <a:gd name="T11" fmla="*/ 124 h 248"/>
                <a:gd name="T12" fmla="*/ 238 w 305"/>
                <a:gd name="T13" fmla="*/ 115 h 248"/>
                <a:gd name="T14" fmla="*/ 219 w 305"/>
                <a:gd name="T15" fmla="*/ 105 h 248"/>
                <a:gd name="T16" fmla="*/ 229 w 305"/>
                <a:gd name="T17" fmla="*/ 86 h 248"/>
                <a:gd name="T18" fmla="*/ 219 w 305"/>
                <a:gd name="T19" fmla="*/ 86 h 248"/>
                <a:gd name="T20" fmla="*/ 209 w 305"/>
                <a:gd name="T21" fmla="*/ 67 h 248"/>
                <a:gd name="T22" fmla="*/ 200 w 305"/>
                <a:gd name="T23" fmla="*/ 67 h 248"/>
                <a:gd name="T24" fmla="*/ 200 w 305"/>
                <a:gd name="T25" fmla="*/ 58 h 248"/>
                <a:gd name="T26" fmla="*/ 200 w 305"/>
                <a:gd name="T27" fmla="*/ 58 h 248"/>
                <a:gd name="T28" fmla="*/ 190 w 305"/>
                <a:gd name="T29" fmla="*/ 58 h 248"/>
                <a:gd name="T30" fmla="*/ 181 w 305"/>
                <a:gd name="T31" fmla="*/ 48 h 248"/>
                <a:gd name="T32" fmla="*/ 152 w 305"/>
                <a:gd name="T33" fmla="*/ 58 h 248"/>
                <a:gd name="T34" fmla="*/ 124 w 305"/>
                <a:gd name="T35" fmla="*/ 38 h 248"/>
                <a:gd name="T36" fmla="*/ 124 w 305"/>
                <a:gd name="T37" fmla="*/ 29 h 248"/>
                <a:gd name="T38" fmla="*/ 114 w 305"/>
                <a:gd name="T39" fmla="*/ 19 h 248"/>
                <a:gd name="T40" fmla="*/ 86 w 305"/>
                <a:gd name="T41" fmla="*/ 10 h 248"/>
                <a:gd name="T42" fmla="*/ 66 w 305"/>
                <a:gd name="T43" fmla="*/ 0 h 248"/>
                <a:gd name="T44" fmla="*/ 57 w 305"/>
                <a:gd name="T45" fmla="*/ 10 h 248"/>
                <a:gd name="T46" fmla="*/ 38 w 305"/>
                <a:gd name="T47" fmla="*/ 10 h 248"/>
                <a:gd name="T48" fmla="*/ 47 w 305"/>
                <a:gd name="T49" fmla="*/ 29 h 248"/>
                <a:gd name="T50" fmla="*/ 38 w 305"/>
                <a:gd name="T51" fmla="*/ 38 h 248"/>
                <a:gd name="T52" fmla="*/ 28 w 305"/>
                <a:gd name="T53" fmla="*/ 38 h 248"/>
                <a:gd name="T54" fmla="*/ 19 w 305"/>
                <a:gd name="T55" fmla="*/ 48 h 248"/>
                <a:gd name="T56" fmla="*/ 0 w 305"/>
                <a:gd name="T57" fmla="*/ 48 h 248"/>
                <a:gd name="T58" fmla="*/ 0 w 305"/>
                <a:gd name="T59" fmla="*/ 58 h 248"/>
                <a:gd name="T60" fmla="*/ 0 w 305"/>
                <a:gd name="T61" fmla="*/ 67 h 248"/>
                <a:gd name="T62" fmla="*/ 9 w 305"/>
                <a:gd name="T63" fmla="*/ 77 h 248"/>
                <a:gd name="T64" fmla="*/ 9 w 305"/>
                <a:gd name="T65" fmla="*/ 77 h 248"/>
                <a:gd name="T66" fmla="*/ 19 w 305"/>
                <a:gd name="T67" fmla="*/ 96 h 248"/>
                <a:gd name="T68" fmla="*/ 19 w 305"/>
                <a:gd name="T69" fmla="*/ 96 h 248"/>
                <a:gd name="T70" fmla="*/ 28 w 305"/>
                <a:gd name="T71" fmla="*/ 105 h 248"/>
                <a:gd name="T72" fmla="*/ 38 w 305"/>
                <a:gd name="T73" fmla="*/ 124 h 248"/>
                <a:gd name="T74" fmla="*/ 38 w 305"/>
                <a:gd name="T75" fmla="*/ 124 h 248"/>
                <a:gd name="T76" fmla="*/ 47 w 305"/>
                <a:gd name="T77" fmla="*/ 134 h 248"/>
                <a:gd name="T78" fmla="*/ 57 w 305"/>
                <a:gd name="T79" fmla="*/ 143 h 248"/>
                <a:gd name="T80" fmla="*/ 66 w 305"/>
                <a:gd name="T81" fmla="*/ 143 h 248"/>
                <a:gd name="T82" fmla="*/ 66 w 305"/>
                <a:gd name="T83" fmla="*/ 163 h 248"/>
                <a:gd name="T84" fmla="*/ 66 w 305"/>
                <a:gd name="T85" fmla="*/ 172 h 248"/>
                <a:gd name="T86" fmla="*/ 76 w 305"/>
                <a:gd name="T87" fmla="*/ 182 h 248"/>
                <a:gd name="T88" fmla="*/ 86 w 305"/>
                <a:gd name="T89" fmla="*/ 191 h 248"/>
                <a:gd name="T90" fmla="*/ 86 w 305"/>
                <a:gd name="T91" fmla="*/ 191 h 248"/>
                <a:gd name="T92" fmla="*/ 95 w 305"/>
                <a:gd name="T93" fmla="*/ 210 h 248"/>
                <a:gd name="T94" fmla="*/ 105 w 305"/>
                <a:gd name="T95" fmla="*/ 220 h 248"/>
                <a:gd name="T96" fmla="*/ 114 w 305"/>
                <a:gd name="T97" fmla="*/ 229 h 248"/>
                <a:gd name="T98" fmla="*/ 124 w 305"/>
                <a:gd name="T99" fmla="*/ 220 h 248"/>
                <a:gd name="T100" fmla="*/ 162 w 305"/>
                <a:gd name="T101" fmla="*/ 229 h 248"/>
                <a:gd name="T102" fmla="*/ 171 w 305"/>
                <a:gd name="T103" fmla="*/ 248 h 248"/>
                <a:gd name="T104" fmla="*/ 200 w 305"/>
                <a:gd name="T105" fmla="*/ 210 h 248"/>
                <a:gd name="T106" fmla="*/ 257 w 305"/>
                <a:gd name="T107" fmla="*/ 201 h 248"/>
                <a:gd name="T108" fmla="*/ 286 w 305"/>
                <a:gd name="T109" fmla="*/ 191 h 248"/>
                <a:gd name="T110" fmla="*/ 305 w 305"/>
                <a:gd name="T111" fmla="*/ 191 h 248"/>
                <a:gd name="T112" fmla="*/ 305 w 305"/>
                <a:gd name="T113" fmla="*/ 153 h 248"/>
                <a:gd name="T114" fmla="*/ 295 w 305"/>
                <a:gd name="T115" fmla="*/ 153 h 24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5"/>
                <a:gd name="T175" fmla="*/ 0 h 248"/>
                <a:gd name="T176" fmla="*/ 305 w 305"/>
                <a:gd name="T177" fmla="*/ 248 h 24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5" h="248">
                  <a:moveTo>
                    <a:pt x="295" y="153"/>
                  </a:moveTo>
                  <a:lnTo>
                    <a:pt x="257" y="143"/>
                  </a:lnTo>
                  <a:lnTo>
                    <a:pt x="248" y="134"/>
                  </a:lnTo>
                  <a:lnTo>
                    <a:pt x="248" y="124"/>
                  </a:lnTo>
                  <a:lnTo>
                    <a:pt x="238" y="124"/>
                  </a:lnTo>
                  <a:lnTo>
                    <a:pt x="238" y="115"/>
                  </a:lnTo>
                  <a:lnTo>
                    <a:pt x="219" y="105"/>
                  </a:lnTo>
                  <a:lnTo>
                    <a:pt x="229" y="86"/>
                  </a:lnTo>
                  <a:lnTo>
                    <a:pt x="219" y="86"/>
                  </a:lnTo>
                  <a:lnTo>
                    <a:pt x="209" y="67"/>
                  </a:lnTo>
                  <a:lnTo>
                    <a:pt x="200" y="67"/>
                  </a:lnTo>
                  <a:lnTo>
                    <a:pt x="200" y="58"/>
                  </a:lnTo>
                  <a:lnTo>
                    <a:pt x="190" y="58"/>
                  </a:lnTo>
                  <a:lnTo>
                    <a:pt x="181" y="48"/>
                  </a:lnTo>
                  <a:lnTo>
                    <a:pt x="152" y="58"/>
                  </a:lnTo>
                  <a:lnTo>
                    <a:pt x="124" y="38"/>
                  </a:lnTo>
                  <a:lnTo>
                    <a:pt x="124" y="29"/>
                  </a:lnTo>
                  <a:lnTo>
                    <a:pt x="114" y="19"/>
                  </a:lnTo>
                  <a:lnTo>
                    <a:pt x="86" y="10"/>
                  </a:lnTo>
                  <a:lnTo>
                    <a:pt x="66" y="0"/>
                  </a:lnTo>
                  <a:lnTo>
                    <a:pt x="57" y="10"/>
                  </a:lnTo>
                  <a:lnTo>
                    <a:pt x="38" y="10"/>
                  </a:lnTo>
                  <a:lnTo>
                    <a:pt x="47" y="29"/>
                  </a:lnTo>
                  <a:lnTo>
                    <a:pt x="38" y="38"/>
                  </a:lnTo>
                  <a:lnTo>
                    <a:pt x="28" y="38"/>
                  </a:lnTo>
                  <a:lnTo>
                    <a:pt x="19" y="48"/>
                  </a:lnTo>
                  <a:lnTo>
                    <a:pt x="0" y="48"/>
                  </a:lnTo>
                  <a:lnTo>
                    <a:pt x="0" y="58"/>
                  </a:lnTo>
                  <a:lnTo>
                    <a:pt x="0" y="67"/>
                  </a:lnTo>
                  <a:lnTo>
                    <a:pt x="9" y="77"/>
                  </a:lnTo>
                  <a:lnTo>
                    <a:pt x="19" y="96"/>
                  </a:lnTo>
                  <a:lnTo>
                    <a:pt x="28" y="105"/>
                  </a:lnTo>
                  <a:lnTo>
                    <a:pt x="38" y="124"/>
                  </a:lnTo>
                  <a:lnTo>
                    <a:pt x="47" y="134"/>
                  </a:lnTo>
                  <a:lnTo>
                    <a:pt x="57" y="143"/>
                  </a:lnTo>
                  <a:lnTo>
                    <a:pt x="66" y="143"/>
                  </a:lnTo>
                  <a:lnTo>
                    <a:pt x="66" y="163"/>
                  </a:lnTo>
                  <a:lnTo>
                    <a:pt x="66" y="172"/>
                  </a:lnTo>
                  <a:lnTo>
                    <a:pt x="76" y="182"/>
                  </a:lnTo>
                  <a:lnTo>
                    <a:pt x="86" y="191"/>
                  </a:lnTo>
                  <a:lnTo>
                    <a:pt x="95" y="210"/>
                  </a:lnTo>
                  <a:lnTo>
                    <a:pt x="105" y="220"/>
                  </a:lnTo>
                  <a:lnTo>
                    <a:pt x="114" y="229"/>
                  </a:lnTo>
                  <a:lnTo>
                    <a:pt x="124" y="220"/>
                  </a:lnTo>
                  <a:lnTo>
                    <a:pt x="162" y="229"/>
                  </a:lnTo>
                  <a:lnTo>
                    <a:pt x="171" y="248"/>
                  </a:lnTo>
                  <a:lnTo>
                    <a:pt x="200" y="210"/>
                  </a:lnTo>
                  <a:lnTo>
                    <a:pt x="257" y="201"/>
                  </a:lnTo>
                  <a:lnTo>
                    <a:pt x="286" y="191"/>
                  </a:lnTo>
                  <a:lnTo>
                    <a:pt x="305" y="191"/>
                  </a:lnTo>
                  <a:lnTo>
                    <a:pt x="305" y="153"/>
                  </a:lnTo>
                  <a:lnTo>
                    <a:pt x="295" y="153"/>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23" name="Freeform 302">
              <a:extLst>
                <a:ext uri="{FF2B5EF4-FFF2-40B4-BE49-F238E27FC236}">
                  <a16:creationId xmlns:a16="http://schemas.microsoft.com/office/drawing/2014/main" id="{E85D2C37-113C-46D3-B414-C36DDCD9691D}"/>
                </a:ext>
              </a:extLst>
            </p:cNvPr>
            <p:cNvSpPr>
              <a:spLocks/>
            </p:cNvSpPr>
            <p:nvPr/>
          </p:nvSpPr>
          <p:spPr bwMode="gray">
            <a:xfrm>
              <a:off x="3199" y="2404"/>
              <a:ext cx="305" cy="248"/>
            </a:xfrm>
            <a:custGeom>
              <a:avLst/>
              <a:gdLst>
                <a:gd name="T0" fmla="*/ 295 w 305"/>
                <a:gd name="T1" fmla="*/ 153 h 248"/>
                <a:gd name="T2" fmla="*/ 257 w 305"/>
                <a:gd name="T3" fmla="*/ 143 h 248"/>
                <a:gd name="T4" fmla="*/ 248 w 305"/>
                <a:gd name="T5" fmla="*/ 134 h 248"/>
                <a:gd name="T6" fmla="*/ 248 w 305"/>
                <a:gd name="T7" fmla="*/ 124 h 248"/>
                <a:gd name="T8" fmla="*/ 248 w 305"/>
                <a:gd name="T9" fmla="*/ 124 h 248"/>
                <a:gd name="T10" fmla="*/ 238 w 305"/>
                <a:gd name="T11" fmla="*/ 124 h 248"/>
                <a:gd name="T12" fmla="*/ 238 w 305"/>
                <a:gd name="T13" fmla="*/ 115 h 248"/>
                <a:gd name="T14" fmla="*/ 219 w 305"/>
                <a:gd name="T15" fmla="*/ 105 h 248"/>
                <a:gd name="T16" fmla="*/ 229 w 305"/>
                <a:gd name="T17" fmla="*/ 86 h 248"/>
                <a:gd name="T18" fmla="*/ 219 w 305"/>
                <a:gd name="T19" fmla="*/ 86 h 248"/>
                <a:gd name="T20" fmla="*/ 209 w 305"/>
                <a:gd name="T21" fmla="*/ 67 h 248"/>
                <a:gd name="T22" fmla="*/ 200 w 305"/>
                <a:gd name="T23" fmla="*/ 67 h 248"/>
                <a:gd name="T24" fmla="*/ 200 w 305"/>
                <a:gd name="T25" fmla="*/ 58 h 248"/>
                <a:gd name="T26" fmla="*/ 200 w 305"/>
                <a:gd name="T27" fmla="*/ 58 h 248"/>
                <a:gd name="T28" fmla="*/ 190 w 305"/>
                <a:gd name="T29" fmla="*/ 58 h 248"/>
                <a:gd name="T30" fmla="*/ 181 w 305"/>
                <a:gd name="T31" fmla="*/ 48 h 248"/>
                <a:gd name="T32" fmla="*/ 152 w 305"/>
                <a:gd name="T33" fmla="*/ 58 h 248"/>
                <a:gd name="T34" fmla="*/ 124 w 305"/>
                <a:gd name="T35" fmla="*/ 38 h 248"/>
                <a:gd name="T36" fmla="*/ 124 w 305"/>
                <a:gd name="T37" fmla="*/ 29 h 248"/>
                <a:gd name="T38" fmla="*/ 114 w 305"/>
                <a:gd name="T39" fmla="*/ 19 h 248"/>
                <a:gd name="T40" fmla="*/ 86 w 305"/>
                <a:gd name="T41" fmla="*/ 10 h 248"/>
                <a:gd name="T42" fmla="*/ 66 w 305"/>
                <a:gd name="T43" fmla="*/ 0 h 248"/>
                <a:gd name="T44" fmla="*/ 57 w 305"/>
                <a:gd name="T45" fmla="*/ 10 h 248"/>
                <a:gd name="T46" fmla="*/ 38 w 305"/>
                <a:gd name="T47" fmla="*/ 10 h 248"/>
                <a:gd name="T48" fmla="*/ 47 w 305"/>
                <a:gd name="T49" fmla="*/ 29 h 248"/>
                <a:gd name="T50" fmla="*/ 38 w 305"/>
                <a:gd name="T51" fmla="*/ 38 h 248"/>
                <a:gd name="T52" fmla="*/ 28 w 305"/>
                <a:gd name="T53" fmla="*/ 38 h 248"/>
                <a:gd name="T54" fmla="*/ 19 w 305"/>
                <a:gd name="T55" fmla="*/ 48 h 248"/>
                <a:gd name="T56" fmla="*/ 0 w 305"/>
                <a:gd name="T57" fmla="*/ 48 h 248"/>
                <a:gd name="T58" fmla="*/ 0 w 305"/>
                <a:gd name="T59" fmla="*/ 58 h 248"/>
                <a:gd name="T60" fmla="*/ 0 w 305"/>
                <a:gd name="T61" fmla="*/ 67 h 248"/>
                <a:gd name="T62" fmla="*/ 9 w 305"/>
                <a:gd name="T63" fmla="*/ 77 h 248"/>
                <a:gd name="T64" fmla="*/ 9 w 305"/>
                <a:gd name="T65" fmla="*/ 77 h 248"/>
                <a:gd name="T66" fmla="*/ 19 w 305"/>
                <a:gd name="T67" fmla="*/ 96 h 248"/>
                <a:gd name="T68" fmla="*/ 19 w 305"/>
                <a:gd name="T69" fmla="*/ 96 h 248"/>
                <a:gd name="T70" fmla="*/ 28 w 305"/>
                <a:gd name="T71" fmla="*/ 105 h 248"/>
                <a:gd name="T72" fmla="*/ 38 w 305"/>
                <a:gd name="T73" fmla="*/ 124 h 248"/>
                <a:gd name="T74" fmla="*/ 38 w 305"/>
                <a:gd name="T75" fmla="*/ 124 h 248"/>
                <a:gd name="T76" fmla="*/ 47 w 305"/>
                <a:gd name="T77" fmla="*/ 134 h 248"/>
                <a:gd name="T78" fmla="*/ 57 w 305"/>
                <a:gd name="T79" fmla="*/ 143 h 248"/>
                <a:gd name="T80" fmla="*/ 66 w 305"/>
                <a:gd name="T81" fmla="*/ 143 h 248"/>
                <a:gd name="T82" fmla="*/ 66 w 305"/>
                <a:gd name="T83" fmla="*/ 163 h 248"/>
                <a:gd name="T84" fmla="*/ 66 w 305"/>
                <a:gd name="T85" fmla="*/ 172 h 248"/>
                <a:gd name="T86" fmla="*/ 76 w 305"/>
                <a:gd name="T87" fmla="*/ 182 h 248"/>
                <a:gd name="T88" fmla="*/ 86 w 305"/>
                <a:gd name="T89" fmla="*/ 191 h 248"/>
                <a:gd name="T90" fmla="*/ 86 w 305"/>
                <a:gd name="T91" fmla="*/ 191 h 248"/>
                <a:gd name="T92" fmla="*/ 95 w 305"/>
                <a:gd name="T93" fmla="*/ 210 h 248"/>
                <a:gd name="T94" fmla="*/ 105 w 305"/>
                <a:gd name="T95" fmla="*/ 220 h 248"/>
                <a:gd name="T96" fmla="*/ 114 w 305"/>
                <a:gd name="T97" fmla="*/ 229 h 248"/>
                <a:gd name="T98" fmla="*/ 124 w 305"/>
                <a:gd name="T99" fmla="*/ 220 h 248"/>
                <a:gd name="T100" fmla="*/ 162 w 305"/>
                <a:gd name="T101" fmla="*/ 229 h 248"/>
                <a:gd name="T102" fmla="*/ 171 w 305"/>
                <a:gd name="T103" fmla="*/ 248 h 248"/>
                <a:gd name="T104" fmla="*/ 200 w 305"/>
                <a:gd name="T105" fmla="*/ 210 h 248"/>
                <a:gd name="T106" fmla="*/ 257 w 305"/>
                <a:gd name="T107" fmla="*/ 201 h 248"/>
                <a:gd name="T108" fmla="*/ 286 w 305"/>
                <a:gd name="T109" fmla="*/ 191 h 248"/>
                <a:gd name="T110" fmla="*/ 305 w 305"/>
                <a:gd name="T111" fmla="*/ 191 h 248"/>
                <a:gd name="T112" fmla="*/ 305 w 305"/>
                <a:gd name="T113" fmla="*/ 153 h 248"/>
                <a:gd name="T114" fmla="*/ 295 w 305"/>
                <a:gd name="T115" fmla="*/ 153 h 24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5"/>
                <a:gd name="T175" fmla="*/ 0 h 248"/>
                <a:gd name="T176" fmla="*/ 305 w 305"/>
                <a:gd name="T177" fmla="*/ 248 h 24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5" h="248">
                  <a:moveTo>
                    <a:pt x="295" y="153"/>
                  </a:moveTo>
                  <a:lnTo>
                    <a:pt x="257" y="143"/>
                  </a:lnTo>
                  <a:lnTo>
                    <a:pt x="248" y="134"/>
                  </a:lnTo>
                  <a:lnTo>
                    <a:pt x="248" y="124"/>
                  </a:lnTo>
                  <a:lnTo>
                    <a:pt x="238" y="124"/>
                  </a:lnTo>
                  <a:lnTo>
                    <a:pt x="238" y="115"/>
                  </a:lnTo>
                  <a:lnTo>
                    <a:pt x="219" y="105"/>
                  </a:lnTo>
                  <a:lnTo>
                    <a:pt x="229" y="86"/>
                  </a:lnTo>
                  <a:lnTo>
                    <a:pt x="219" y="86"/>
                  </a:lnTo>
                  <a:lnTo>
                    <a:pt x="209" y="67"/>
                  </a:lnTo>
                  <a:lnTo>
                    <a:pt x="200" y="67"/>
                  </a:lnTo>
                  <a:lnTo>
                    <a:pt x="200" y="58"/>
                  </a:lnTo>
                  <a:lnTo>
                    <a:pt x="190" y="58"/>
                  </a:lnTo>
                  <a:lnTo>
                    <a:pt x="181" y="48"/>
                  </a:lnTo>
                  <a:lnTo>
                    <a:pt x="152" y="58"/>
                  </a:lnTo>
                  <a:lnTo>
                    <a:pt x="124" y="38"/>
                  </a:lnTo>
                  <a:lnTo>
                    <a:pt x="124" y="29"/>
                  </a:lnTo>
                  <a:lnTo>
                    <a:pt x="114" y="19"/>
                  </a:lnTo>
                  <a:lnTo>
                    <a:pt x="86" y="10"/>
                  </a:lnTo>
                  <a:lnTo>
                    <a:pt x="66" y="0"/>
                  </a:lnTo>
                  <a:lnTo>
                    <a:pt x="57" y="10"/>
                  </a:lnTo>
                  <a:lnTo>
                    <a:pt x="38" y="10"/>
                  </a:lnTo>
                  <a:lnTo>
                    <a:pt x="47" y="29"/>
                  </a:lnTo>
                  <a:lnTo>
                    <a:pt x="38" y="38"/>
                  </a:lnTo>
                  <a:lnTo>
                    <a:pt x="28" y="38"/>
                  </a:lnTo>
                  <a:lnTo>
                    <a:pt x="19" y="48"/>
                  </a:lnTo>
                  <a:lnTo>
                    <a:pt x="0" y="48"/>
                  </a:lnTo>
                  <a:lnTo>
                    <a:pt x="0" y="58"/>
                  </a:lnTo>
                  <a:lnTo>
                    <a:pt x="0" y="67"/>
                  </a:lnTo>
                  <a:lnTo>
                    <a:pt x="9" y="77"/>
                  </a:lnTo>
                  <a:lnTo>
                    <a:pt x="19" y="96"/>
                  </a:lnTo>
                  <a:lnTo>
                    <a:pt x="28" y="105"/>
                  </a:lnTo>
                  <a:lnTo>
                    <a:pt x="38" y="124"/>
                  </a:lnTo>
                  <a:lnTo>
                    <a:pt x="47" y="134"/>
                  </a:lnTo>
                  <a:lnTo>
                    <a:pt x="57" y="143"/>
                  </a:lnTo>
                  <a:lnTo>
                    <a:pt x="66" y="143"/>
                  </a:lnTo>
                  <a:lnTo>
                    <a:pt x="66" y="163"/>
                  </a:lnTo>
                  <a:lnTo>
                    <a:pt x="66" y="172"/>
                  </a:lnTo>
                  <a:lnTo>
                    <a:pt x="76" y="182"/>
                  </a:lnTo>
                  <a:lnTo>
                    <a:pt x="86" y="191"/>
                  </a:lnTo>
                  <a:lnTo>
                    <a:pt x="95" y="210"/>
                  </a:lnTo>
                  <a:lnTo>
                    <a:pt x="105" y="220"/>
                  </a:lnTo>
                  <a:lnTo>
                    <a:pt x="114" y="229"/>
                  </a:lnTo>
                  <a:lnTo>
                    <a:pt x="124" y="220"/>
                  </a:lnTo>
                  <a:lnTo>
                    <a:pt x="162" y="229"/>
                  </a:lnTo>
                  <a:lnTo>
                    <a:pt x="171" y="248"/>
                  </a:lnTo>
                  <a:lnTo>
                    <a:pt x="200" y="210"/>
                  </a:lnTo>
                  <a:lnTo>
                    <a:pt x="257" y="201"/>
                  </a:lnTo>
                  <a:lnTo>
                    <a:pt x="286" y="191"/>
                  </a:lnTo>
                  <a:lnTo>
                    <a:pt x="305" y="191"/>
                  </a:lnTo>
                  <a:lnTo>
                    <a:pt x="305" y="153"/>
                  </a:lnTo>
                  <a:lnTo>
                    <a:pt x="295" y="153"/>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24" name="Freeform 303">
              <a:extLst>
                <a:ext uri="{FF2B5EF4-FFF2-40B4-BE49-F238E27FC236}">
                  <a16:creationId xmlns:a16="http://schemas.microsoft.com/office/drawing/2014/main" id="{7818856C-D74B-45A6-8EB4-1C7083E4F4B5}"/>
                </a:ext>
              </a:extLst>
            </p:cNvPr>
            <p:cNvSpPr>
              <a:spLocks/>
            </p:cNvSpPr>
            <p:nvPr/>
          </p:nvSpPr>
          <p:spPr bwMode="gray">
            <a:xfrm>
              <a:off x="3313" y="2605"/>
              <a:ext cx="162" cy="86"/>
            </a:xfrm>
            <a:custGeom>
              <a:avLst/>
              <a:gdLst>
                <a:gd name="T0" fmla="*/ 162 w 162"/>
                <a:gd name="T1" fmla="*/ 28 h 86"/>
                <a:gd name="T2" fmla="*/ 162 w 162"/>
                <a:gd name="T3" fmla="*/ 28 h 86"/>
                <a:gd name="T4" fmla="*/ 153 w 162"/>
                <a:gd name="T5" fmla="*/ 19 h 86"/>
                <a:gd name="T6" fmla="*/ 143 w 162"/>
                <a:gd name="T7" fmla="*/ 19 h 86"/>
                <a:gd name="T8" fmla="*/ 153 w 162"/>
                <a:gd name="T9" fmla="*/ 19 h 86"/>
                <a:gd name="T10" fmla="*/ 143 w 162"/>
                <a:gd name="T11" fmla="*/ 0 h 86"/>
                <a:gd name="T12" fmla="*/ 86 w 162"/>
                <a:gd name="T13" fmla="*/ 9 h 86"/>
                <a:gd name="T14" fmla="*/ 57 w 162"/>
                <a:gd name="T15" fmla="*/ 47 h 86"/>
                <a:gd name="T16" fmla="*/ 48 w 162"/>
                <a:gd name="T17" fmla="*/ 28 h 86"/>
                <a:gd name="T18" fmla="*/ 10 w 162"/>
                <a:gd name="T19" fmla="*/ 19 h 86"/>
                <a:gd name="T20" fmla="*/ 0 w 162"/>
                <a:gd name="T21" fmla="*/ 28 h 86"/>
                <a:gd name="T22" fmla="*/ 0 w 162"/>
                <a:gd name="T23" fmla="*/ 38 h 86"/>
                <a:gd name="T24" fmla="*/ 0 w 162"/>
                <a:gd name="T25" fmla="*/ 47 h 86"/>
                <a:gd name="T26" fmla="*/ 0 w 162"/>
                <a:gd name="T27" fmla="*/ 57 h 86"/>
                <a:gd name="T28" fmla="*/ 10 w 162"/>
                <a:gd name="T29" fmla="*/ 67 h 86"/>
                <a:gd name="T30" fmla="*/ 10 w 162"/>
                <a:gd name="T31" fmla="*/ 86 h 86"/>
                <a:gd name="T32" fmla="*/ 19 w 162"/>
                <a:gd name="T33" fmla="*/ 86 h 86"/>
                <a:gd name="T34" fmla="*/ 19 w 162"/>
                <a:gd name="T35" fmla="*/ 86 h 86"/>
                <a:gd name="T36" fmla="*/ 38 w 162"/>
                <a:gd name="T37" fmla="*/ 86 h 86"/>
                <a:gd name="T38" fmla="*/ 48 w 162"/>
                <a:gd name="T39" fmla="*/ 76 h 86"/>
                <a:gd name="T40" fmla="*/ 57 w 162"/>
                <a:gd name="T41" fmla="*/ 76 h 86"/>
                <a:gd name="T42" fmla="*/ 67 w 162"/>
                <a:gd name="T43" fmla="*/ 76 h 86"/>
                <a:gd name="T44" fmla="*/ 95 w 162"/>
                <a:gd name="T45" fmla="*/ 67 h 86"/>
                <a:gd name="T46" fmla="*/ 95 w 162"/>
                <a:gd name="T47" fmla="*/ 67 h 86"/>
                <a:gd name="T48" fmla="*/ 105 w 162"/>
                <a:gd name="T49" fmla="*/ 57 h 86"/>
                <a:gd name="T50" fmla="*/ 105 w 162"/>
                <a:gd name="T51" fmla="*/ 57 h 86"/>
                <a:gd name="T52" fmla="*/ 115 w 162"/>
                <a:gd name="T53" fmla="*/ 57 h 86"/>
                <a:gd name="T54" fmla="*/ 124 w 162"/>
                <a:gd name="T55" fmla="*/ 57 h 86"/>
                <a:gd name="T56" fmla="*/ 143 w 162"/>
                <a:gd name="T57" fmla="*/ 47 h 86"/>
                <a:gd name="T58" fmla="*/ 143 w 162"/>
                <a:gd name="T59" fmla="*/ 47 h 86"/>
                <a:gd name="T60" fmla="*/ 143 w 162"/>
                <a:gd name="T61" fmla="*/ 47 h 86"/>
                <a:gd name="T62" fmla="*/ 153 w 162"/>
                <a:gd name="T63" fmla="*/ 28 h 86"/>
                <a:gd name="T64" fmla="*/ 162 w 162"/>
                <a:gd name="T65" fmla="*/ 28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86"/>
                <a:gd name="T101" fmla="*/ 162 w 162"/>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86">
                  <a:moveTo>
                    <a:pt x="162" y="28"/>
                  </a:moveTo>
                  <a:lnTo>
                    <a:pt x="162" y="28"/>
                  </a:lnTo>
                  <a:lnTo>
                    <a:pt x="153" y="19"/>
                  </a:lnTo>
                  <a:lnTo>
                    <a:pt x="143" y="19"/>
                  </a:lnTo>
                  <a:lnTo>
                    <a:pt x="153" y="19"/>
                  </a:lnTo>
                  <a:lnTo>
                    <a:pt x="143" y="0"/>
                  </a:lnTo>
                  <a:lnTo>
                    <a:pt x="86" y="9"/>
                  </a:lnTo>
                  <a:lnTo>
                    <a:pt x="57" y="47"/>
                  </a:lnTo>
                  <a:lnTo>
                    <a:pt x="48" y="28"/>
                  </a:lnTo>
                  <a:lnTo>
                    <a:pt x="10" y="19"/>
                  </a:lnTo>
                  <a:lnTo>
                    <a:pt x="0" y="28"/>
                  </a:lnTo>
                  <a:lnTo>
                    <a:pt x="0" y="38"/>
                  </a:lnTo>
                  <a:lnTo>
                    <a:pt x="0" y="47"/>
                  </a:lnTo>
                  <a:lnTo>
                    <a:pt x="0" y="57"/>
                  </a:lnTo>
                  <a:lnTo>
                    <a:pt x="10" y="67"/>
                  </a:lnTo>
                  <a:lnTo>
                    <a:pt x="10" y="86"/>
                  </a:lnTo>
                  <a:lnTo>
                    <a:pt x="19" y="86"/>
                  </a:lnTo>
                  <a:lnTo>
                    <a:pt x="38" y="86"/>
                  </a:lnTo>
                  <a:lnTo>
                    <a:pt x="48" y="76"/>
                  </a:lnTo>
                  <a:lnTo>
                    <a:pt x="57" y="76"/>
                  </a:lnTo>
                  <a:lnTo>
                    <a:pt x="67" y="76"/>
                  </a:lnTo>
                  <a:lnTo>
                    <a:pt x="95" y="67"/>
                  </a:lnTo>
                  <a:lnTo>
                    <a:pt x="105" y="57"/>
                  </a:lnTo>
                  <a:lnTo>
                    <a:pt x="115" y="57"/>
                  </a:lnTo>
                  <a:lnTo>
                    <a:pt x="124" y="57"/>
                  </a:lnTo>
                  <a:lnTo>
                    <a:pt x="143" y="47"/>
                  </a:lnTo>
                  <a:lnTo>
                    <a:pt x="153" y="28"/>
                  </a:lnTo>
                  <a:lnTo>
                    <a:pt x="162" y="2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25" name="Freeform 304">
              <a:extLst>
                <a:ext uri="{FF2B5EF4-FFF2-40B4-BE49-F238E27FC236}">
                  <a16:creationId xmlns:a16="http://schemas.microsoft.com/office/drawing/2014/main" id="{06617398-653E-483E-AD61-BA8C3453E804}"/>
                </a:ext>
              </a:extLst>
            </p:cNvPr>
            <p:cNvSpPr>
              <a:spLocks/>
            </p:cNvSpPr>
            <p:nvPr/>
          </p:nvSpPr>
          <p:spPr bwMode="gray">
            <a:xfrm>
              <a:off x="3313" y="2605"/>
              <a:ext cx="162" cy="86"/>
            </a:xfrm>
            <a:custGeom>
              <a:avLst/>
              <a:gdLst>
                <a:gd name="T0" fmla="*/ 162 w 162"/>
                <a:gd name="T1" fmla="*/ 28 h 86"/>
                <a:gd name="T2" fmla="*/ 162 w 162"/>
                <a:gd name="T3" fmla="*/ 28 h 86"/>
                <a:gd name="T4" fmla="*/ 153 w 162"/>
                <a:gd name="T5" fmla="*/ 19 h 86"/>
                <a:gd name="T6" fmla="*/ 143 w 162"/>
                <a:gd name="T7" fmla="*/ 19 h 86"/>
                <a:gd name="T8" fmla="*/ 153 w 162"/>
                <a:gd name="T9" fmla="*/ 19 h 86"/>
                <a:gd name="T10" fmla="*/ 143 w 162"/>
                <a:gd name="T11" fmla="*/ 0 h 86"/>
                <a:gd name="T12" fmla="*/ 86 w 162"/>
                <a:gd name="T13" fmla="*/ 9 h 86"/>
                <a:gd name="T14" fmla="*/ 57 w 162"/>
                <a:gd name="T15" fmla="*/ 47 h 86"/>
                <a:gd name="T16" fmla="*/ 48 w 162"/>
                <a:gd name="T17" fmla="*/ 28 h 86"/>
                <a:gd name="T18" fmla="*/ 10 w 162"/>
                <a:gd name="T19" fmla="*/ 19 h 86"/>
                <a:gd name="T20" fmla="*/ 0 w 162"/>
                <a:gd name="T21" fmla="*/ 28 h 86"/>
                <a:gd name="T22" fmla="*/ 0 w 162"/>
                <a:gd name="T23" fmla="*/ 38 h 86"/>
                <a:gd name="T24" fmla="*/ 0 w 162"/>
                <a:gd name="T25" fmla="*/ 47 h 86"/>
                <a:gd name="T26" fmla="*/ 0 w 162"/>
                <a:gd name="T27" fmla="*/ 57 h 86"/>
                <a:gd name="T28" fmla="*/ 10 w 162"/>
                <a:gd name="T29" fmla="*/ 67 h 86"/>
                <a:gd name="T30" fmla="*/ 10 w 162"/>
                <a:gd name="T31" fmla="*/ 86 h 86"/>
                <a:gd name="T32" fmla="*/ 19 w 162"/>
                <a:gd name="T33" fmla="*/ 86 h 86"/>
                <a:gd name="T34" fmla="*/ 19 w 162"/>
                <a:gd name="T35" fmla="*/ 86 h 86"/>
                <a:gd name="T36" fmla="*/ 38 w 162"/>
                <a:gd name="T37" fmla="*/ 86 h 86"/>
                <a:gd name="T38" fmla="*/ 48 w 162"/>
                <a:gd name="T39" fmla="*/ 76 h 86"/>
                <a:gd name="T40" fmla="*/ 57 w 162"/>
                <a:gd name="T41" fmla="*/ 76 h 86"/>
                <a:gd name="T42" fmla="*/ 67 w 162"/>
                <a:gd name="T43" fmla="*/ 76 h 86"/>
                <a:gd name="T44" fmla="*/ 95 w 162"/>
                <a:gd name="T45" fmla="*/ 67 h 86"/>
                <a:gd name="T46" fmla="*/ 95 w 162"/>
                <a:gd name="T47" fmla="*/ 67 h 86"/>
                <a:gd name="T48" fmla="*/ 105 w 162"/>
                <a:gd name="T49" fmla="*/ 57 h 86"/>
                <a:gd name="T50" fmla="*/ 105 w 162"/>
                <a:gd name="T51" fmla="*/ 57 h 86"/>
                <a:gd name="T52" fmla="*/ 115 w 162"/>
                <a:gd name="T53" fmla="*/ 57 h 86"/>
                <a:gd name="T54" fmla="*/ 124 w 162"/>
                <a:gd name="T55" fmla="*/ 57 h 86"/>
                <a:gd name="T56" fmla="*/ 143 w 162"/>
                <a:gd name="T57" fmla="*/ 47 h 86"/>
                <a:gd name="T58" fmla="*/ 143 w 162"/>
                <a:gd name="T59" fmla="*/ 47 h 86"/>
                <a:gd name="T60" fmla="*/ 143 w 162"/>
                <a:gd name="T61" fmla="*/ 47 h 86"/>
                <a:gd name="T62" fmla="*/ 153 w 162"/>
                <a:gd name="T63" fmla="*/ 28 h 86"/>
                <a:gd name="T64" fmla="*/ 162 w 162"/>
                <a:gd name="T65" fmla="*/ 28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86"/>
                <a:gd name="T101" fmla="*/ 162 w 162"/>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86">
                  <a:moveTo>
                    <a:pt x="162" y="28"/>
                  </a:moveTo>
                  <a:lnTo>
                    <a:pt x="162" y="28"/>
                  </a:lnTo>
                  <a:lnTo>
                    <a:pt x="153" y="19"/>
                  </a:lnTo>
                  <a:lnTo>
                    <a:pt x="143" y="19"/>
                  </a:lnTo>
                  <a:lnTo>
                    <a:pt x="153" y="19"/>
                  </a:lnTo>
                  <a:lnTo>
                    <a:pt x="143" y="0"/>
                  </a:lnTo>
                  <a:lnTo>
                    <a:pt x="86" y="9"/>
                  </a:lnTo>
                  <a:lnTo>
                    <a:pt x="57" y="47"/>
                  </a:lnTo>
                  <a:lnTo>
                    <a:pt x="48" y="28"/>
                  </a:lnTo>
                  <a:lnTo>
                    <a:pt x="10" y="19"/>
                  </a:lnTo>
                  <a:lnTo>
                    <a:pt x="0" y="28"/>
                  </a:lnTo>
                  <a:lnTo>
                    <a:pt x="0" y="38"/>
                  </a:lnTo>
                  <a:lnTo>
                    <a:pt x="0" y="47"/>
                  </a:lnTo>
                  <a:lnTo>
                    <a:pt x="0" y="57"/>
                  </a:lnTo>
                  <a:lnTo>
                    <a:pt x="10" y="67"/>
                  </a:lnTo>
                  <a:lnTo>
                    <a:pt x="10" y="86"/>
                  </a:lnTo>
                  <a:lnTo>
                    <a:pt x="19" y="86"/>
                  </a:lnTo>
                  <a:lnTo>
                    <a:pt x="38" y="86"/>
                  </a:lnTo>
                  <a:lnTo>
                    <a:pt x="48" y="76"/>
                  </a:lnTo>
                  <a:lnTo>
                    <a:pt x="57" y="76"/>
                  </a:lnTo>
                  <a:lnTo>
                    <a:pt x="67" y="76"/>
                  </a:lnTo>
                  <a:lnTo>
                    <a:pt x="95" y="67"/>
                  </a:lnTo>
                  <a:lnTo>
                    <a:pt x="105" y="57"/>
                  </a:lnTo>
                  <a:lnTo>
                    <a:pt x="115" y="57"/>
                  </a:lnTo>
                  <a:lnTo>
                    <a:pt x="124" y="57"/>
                  </a:lnTo>
                  <a:lnTo>
                    <a:pt x="143" y="47"/>
                  </a:lnTo>
                  <a:lnTo>
                    <a:pt x="153" y="28"/>
                  </a:lnTo>
                  <a:lnTo>
                    <a:pt x="162" y="2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26" name="Freeform 305">
              <a:extLst>
                <a:ext uri="{FF2B5EF4-FFF2-40B4-BE49-F238E27FC236}">
                  <a16:creationId xmlns:a16="http://schemas.microsoft.com/office/drawing/2014/main" id="{2654258C-BF2C-4077-B7B8-521500B3D338}"/>
                </a:ext>
              </a:extLst>
            </p:cNvPr>
            <p:cNvSpPr>
              <a:spLocks/>
            </p:cNvSpPr>
            <p:nvPr/>
          </p:nvSpPr>
          <p:spPr bwMode="gray">
            <a:xfrm>
              <a:off x="3456" y="2519"/>
              <a:ext cx="114" cy="114"/>
            </a:xfrm>
            <a:custGeom>
              <a:avLst/>
              <a:gdLst>
                <a:gd name="T0" fmla="*/ 19 w 114"/>
                <a:gd name="T1" fmla="*/ 114 h 114"/>
                <a:gd name="T2" fmla="*/ 48 w 114"/>
                <a:gd name="T3" fmla="*/ 114 h 114"/>
                <a:gd name="T4" fmla="*/ 48 w 114"/>
                <a:gd name="T5" fmla="*/ 105 h 114"/>
                <a:gd name="T6" fmla="*/ 57 w 114"/>
                <a:gd name="T7" fmla="*/ 105 h 114"/>
                <a:gd name="T8" fmla="*/ 67 w 114"/>
                <a:gd name="T9" fmla="*/ 95 h 114"/>
                <a:gd name="T10" fmla="*/ 67 w 114"/>
                <a:gd name="T11" fmla="*/ 95 h 114"/>
                <a:gd name="T12" fmla="*/ 76 w 114"/>
                <a:gd name="T13" fmla="*/ 86 h 114"/>
                <a:gd name="T14" fmla="*/ 86 w 114"/>
                <a:gd name="T15" fmla="*/ 76 h 114"/>
                <a:gd name="T16" fmla="*/ 86 w 114"/>
                <a:gd name="T17" fmla="*/ 67 h 114"/>
                <a:gd name="T18" fmla="*/ 95 w 114"/>
                <a:gd name="T19" fmla="*/ 67 h 114"/>
                <a:gd name="T20" fmla="*/ 105 w 114"/>
                <a:gd name="T21" fmla="*/ 48 h 114"/>
                <a:gd name="T22" fmla="*/ 114 w 114"/>
                <a:gd name="T23" fmla="*/ 38 h 114"/>
                <a:gd name="T24" fmla="*/ 114 w 114"/>
                <a:gd name="T25" fmla="*/ 38 h 114"/>
                <a:gd name="T26" fmla="*/ 105 w 114"/>
                <a:gd name="T27" fmla="*/ 28 h 114"/>
                <a:gd name="T28" fmla="*/ 95 w 114"/>
                <a:gd name="T29" fmla="*/ 19 h 114"/>
                <a:gd name="T30" fmla="*/ 95 w 114"/>
                <a:gd name="T31" fmla="*/ 19 h 114"/>
                <a:gd name="T32" fmla="*/ 86 w 114"/>
                <a:gd name="T33" fmla="*/ 19 h 114"/>
                <a:gd name="T34" fmla="*/ 67 w 114"/>
                <a:gd name="T35" fmla="*/ 9 h 114"/>
                <a:gd name="T36" fmla="*/ 67 w 114"/>
                <a:gd name="T37" fmla="*/ 0 h 114"/>
                <a:gd name="T38" fmla="*/ 57 w 114"/>
                <a:gd name="T39" fmla="*/ 0 h 114"/>
                <a:gd name="T40" fmla="*/ 48 w 114"/>
                <a:gd name="T41" fmla="*/ 0 h 114"/>
                <a:gd name="T42" fmla="*/ 57 w 114"/>
                <a:gd name="T43" fmla="*/ 9 h 114"/>
                <a:gd name="T44" fmla="*/ 38 w 114"/>
                <a:gd name="T45" fmla="*/ 19 h 114"/>
                <a:gd name="T46" fmla="*/ 38 w 114"/>
                <a:gd name="T47" fmla="*/ 38 h 114"/>
                <a:gd name="T48" fmla="*/ 57 w 114"/>
                <a:gd name="T49" fmla="*/ 38 h 114"/>
                <a:gd name="T50" fmla="*/ 48 w 114"/>
                <a:gd name="T51" fmla="*/ 67 h 114"/>
                <a:gd name="T52" fmla="*/ 38 w 114"/>
                <a:gd name="T53" fmla="*/ 67 h 114"/>
                <a:gd name="T54" fmla="*/ 0 w 114"/>
                <a:gd name="T55" fmla="*/ 86 h 114"/>
                <a:gd name="T56" fmla="*/ 10 w 114"/>
                <a:gd name="T57" fmla="*/ 95 h 114"/>
                <a:gd name="T58" fmla="*/ 10 w 114"/>
                <a:gd name="T59" fmla="*/ 105 h 114"/>
                <a:gd name="T60" fmla="*/ 10 w 114"/>
                <a:gd name="T61" fmla="*/ 105 h 114"/>
                <a:gd name="T62" fmla="*/ 19 w 114"/>
                <a:gd name="T63" fmla="*/ 105 h 114"/>
                <a:gd name="T64" fmla="*/ 19 w 114"/>
                <a:gd name="T65" fmla="*/ 114 h 11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4"/>
                <a:gd name="T100" fmla="*/ 0 h 114"/>
                <a:gd name="T101" fmla="*/ 114 w 114"/>
                <a:gd name="T102" fmla="*/ 114 h 11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4" h="114">
                  <a:moveTo>
                    <a:pt x="19" y="114"/>
                  </a:moveTo>
                  <a:lnTo>
                    <a:pt x="48" y="114"/>
                  </a:lnTo>
                  <a:lnTo>
                    <a:pt x="48" y="105"/>
                  </a:lnTo>
                  <a:lnTo>
                    <a:pt x="57" y="105"/>
                  </a:lnTo>
                  <a:lnTo>
                    <a:pt x="67" y="95"/>
                  </a:lnTo>
                  <a:lnTo>
                    <a:pt x="76" y="86"/>
                  </a:lnTo>
                  <a:lnTo>
                    <a:pt x="86" y="76"/>
                  </a:lnTo>
                  <a:lnTo>
                    <a:pt x="86" y="67"/>
                  </a:lnTo>
                  <a:lnTo>
                    <a:pt x="95" y="67"/>
                  </a:lnTo>
                  <a:lnTo>
                    <a:pt x="105" y="48"/>
                  </a:lnTo>
                  <a:lnTo>
                    <a:pt x="114" y="38"/>
                  </a:lnTo>
                  <a:lnTo>
                    <a:pt x="105" y="28"/>
                  </a:lnTo>
                  <a:lnTo>
                    <a:pt x="95" y="19"/>
                  </a:lnTo>
                  <a:lnTo>
                    <a:pt x="86" y="19"/>
                  </a:lnTo>
                  <a:lnTo>
                    <a:pt x="67" y="9"/>
                  </a:lnTo>
                  <a:lnTo>
                    <a:pt x="67" y="0"/>
                  </a:lnTo>
                  <a:lnTo>
                    <a:pt x="57" y="0"/>
                  </a:lnTo>
                  <a:lnTo>
                    <a:pt x="48" y="0"/>
                  </a:lnTo>
                  <a:lnTo>
                    <a:pt x="57" y="9"/>
                  </a:lnTo>
                  <a:lnTo>
                    <a:pt x="38" y="19"/>
                  </a:lnTo>
                  <a:lnTo>
                    <a:pt x="38" y="38"/>
                  </a:lnTo>
                  <a:lnTo>
                    <a:pt x="57" y="38"/>
                  </a:lnTo>
                  <a:lnTo>
                    <a:pt x="48" y="67"/>
                  </a:lnTo>
                  <a:lnTo>
                    <a:pt x="38" y="67"/>
                  </a:lnTo>
                  <a:lnTo>
                    <a:pt x="0" y="86"/>
                  </a:lnTo>
                  <a:lnTo>
                    <a:pt x="10" y="95"/>
                  </a:lnTo>
                  <a:lnTo>
                    <a:pt x="10" y="105"/>
                  </a:lnTo>
                  <a:lnTo>
                    <a:pt x="19" y="105"/>
                  </a:lnTo>
                  <a:lnTo>
                    <a:pt x="19" y="11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27" name="Freeform 306">
              <a:extLst>
                <a:ext uri="{FF2B5EF4-FFF2-40B4-BE49-F238E27FC236}">
                  <a16:creationId xmlns:a16="http://schemas.microsoft.com/office/drawing/2014/main" id="{517E2F20-91DB-44BD-A178-008EBAD0FEA2}"/>
                </a:ext>
              </a:extLst>
            </p:cNvPr>
            <p:cNvSpPr>
              <a:spLocks/>
            </p:cNvSpPr>
            <p:nvPr/>
          </p:nvSpPr>
          <p:spPr bwMode="gray">
            <a:xfrm>
              <a:off x="3456" y="2519"/>
              <a:ext cx="114" cy="114"/>
            </a:xfrm>
            <a:custGeom>
              <a:avLst/>
              <a:gdLst>
                <a:gd name="T0" fmla="*/ 19 w 114"/>
                <a:gd name="T1" fmla="*/ 114 h 114"/>
                <a:gd name="T2" fmla="*/ 48 w 114"/>
                <a:gd name="T3" fmla="*/ 114 h 114"/>
                <a:gd name="T4" fmla="*/ 48 w 114"/>
                <a:gd name="T5" fmla="*/ 105 h 114"/>
                <a:gd name="T6" fmla="*/ 57 w 114"/>
                <a:gd name="T7" fmla="*/ 105 h 114"/>
                <a:gd name="T8" fmla="*/ 67 w 114"/>
                <a:gd name="T9" fmla="*/ 95 h 114"/>
                <a:gd name="T10" fmla="*/ 67 w 114"/>
                <a:gd name="T11" fmla="*/ 95 h 114"/>
                <a:gd name="T12" fmla="*/ 76 w 114"/>
                <a:gd name="T13" fmla="*/ 86 h 114"/>
                <a:gd name="T14" fmla="*/ 86 w 114"/>
                <a:gd name="T15" fmla="*/ 76 h 114"/>
                <a:gd name="T16" fmla="*/ 86 w 114"/>
                <a:gd name="T17" fmla="*/ 67 h 114"/>
                <a:gd name="T18" fmla="*/ 95 w 114"/>
                <a:gd name="T19" fmla="*/ 67 h 114"/>
                <a:gd name="T20" fmla="*/ 105 w 114"/>
                <a:gd name="T21" fmla="*/ 48 h 114"/>
                <a:gd name="T22" fmla="*/ 114 w 114"/>
                <a:gd name="T23" fmla="*/ 38 h 114"/>
                <a:gd name="T24" fmla="*/ 114 w 114"/>
                <a:gd name="T25" fmla="*/ 38 h 114"/>
                <a:gd name="T26" fmla="*/ 105 w 114"/>
                <a:gd name="T27" fmla="*/ 28 h 114"/>
                <a:gd name="T28" fmla="*/ 95 w 114"/>
                <a:gd name="T29" fmla="*/ 19 h 114"/>
                <a:gd name="T30" fmla="*/ 95 w 114"/>
                <a:gd name="T31" fmla="*/ 19 h 114"/>
                <a:gd name="T32" fmla="*/ 86 w 114"/>
                <a:gd name="T33" fmla="*/ 19 h 114"/>
                <a:gd name="T34" fmla="*/ 67 w 114"/>
                <a:gd name="T35" fmla="*/ 9 h 114"/>
                <a:gd name="T36" fmla="*/ 67 w 114"/>
                <a:gd name="T37" fmla="*/ 0 h 114"/>
                <a:gd name="T38" fmla="*/ 57 w 114"/>
                <a:gd name="T39" fmla="*/ 0 h 114"/>
                <a:gd name="T40" fmla="*/ 48 w 114"/>
                <a:gd name="T41" fmla="*/ 0 h 114"/>
                <a:gd name="T42" fmla="*/ 57 w 114"/>
                <a:gd name="T43" fmla="*/ 9 h 114"/>
                <a:gd name="T44" fmla="*/ 38 w 114"/>
                <a:gd name="T45" fmla="*/ 19 h 114"/>
                <a:gd name="T46" fmla="*/ 38 w 114"/>
                <a:gd name="T47" fmla="*/ 38 h 114"/>
                <a:gd name="T48" fmla="*/ 57 w 114"/>
                <a:gd name="T49" fmla="*/ 38 h 114"/>
                <a:gd name="T50" fmla="*/ 48 w 114"/>
                <a:gd name="T51" fmla="*/ 67 h 114"/>
                <a:gd name="T52" fmla="*/ 38 w 114"/>
                <a:gd name="T53" fmla="*/ 67 h 114"/>
                <a:gd name="T54" fmla="*/ 0 w 114"/>
                <a:gd name="T55" fmla="*/ 86 h 114"/>
                <a:gd name="T56" fmla="*/ 10 w 114"/>
                <a:gd name="T57" fmla="*/ 95 h 114"/>
                <a:gd name="T58" fmla="*/ 10 w 114"/>
                <a:gd name="T59" fmla="*/ 105 h 114"/>
                <a:gd name="T60" fmla="*/ 10 w 114"/>
                <a:gd name="T61" fmla="*/ 105 h 114"/>
                <a:gd name="T62" fmla="*/ 19 w 114"/>
                <a:gd name="T63" fmla="*/ 105 h 114"/>
                <a:gd name="T64" fmla="*/ 19 w 114"/>
                <a:gd name="T65" fmla="*/ 114 h 11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4"/>
                <a:gd name="T100" fmla="*/ 0 h 114"/>
                <a:gd name="T101" fmla="*/ 114 w 114"/>
                <a:gd name="T102" fmla="*/ 114 h 11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4" h="114">
                  <a:moveTo>
                    <a:pt x="19" y="114"/>
                  </a:moveTo>
                  <a:lnTo>
                    <a:pt x="48" y="114"/>
                  </a:lnTo>
                  <a:lnTo>
                    <a:pt x="48" y="105"/>
                  </a:lnTo>
                  <a:lnTo>
                    <a:pt x="57" y="105"/>
                  </a:lnTo>
                  <a:lnTo>
                    <a:pt x="67" y="95"/>
                  </a:lnTo>
                  <a:lnTo>
                    <a:pt x="76" y="86"/>
                  </a:lnTo>
                  <a:lnTo>
                    <a:pt x="86" y="76"/>
                  </a:lnTo>
                  <a:lnTo>
                    <a:pt x="86" y="67"/>
                  </a:lnTo>
                  <a:lnTo>
                    <a:pt x="95" y="67"/>
                  </a:lnTo>
                  <a:lnTo>
                    <a:pt x="105" y="48"/>
                  </a:lnTo>
                  <a:lnTo>
                    <a:pt x="114" y="38"/>
                  </a:lnTo>
                  <a:lnTo>
                    <a:pt x="105" y="28"/>
                  </a:lnTo>
                  <a:lnTo>
                    <a:pt x="95" y="19"/>
                  </a:lnTo>
                  <a:lnTo>
                    <a:pt x="86" y="19"/>
                  </a:lnTo>
                  <a:lnTo>
                    <a:pt x="67" y="9"/>
                  </a:lnTo>
                  <a:lnTo>
                    <a:pt x="67" y="0"/>
                  </a:lnTo>
                  <a:lnTo>
                    <a:pt x="57" y="0"/>
                  </a:lnTo>
                  <a:lnTo>
                    <a:pt x="48" y="0"/>
                  </a:lnTo>
                  <a:lnTo>
                    <a:pt x="57" y="9"/>
                  </a:lnTo>
                  <a:lnTo>
                    <a:pt x="38" y="19"/>
                  </a:lnTo>
                  <a:lnTo>
                    <a:pt x="38" y="38"/>
                  </a:lnTo>
                  <a:lnTo>
                    <a:pt x="57" y="38"/>
                  </a:lnTo>
                  <a:lnTo>
                    <a:pt x="48" y="67"/>
                  </a:lnTo>
                  <a:lnTo>
                    <a:pt x="38" y="67"/>
                  </a:lnTo>
                  <a:lnTo>
                    <a:pt x="0" y="86"/>
                  </a:lnTo>
                  <a:lnTo>
                    <a:pt x="10" y="95"/>
                  </a:lnTo>
                  <a:lnTo>
                    <a:pt x="10" y="105"/>
                  </a:lnTo>
                  <a:lnTo>
                    <a:pt x="19" y="105"/>
                  </a:lnTo>
                  <a:lnTo>
                    <a:pt x="19" y="11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28" name="Freeform 307">
              <a:extLst>
                <a:ext uri="{FF2B5EF4-FFF2-40B4-BE49-F238E27FC236}">
                  <a16:creationId xmlns:a16="http://schemas.microsoft.com/office/drawing/2014/main" id="{42B9ED8A-42EC-4B8C-B658-1984284D47E8}"/>
                </a:ext>
              </a:extLst>
            </p:cNvPr>
            <p:cNvSpPr>
              <a:spLocks/>
            </p:cNvSpPr>
            <p:nvPr/>
          </p:nvSpPr>
          <p:spPr bwMode="gray">
            <a:xfrm>
              <a:off x="3208" y="2318"/>
              <a:ext cx="96" cy="86"/>
            </a:xfrm>
            <a:custGeom>
              <a:avLst/>
              <a:gdLst>
                <a:gd name="T0" fmla="*/ 48 w 96"/>
                <a:gd name="T1" fmla="*/ 77 h 86"/>
                <a:gd name="T2" fmla="*/ 38 w 96"/>
                <a:gd name="T3" fmla="*/ 77 h 86"/>
                <a:gd name="T4" fmla="*/ 19 w 96"/>
                <a:gd name="T5" fmla="*/ 86 h 86"/>
                <a:gd name="T6" fmla="*/ 0 w 96"/>
                <a:gd name="T7" fmla="*/ 86 h 86"/>
                <a:gd name="T8" fmla="*/ 10 w 96"/>
                <a:gd name="T9" fmla="*/ 67 h 86"/>
                <a:gd name="T10" fmla="*/ 10 w 96"/>
                <a:gd name="T11" fmla="*/ 67 h 86"/>
                <a:gd name="T12" fmla="*/ 10 w 96"/>
                <a:gd name="T13" fmla="*/ 58 h 86"/>
                <a:gd name="T14" fmla="*/ 19 w 96"/>
                <a:gd name="T15" fmla="*/ 48 h 86"/>
                <a:gd name="T16" fmla="*/ 19 w 96"/>
                <a:gd name="T17" fmla="*/ 39 h 86"/>
                <a:gd name="T18" fmla="*/ 19 w 96"/>
                <a:gd name="T19" fmla="*/ 29 h 86"/>
                <a:gd name="T20" fmla="*/ 19 w 96"/>
                <a:gd name="T21" fmla="*/ 29 h 86"/>
                <a:gd name="T22" fmla="*/ 19 w 96"/>
                <a:gd name="T23" fmla="*/ 19 h 86"/>
                <a:gd name="T24" fmla="*/ 38 w 96"/>
                <a:gd name="T25" fmla="*/ 10 h 86"/>
                <a:gd name="T26" fmla="*/ 48 w 96"/>
                <a:gd name="T27" fmla="*/ 19 h 86"/>
                <a:gd name="T28" fmla="*/ 67 w 96"/>
                <a:gd name="T29" fmla="*/ 10 h 86"/>
                <a:gd name="T30" fmla="*/ 86 w 96"/>
                <a:gd name="T31" fmla="*/ 10 h 86"/>
                <a:gd name="T32" fmla="*/ 96 w 96"/>
                <a:gd name="T33" fmla="*/ 0 h 86"/>
                <a:gd name="T34" fmla="*/ 96 w 96"/>
                <a:gd name="T35" fmla="*/ 10 h 86"/>
                <a:gd name="T36" fmla="*/ 86 w 96"/>
                <a:gd name="T37" fmla="*/ 19 h 86"/>
                <a:gd name="T38" fmla="*/ 86 w 96"/>
                <a:gd name="T39" fmla="*/ 29 h 86"/>
                <a:gd name="T40" fmla="*/ 86 w 96"/>
                <a:gd name="T41" fmla="*/ 48 h 86"/>
                <a:gd name="T42" fmla="*/ 48 w 96"/>
                <a:gd name="T43" fmla="*/ 67 h 86"/>
                <a:gd name="T44" fmla="*/ 48 w 96"/>
                <a:gd name="T45" fmla="*/ 77 h 8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86"/>
                <a:gd name="T71" fmla="*/ 96 w 96"/>
                <a:gd name="T72" fmla="*/ 86 h 8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86">
                  <a:moveTo>
                    <a:pt x="48" y="77"/>
                  </a:moveTo>
                  <a:lnTo>
                    <a:pt x="38" y="77"/>
                  </a:lnTo>
                  <a:lnTo>
                    <a:pt x="19" y="86"/>
                  </a:lnTo>
                  <a:lnTo>
                    <a:pt x="0" y="86"/>
                  </a:lnTo>
                  <a:lnTo>
                    <a:pt x="10" y="67"/>
                  </a:lnTo>
                  <a:lnTo>
                    <a:pt x="10" y="58"/>
                  </a:lnTo>
                  <a:lnTo>
                    <a:pt x="19" y="48"/>
                  </a:lnTo>
                  <a:lnTo>
                    <a:pt x="19" y="39"/>
                  </a:lnTo>
                  <a:lnTo>
                    <a:pt x="19" y="29"/>
                  </a:lnTo>
                  <a:lnTo>
                    <a:pt x="19" y="19"/>
                  </a:lnTo>
                  <a:lnTo>
                    <a:pt x="38" y="10"/>
                  </a:lnTo>
                  <a:lnTo>
                    <a:pt x="48" y="19"/>
                  </a:lnTo>
                  <a:lnTo>
                    <a:pt x="67" y="10"/>
                  </a:lnTo>
                  <a:lnTo>
                    <a:pt x="86" y="10"/>
                  </a:lnTo>
                  <a:lnTo>
                    <a:pt x="96" y="0"/>
                  </a:lnTo>
                  <a:lnTo>
                    <a:pt x="96" y="10"/>
                  </a:lnTo>
                  <a:lnTo>
                    <a:pt x="86" y="19"/>
                  </a:lnTo>
                  <a:lnTo>
                    <a:pt x="86" y="29"/>
                  </a:lnTo>
                  <a:lnTo>
                    <a:pt x="86" y="48"/>
                  </a:lnTo>
                  <a:lnTo>
                    <a:pt x="48" y="67"/>
                  </a:lnTo>
                  <a:lnTo>
                    <a:pt x="48" y="7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29" name="Freeform 308">
              <a:extLst>
                <a:ext uri="{FF2B5EF4-FFF2-40B4-BE49-F238E27FC236}">
                  <a16:creationId xmlns:a16="http://schemas.microsoft.com/office/drawing/2014/main" id="{8CB6612F-E220-4A32-BE23-065147606294}"/>
                </a:ext>
              </a:extLst>
            </p:cNvPr>
            <p:cNvSpPr>
              <a:spLocks/>
            </p:cNvSpPr>
            <p:nvPr/>
          </p:nvSpPr>
          <p:spPr bwMode="gray">
            <a:xfrm>
              <a:off x="3208" y="2318"/>
              <a:ext cx="96" cy="86"/>
            </a:xfrm>
            <a:custGeom>
              <a:avLst/>
              <a:gdLst>
                <a:gd name="T0" fmla="*/ 48 w 96"/>
                <a:gd name="T1" fmla="*/ 77 h 86"/>
                <a:gd name="T2" fmla="*/ 38 w 96"/>
                <a:gd name="T3" fmla="*/ 77 h 86"/>
                <a:gd name="T4" fmla="*/ 19 w 96"/>
                <a:gd name="T5" fmla="*/ 86 h 86"/>
                <a:gd name="T6" fmla="*/ 0 w 96"/>
                <a:gd name="T7" fmla="*/ 86 h 86"/>
                <a:gd name="T8" fmla="*/ 10 w 96"/>
                <a:gd name="T9" fmla="*/ 67 h 86"/>
                <a:gd name="T10" fmla="*/ 10 w 96"/>
                <a:gd name="T11" fmla="*/ 67 h 86"/>
                <a:gd name="T12" fmla="*/ 10 w 96"/>
                <a:gd name="T13" fmla="*/ 58 h 86"/>
                <a:gd name="T14" fmla="*/ 19 w 96"/>
                <a:gd name="T15" fmla="*/ 48 h 86"/>
                <a:gd name="T16" fmla="*/ 19 w 96"/>
                <a:gd name="T17" fmla="*/ 39 h 86"/>
                <a:gd name="T18" fmla="*/ 19 w 96"/>
                <a:gd name="T19" fmla="*/ 29 h 86"/>
                <a:gd name="T20" fmla="*/ 19 w 96"/>
                <a:gd name="T21" fmla="*/ 29 h 86"/>
                <a:gd name="T22" fmla="*/ 19 w 96"/>
                <a:gd name="T23" fmla="*/ 19 h 86"/>
                <a:gd name="T24" fmla="*/ 38 w 96"/>
                <a:gd name="T25" fmla="*/ 10 h 86"/>
                <a:gd name="T26" fmla="*/ 48 w 96"/>
                <a:gd name="T27" fmla="*/ 19 h 86"/>
                <a:gd name="T28" fmla="*/ 67 w 96"/>
                <a:gd name="T29" fmla="*/ 10 h 86"/>
                <a:gd name="T30" fmla="*/ 86 w 96"/>
                <a:gd name="T31" fmla="*/ 10 h 86"/>
                <a:gd name="T32" fmla="*/ 96 w 96"/>
                <a:gd name="T33" fmla="*/ 0 h 86"/>
                <a:gd name="T34" fmla="*/ 96 w 96"/>
                <a:gd name="T35" fmla="*/ 10 h 86"/>
                <a:gd name="T36" fmla="*/ 86 w 96"/>
                <a:gd name="T37" fmla="*/ 19 h 86"/>
                <a:gd name="T38" fmla="*/ 86 w 96"/>
                <a:gd name="T39" fmla="*/ 29 h 86"/>
                <a:gd name="T40" fmla="*/ 86 w 96"/>
                <a:gd name="T41" fmla="*/ 48 h 86"/>
                <a:gd name="T42" fmla="*/ 48 w 96"/>
                <a:gd name="T43" fmla="*/ 67 h 86"/>
                <a:gd name="T44" fmla="*/ 48 w 96"/>
                <a:gd name="T45" fmla="*/ 77 h 8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86"/>
                <a:gd name="T71" fmla="*/ 96 w 96"/>
                <a:gd name="T72" fmla="*/ 86 h 8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86">
                  <a:moveTo>
                    <a:pt x="48" y="77"/>
                  </a:moveTo>
                  <a:lnTo>
                    <a:pt x="38" y="77"/>
                  </a:lnTo>
                  <a:lnTo>
                    <a:pt x="19" y="86"/>
                  </a:lnTo>
                  <a:lnTo>
                    <a:pt x="0" y="86"/>
                  </a:lnTo>
                  <a:lnTo>
                    <a:pt x="10" y="67"/>
                  </a:lnTo>
                  <a:lnTo>
                    <a:pt x="10" y="58"/>
                  </a:lnTo>
                  <a:lnTo>
                    <a:pt x="19" y="48"/>
                  </a:lnTo>
                  <a:lnTo>
                    <a:pt x="19" y="39"/>
                  </a:lnTo>
                  <a:lnTo>
                    <a:pt x="19" y="29"/>
                  </a:lnTo>
                  <a:lnTo>
                    <a:pt x="19" y="19"/>
                  </a:lnTo>
                  <a:lnTo>
                    <a:pt x="38" y="10"/>
                  </a:lnTo>
                  <a:lnTo>
                    <a:pt x="48" y="19"/>
                  </a:lnTo>
                  <a:lnTo>
                    <a:pt x="67" y="10"/>
                  </a:lnTo>
                  <a:lnTo>
                    <a:pt x="86" y="10"/>
                  </a:lnTo>
                  <a:lnTo>
                    <a:pt x="96" y="0"/>
                  </a:lnTo>
                  <a:lnTo>
                    <a:pt x="96" y="10"/>
                  </a:lnTo>
                  <a:lnTo>
                    <a:pt x="86" y="19"/>
                  </a:lnTo>
                  <a:lnTo>
                    <a:pt x="86" y="29"/>
                  </a:lnTo>
                  <a:lnTo>
                    <a:pt x="86" y="48"/>
                  </a:lnTo>
                  <a:lnTo>
                    <a:pt x="48" y="67"/>
                  </a:lnTo>
                  <a:lnTo>
                    <a:pt x="48" y="7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30" name="Freeform 309">
              <a:extLst>
                <a:ext uri="{FF2B5EF4-FFF2-40B4-BE49-F238E27FC236}">
                  <a16:creationId xmlns:a16="http://schemas.microsoft.com/office/drawing/2014/main" id="{E241DEBB-5585-4156-9031-2D2B9E567027}"/>
                </a:ext>
              </a:extLst>
            </p:cNvPr>
            <p:cNvSpPr>
              <a:spLocks/>
            </p:cNvSpPr>
            <p:nvPr/>
          </p:nvSpPr>
          <p:spPr bwMode="gray">
            <a:xfrm>
              <a:off x="3256" y="2318"/>
              <a:ext cx="143" cy="144"/>
            </a:xfrm>
            <a:custGeom>
              <a:avLst/>
              <a:gdLst>
                <a:gd name="T0" fmla="*/ 143 w 143"/>
                <a:gd name="T1" fmla="*/ 124 h 144"/>
                <a:gd name="T2" fmla="*/ 124 w 143"/>
                <a:gd name="T3" fmla="*/ 124 h 144"/>
                <a:gd name="T4" fmla="*/ 124 w 143"/>
                <a:gd name="T5" fmla="*/ 134 h 144"/>
                <a:gd name="T6" fmla="*/ 124 w 143"/>
                <a:gd name="T7" fmla="*/ 134 h 144"/>
                <a:gd name="T8" fmla="*/ 95 w 143"/>
                <a:gd name="T9" fmla="*/ 144 h 144"/>
                <a:gd name="T10" fmla="*/ 67 w 143"/>
                <a:gd name="T11" fmla="*/ 124 h 144"/>
                <a:gd name="T12" fmla="*/ 67 w 143"/>
                <a:gd name="T13" fmla="*/ 115 h 144"/>
                <a:gd name="T14" fmla="*/ 57 w 143"/>
                <a:gd name="T15" fmla="*/ 105 h 144"/>
                <a:gd name="T16" fmla="*/ 29 w 143"/>
                <a:gd name="T17" fmla="*/ 96 h 144"/>
                <a:gd name="T18" fmla="*/ 9 w 143"/>
                <a:gd name="T19" fmla="*/ 86 h 144"/>
                <a:gd name="T20" fmla="*/ 0 w 143"/>
                <a:gd name="T21" fmla="*/ 77 h 144"/>
                <a:gd name="T22" fmla="*/ 0 w 143"/>
                <a:gd name="T23" fmla="*/ 67 h 144"/>
                <a:gd name="T24" fmla="*/ 38 w 143"/>
                <a:gd name="T25" fmla="*/ 48 h 144"/>
                <a:gd name="T26" fmla="*/ 38 w 143"/>
                <a:gd name="T27" fmla="*/ 29 h 144"/>
                <a:gd name="T28" fmla="*/ 38 w 143"/>
                <a:gd name="T29" fmla="*/ 19 h 144"/>
                <a:gd name="T30" fmla="*/ 48 w 143"/>
                <a:gd name="T31" fmla="*/ 10 h 144"/>
                <a:gd name="T32" fmla="*/ 57 w 143"/>
                <a:gd name="T33" fmla="*/ 0 h 144"/>
                <a:gd name="T34" fmla="*/ 76 w 143"/>
                <a:gd name="T35" fmla="*/ 0 h 144"/>
                <a:gd name="T36" fmla="*/ 76 w 143"/>
                <a:gd name="T37" fmla="*/ 10 h 144"/>
                <a:gd name="T38" fmla="*/ 86 w 143"/>
                <a:gd name="T39" fmla="*/ 10 h 144"/>
                <a:gd name="T40" fmla="*/ 105 w 143"/>
                <a:gd name="T41" fmla="*/ 29 h 144"/>
                <a:gd name="T42" fmla="*/ 105 w 143"/>
                <a:gd name="T43" fmla="*/ 29 h 144"/>
                <a:gd name="T44" fmla="*/ 114 w 143"/>
                <a:gd name="T45" fmla="*/ 39 h 144"/>
                <a:gd name="T46" fmla="*/ 95 w 143"/>
                <a:gd name="T47" fmla="*/ 58 h 144"/>
                <a:gd name="T48" fmla="*/ 114 w 143"/>
                <a:gd name="T49" fmla="*/ 77 h 144"/>
                <a:gd name="T50" fmla="*/ 124 w 143"/>
                <a:gd name="T51" fmla="*/ 77 h 144"/>
                <a:gd name="T52" fmla="*/ 133 w 143"/>
                <a:gd name="T53" fmla="*/ 96 h 144"/>
                <a:gd name="T54" fmla="*/ 133 w 143"/>
                <a:gd name="T55" fmla="*/ 115 h 144"/>
                <a:gd name="T56" fmla="*/ 143 w 143"/>
                <a:gd name="T57" fmla="*/ 124 h 144"/>
                <a:gd name="T58" fmla="*/ 143 w 143"/>
                <a:gd name="T59" fmla="*/ 124 h 1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3"/>
                <a:gd name="T91" fmla="*/ 0 h 144"/>
                <a:gd name="T92" fmla="*/ 143 w 143"/>
                <a:gd name="T93" fmla="*/ 144 h 1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3" h="144">
                  <a:moveTo>
                    <a:pt x="143" y="124"/>
                  </a:moveTo>
                  <a:lnTo>
                    <a:pt x="124" y="124"/>
                  </a:lnTo>
                  <a:lnTo>
                    <a:pt x="124" y="134"/>
                  </a:lnTo>
                  <a:lnTo>
                    <a:pt x="95" y="144"/>
                  </a:lnTo>
                  <a:lnTo>
                    <a:pt x="67" y="124"/>
                  </a:lnTo>
                  <a:lnTo>
                    <a:pt x="67" y="115"/>
                  </a:lnTo>
                  <a:lnTo>
                    <a:pt x="57" y="105"/>
                  </a:lnTo>
                  <a:lnTo>
                    <a:pt x="29" y="96"/>
                  </a:lnTo>
                  <a:lnTo>
                    <a:pt x="9" y="86"/>
                  </a:lnTo>
                  <a:lnTo>
                    <a:pt x="0" y="77"/>
                  </a:lnTo>
                  <a:lnTo>
                    <a:pt x="0" y="67"/>
                  </a:lnTo>
                  <a:lnTo>
                    <a:pt x="38" y="48"/>
                  </a:lnTo>
                  <a:lnTo>
                    <a:pt x="38" y="29"/>
                  </a:lnTo>
                  <a:lnTo>
                    <a:pt x="38" y="19"/>
                  </a:lnTo>
                  <a:lnTo>
                    <a:pt x="48" y="10"/>
                  </a:lnTo>
                  <a:lnTo>
                    <a:pt x="57" y="0"/>
                  </a:lnTo>
                  <a:lnTo>
                    <a:pt x="76" y="0"/>
                  </a:lnTo>
                  <a:lnTo>
                    <a:pt x="76" y="10"/>
                  </a:lnTo>
                  <a:lnTo>
                    <a:pt x="86" y="10"/>
                  </a:lnTo>
                  <a:lnTo>
                    <a:pt x="105" y="29"/>
                  </a:lnTo>
                  <a:lnTo>
                    <a:pt x="114" y="39"/>
                  </a:lnTo>
                  <a:lnTo>
                    <a:pt x="95" y="58"/>
                  </a:lnTo>
                  <a:lnTo>
                    <a:pt x="114" y="77"/>
                  </a:lnTo>
                  <a:lnTo>
                    <a:pt x="124" y="77"/>
                  </a:lnTo>
                  <a:lnTo>
                    <a:pt x="133" y="96"/>
                  </a:lnTo>
                  <a:lnTo>
                    <a:pt x="133" y="115"/>
                  </a:lnTo>
                  <a:lnTo>
                    <a:pt x="143" y="12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31" name="Freeform 310">
              <a:extLst>
                <a:ext uri="{FF2B5EF4-FFF2-40B4-BE49-F238E27FC236}">
                  <a16:creationId xmlns:a16="http://schemas.microsoft.com/office/drawing/2014/main" id="{3697479A-0BA8-4529-81A0-EBB3CAB7C3AE}"/>
                </a:ext>
              </a:extLst>
            </p:cNvPr>
            <p:cNvSpPr>
              <a:spLocks/>
            </p:cNvSpPr>
            <p:nvPr/>
          </p:nvSpPr>
          <p:spPr bwMode="gray">
            <a:xfrm>
              <a:off x="3256" y="2318"/>
              <a:ext cx="143" cy="144"/>
            </a:xfrm>
            <a:custGeom>
              <a:avLst/>
              <a:gdLst>
                <a:gd name="T0" fmla="*/ 143 w 143"/>
                <a:gd name="T1" fmla="*/ 124 h 144"/>
                <a:gd name="T2" fmla="*/ 124 w 143"/>
                <a:gd name="T3" fmla="*/ 124 h 144"/>
                <a:gd name="T4" fmla="*/ 124 w 143"/>
                <a:gd name="T5" fmla="*/ 134 h 144"/>
                <a:gd name="T6" fmla="*/ 124 w 143"/>
                <a:gd name="T7" fmla="*/ 134 h 144"/>
                <a:gd name="T8" fmla="*/ 95 w 143"/>
                <a:gd name="T9" fmla="*/ 144 h 144"/>
                <a:gd name="T10" fmla="*/ 67 w 143"/>
                <a:gd name="T11" fmla="*/ 124 h 144"/>
                <a:gd name="T12" fmla="*/ 67 w 143"/>
                <a:gd name="T13" fmla="*/ 115 h 144"/>
                <a:gd name="T14" fmla="*/ 57 w 143"/>
                <a:gd name="T15" fmla="*/ 105 h 144"/>
                <a:gd name="T16" fmla="*/ 29 w 143"/>
                <a:gd name="T17" fmla="*/ 96 h 144"/>
                <a:gd name="T18" fmla="*/ 9 w 143"/>
                <a:gd name="T19" fmla="*/ 86 h 144"/>
                <a:gd name="T20" fmla="*/ 0 w 143"/>
                <a:gd name="T21" fmla="*/ 77 h 144"/>
                <a:gd name="T22" fmla="*/ 0 w 143"/>
                <a:gd name="T23" fmla="*/ 67 h 144"/>
                <a:gd name="T24" fmla="*/ 38 w 143"/>
                <a:gd name="T25" fmla="*/ 48 h 144"/>
                <a:gd name="T26" fmla="*/ 38 w 143"/>
                <a:gd name="T27" fmla="*/ 29 h 144"/>
                <a:gd name="T28" fmla="*/ 38 w 143"/>
                <a:gd name="T29" fmla="*/ 19 h 144"/>
                <a:gd name="T30" fmla="*/ 48 w 143"/>
                <a:gd name="T31" fmla="*/ 10 h 144"/>
                <a:gd name="T32" fmla="*/ 57 w 143"/>
                <a:gd name="T33" fmla="*/ 0 h 144"/>
                <a:gd name="T34" fmla="*/ 76 w 143"/>
                <a:gd name="T35" fmla="*/ 0 h 144"/>
                <a:gd name="T36" fmla="*/ 76 w 143"/>
                <a:gd name="T37" fmla="*/ 10 h 144"/>
                <a:gd name="T38" fmla="*/ 86 w 143"/>
                <a:gd name="T39" fmla="*/ 10 h 144"/>
                <a:gd name="T40" fmla="*/ 105 w 143"/>
                <a:gd name="T41" fmla="*/ 29 h 144"/>
                <a:gd name="T42" fmla="*/ 105 w 143"/>
                <a:gd name="T43" fmla="*/ 29 h 144"/>
                <a:gd name="T44" fmla="*/ 114 w 143"/>
                <a:gd name="T45" fmla="*/ 39 h 144"/>
                <a:gd name="T46" fmla="*/ 95 w 143"/>
                <a:gd name="T47" fmla="*/ 58 h 144"/>
                <a:gd name="T48" fmla="*/ 114 w 143"/>
                <a:gd name="T49" fmla="*/ 77 h 144"/>
                <a:gd name="T50" fmla="*/ 124 w 143"/>
                <a:gd name="T51" fmla="*/ 77 h 144"/>
                <a:gd name="T52" fmla="*/ 133 w 143"/>
                <a:gd name="T53" fmla="*/ 96 h 144"/>
                <a:gd name="T54" fmla="*/ 133 w 143"/>
                <a:gd name="T55" fmla="*/ 115 h 144"/>
                <a:gd name="T56" fmla="*/ 143 w 143"/>
                <a:gd name="T57" fmla="*/ 124 h 144"/>
                <a:gd name="T58" fmla="*/ 143 w 143"/>
                <a:gd name="T59" fmla="*/ 124 h 1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3"/>
                <a:gd name="T91" fmla="*/ 0 h 144"/>
                <a:gd name="T92" fmla="*/ 143 w 143"/>
                <a:gd name="T93" fmla="*/ 144 h 1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3" h="144">
                  <a:moveTo>
                    <a:pt x="143" y="124"/>
                  </a:moveTo>
                  <a:lnTo>
                    <a:pt x="124" y="124"/>
                  </a:lnTo>
                  <a:lnTo>
                    <a:pt x="124" y="134"/>
                  </a:lnTo>
                  <a:lnTo>
                    <a:pt x="95" y="144"/>
                  </a:lnTo>
                  <a:lnTo>
                    <a:pt x="67" y="124"/>
                  </a:lnTo>
                  <a:lnTo>
                    <a:pt x="67" y="115"/>
                  </a:lnTo>
                  <a:lnTo>
                    <a:pt x="57" y="105"/>
                  </a:lnTo>
                  <a:lnTo>
                    <a:pt x="29" y="96"/>
                  </a:lnTo>
                  <a:lnTo>
                    <a:pt x="9" y="86"/>
                  </a:lnTo>
                  <a:lnTo>
                    <a:pt x="0" y="77"/>
                  </a:lnTo>
                  <a:lnTo>
                    <a:pt x="0" y="67"/>
                  </a:lnTo>
                  <a:lnTo>
                    <a:pt x="38" y="48"/>
                  </a:lnTo>
                  <a:lnTo>
                    <a:pt x="38" y="29"/>
                  </a:lnTo>
                  <a:lnTo>
                    <a:pt x="38" y="19"/>
                  </a:lnTo>
                  <a:lnTo>
                    <a:pt x="48" y="10"/>
                  </a:lnTo>
                  <a:lnTo>
                    <a:pt x="57" y="0"/>
                  </a:lnTo>
                  <a:lnTo>
                    <a:pt x="76" y="0"/>
                  </a:lnTo>
                  <a:lnTo>
                    <a:pt x="76" y="10"/>
                  </a:lnTo>
                  <a:lnTo>
                    <a:pt x="86" y="10"/>
                  </a:lnTo>
                  <a:lnTo>
                    <a:pt x="105" y="29"/>
                  </a:lnTo>
                  <a:lnTo>
                    <a:pt x="114" y="39"/>
                  </a:lnTo>
                  <a:lnTo>
                    <a:pt x="95" y="58"/>
                  </a:lnTo>
                  <a:lnTo>
                    <a:pt x="114" y="77"/>
                  </a:lnTo>
                  <a:lnTo>
                    <a:pt x="124" y="77"/>
                  </a:lnTo>
                  <a:lnTo>
                    <a:pt x="133" y="96"/>
                  </a:lnTo>
                  <a:lnTo>
                    <a:pt x="133" y="115"/>
                  </a:lnTo>
                  <a:lnTo>
                    <a:pt x="143" y="12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32" name="Freeform 311">
              <a:extLst>
                <a:ext uri="{FF2B5EF4-FFF2-40B4-BE49-F238E27FC236}">
                  <a16:creationId xmlns:a16="http://schemas.microsoft.com/office/drawing/2014/main" id="{483DB4F4-BAD4-46FE-AF0E-B9F271869E1F}"/>
                </a:ext>
              </a:extLst>
            </p:cNvPr>
            <p:cNvSpPr>
              <a:spLocks/>
            </p:cNvSpPr>
            <p:nvPr/>
          </p:nvSpPr>
          <p:spPr bwMode="gray">
            <a:xfrm>
              <a:off x="4133" y="2576"/>
              <a:ext cx="114" cy="210"/>
            </a:xfrm>
            <a:custGeom>
              <a:avLst/>
              <a:gdLst>
                <a:gd name="T0" fmla="*/ 38 w 114"/>
                <a:gd name="T1" fmla="*/ 0 h 210"/>
                <a:gd name="T2" fmla="*/ 9 w 114"/>
                <a:gd name="T3" fmla="*/ 10 h 210"/>
                <a:gd name="T4" fmla="*/ 9 w 114"/>
                <a:gd name="T5" fmla="*/ 19 h 210"/>
                <a:gd name="T6" fmla="*/ 0 w 114"/>
                <a:gd name="T7" fmla="*/ 19 h 210"/>
                <a:gd name="T8" fmla="*/ 0 w 114"/>
                <a:gd name="T9" fmla="*/ 19 h 210"/>
                <a:gd name="T10" fmla="*/ 0 w 114"/>
                <a:gd name="T11" fmla="*/ 38 h 210"/>
                <a:gd name="T12" fmla="*/ 9 w 114"/>
                <a:gd name="T13" fmla="*/ 48 h 210"/>
                <a:gd name="T14" fmla="*/ 9 w 114"/>
                <a:gd name="T15" fmla="*/ 67 h 210"/>
                <a:gd name="T16" fmla="*/ 9 w 114"/>
                <a:gd name="T17" fmla="*/ 76 h 210"/>
                <a:gd name="T18" fmla="*/ 19 w 114"/>
                <a:gd name="T19" fmla="*/ 96 h 210"/>
                <a:gd name="T20" fmla="*/ 19 w 114"/>
                <a:gd name="T21" fmla="*/ 115 h 210"/>
                <a:gd name="T22" fmla="*/ 19 w 114"/>
                <a:gd name="T23" fmla="*/ 134 h 210"/>
                <a:gd name="T24" fmla="*/ 9 w 114"/>
                <a:gd name="T25" fmla="*/ 143 h 210"/>
                <a:gd name="T26" fmla="*/ 9 w 114"/>
                <a:gd name="T27" fmla="*/ 153 h 210"/>
                <a:gd name="T28" fmla="*/ 9 w 114"/>
                <a:gd name="T29" fmla="*/ 162 h 210"/>
                <a:gd name="T30" fmla="*/ 9 w 114"/>
                <a:gd name="T31" fmla="*/ 162 h 210"/>
                <a:gd name="T32" fmla="*/ 9 w 114"/>
                <a:gd name="T33" fmla="*/ 181 h 210"/>
                <a:gd name="T34" fmla="*/ 9 w 114"/>
                <a:gd name="T35" fmla="*/ 181 h 210"/>
                <a:gd name="T36" fmla="*/ 19 w 114"/>
                <a:gd name="T37" fmla="*/ 191 h 210"/>
                <a:gd name="T38" fmla="*/ 38 w 114"/>
                <a:gd name="T39" fmla="*/ 200 h 210"/>
                <a:gd name="T40" fmla="*/ 38 w 114"/>
                <a:gd name="T41" fmla="*/ 200 h 210"/>
                <a:gd name="T42" fmla="*/ 48 w 114"/>
                <a:gd name="T43" fmla="*/ 210 h 210"/>
                <a:gd name="T44" fmla="*/ 57 w 114"/>
                <a:gd name="T45" fmla="*/ 210 h 210"/>
                <a:gd name="T46" fmla="*/ 67 w 114"/>
                <a:gd name="T47" fmla="*/ 210 h 210"/>
                <a:gd name="T48" fmla="*/ 67 w 114"/>
                <a:gd name="T49" fmla="*/ 210 h 210"/>
                <a:gd name="T50" fmla="*/ 57 w 114"/>
                <a:gd name="T51" fmla="*/ 200 h 210"/>
                <a:gd name="T52" fmla="*/ 48 w 114"/>
                <a:gd name="T53" fmla="*/ 191 h 210"/>
                <a:gd name="T54" fmla="*/ 38 w 114"/>
                <a:gd name="T55" fmla="*/ 181 h 210"/>
                <a:gd name="T56" fmla="*/ 28 w 114"/>
                <a:gd name="T57" fmla="*/ 172 h 210"/>
                <a:gd name="T58" fmla="*/ 19 w 114"/>
                <a:gd name="T59" fmla="*/ 162 h 210"/>
                <a:gd name="T60" fmla="*/ 19 w 114"/>
                <a:gd name="T61" fmla="*/ 153 h 210"/>
                <a:gd name="T62" fmla="*/ 19 w 114"/>
                <a:gd name="T63" fmla="*/ 134 h 210"/>
                <a:gd name="T64" fmla="*/ 28 w 114"/>
                <a:gd name="T65" fmla="*/ 124 h 210"/>
                <a:gd name="T66" fmla="*/ 28 w 114"/>
                <a:gd name="T67" fmla="*/ 115 h 210"/>
                <a:gd name="T68" fmla="*/ 38 w 114"/>
                <a:gd name="T69" fmla="*/ 105 h 210"/>
                <a:gd name="T70" fmla="*/ 48 w 114"/>
                <a:gd name="T71" fmla="*/ 105 h 210"/>
                <a:gd name="T72" fmla="*/ 48 w 114"/>
                <a:gd name="T73" fmla="*/ 115 h 210"/>
                <a:gd name="T74" fmla="*/ 67 w 114"/>
                <a:gd name="T75" fmla="*/ 124 h 210"/>
                <a:gd name="T76" fmla="*/ 67 w 114"/>
                <a:gd name="T77" fmla="*/ 124 h 210"/>
                <a:gd name="T78" fmla="*/ 76 w 114"/>
                <a:gd name="T79" fmla="*/ 115 h 210"/>
                <a:gd name="T80" fmla="*/ 67 w 114"/>
                <a:gd name="T81" fmla="*/ 105 h 210"/>
                <a:gd name="T82" fmla="*/ 67 w 114"/>
                <a:gd name="T83" fmla="*/ 105 h 210"/>
                <a:gd name="T84" fmla="*/ 76 w 114"/>
                <a:gd name="T85" fmla="*/ 96 h 210"/>
                <a:gd name="T86" fmla="*/ 76 w 114"/>
                <a:gd name="T87" fmla="*/ 86 h 210"/>
                <a:gd name="T88" fmla="*/ 86 w 114"/>
                <a:gd name="T89" fmla="*/ 86 h 210"/>
                <a:gd name="T90" fmla="*/ 105 w 114"/>
                <a:gd name="T91" fmla="*/ 96 h 210"/>
                <a:gd name="T92" fmla="*/ 114 w 114"/>
                <a:gd name="T93" fmla="*/ 76 h 210"/>
                <a:gd name="T94" fmla="*/ 114 w 114"/>
                <a:gd name="T95" fmla="*/ 67 h 210"/>
                <a:gd name="T96" fmla="*/ 95 w 114"/>
                <a:gd name="T97" fmla="*/ 48 h 210"/>
                <a:gd name="T98" fmla="*/ 95 w 114"/>
                <a:gd name="T99" fmla="*/ 38 h 210"/>
                <a:gd name="T100" fmla="*/ 86 w 114"/>
                <a:gd name="T101" fmla="*/ 38 h 210"/>
                <a:gd name="T102" fmla="*/ 76 w 114"/>
                <a:gd name="T103" fmla="*/ 38 h 210"/>
                <a:gd name="T104" fmla="*/ 67 w 114"/>
                <a:gd name="T105" fmla="*/ 38 h 210"/>
                <a:gd name="T106" fmla="*/ 67 w 114"/>
                <a:gd name="T107" fmla="*/ 38 h 210"/>
                <a:gd name="T108" fmla="*/ 57 w 114"/>
                <a:gd name="T109" fmla="*/ 38 h 210"/>
                <a:gd name="T110" fmla="*/ 48 w 114"/>
                <a:gd name="T111" fmla="*/ 48 h 210"/>
                <a:gd name="T112" fmla="*/ 38 w 114"/>
                <a:gd name="T113" fmla="*/ 38 h 210"/>
                <a:gd name="T114" fmla="*/ 48 w 114"/>
                <a:gd name="T115" fmla="*/ 38 h 210"/>
                <a:gd name="T116" fmla="*/ 48 w 114"/>
                <a:gd name="T117" fmla="*/ 19 h 210"/>
                <a:gd name="T118" fmla="*/ 38 w 114"/>
                <a:gd name="T119" fmla="*/ 19 h 210"/>
                <a:gd name="T120" fmla="*/ 38 w 114"/>
                <a:gd name="T121" fmla="*/ 0 h 2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4"/>
                <a:gd name="T184" fmla="*/ 0 h 210"/>
                <a:gd name="T185" fmla="*/ 114 w 114"/>
                <a:gd name="T186" fmla="*/ 210 h 21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4" h="210">
                  <a:moveTo>
                    <a:pt x="38" y="0"/>
                  </a:moveTo>
                  <a:lnTo>
                    <a:pt x="9" y="10"/>
                  </a:lnTo>
                  <a:lnTo>
                    <a:pt x="9" y="19"/>
                  </a:lnTo>
                  <a:lnTo>
                    <a:pt x="0" y="19"/>
                  </a:lnTo>
                  <a:lnTo>
                    <a:pt x="0" y="38"/>
                  </a:lnTo>
                  <a:lnTo>
                    <a:pt x="9" y="48"/>
                  </a:lnTo>
                  <a:lnTo>
                    <a:pt x="9" y="67"/>
                  </a:lnTo>
                  <a:lnTo>
                    <a:pt x="9" y="76"/>
                  </a:lnTo>
                  <a:lnTo>
                    <a:pt x="19" y="96"/>
                  </a:lnTo>
                  <a:lnTo>
                    <a:pt x="19" y="115"/>
                  </a:lnTo>
                  <a:lnTo>
                    <a:pt x="19" y="134"/>
                  </a:lnTo>
                  <a:lnTo>
                    <a:pt x="9" y="143"/>
                  </a:lnTo>
                  <a:lnTo>
                    <a:pt x="9" y="153"/>
                  </a:lnTo>
                  <a:lnTo>
                    <a:pt x="9" y="162"/>
                  </a:lnTo>
                  <a:lnTo>
                    <a:pt x="9" y="181"/>
                  </a:lnTo>
                  <a:lnTo>
                    <a:pt x="19" y="191"/>
                  </a:lnTo>
                  <a:lnTo>
                    <a:pt x="38" y="200"/>
                  </a:lnTo>
                  <a:lnTo>
                    <a:pt x="48" y="210"/>
                  </a:lnTo>
                  <a:lnTo>
                    <a:pt x="57" y="210"/>
                  </a:lnTo>
                  <a:lnTo>
                    <a:pt x="67" y="210"/>
                  </a:lnTo>
                  <a:lnTo>
                    <a:pt x="57" y="200"/>
                  </a:lnTo>
                  <a:lnTo>
                    <a:pt x="48" y="191"/>
                  </a:lnTo>
                  <a:lnTo>
                    <a:pt x="38" y="181"/>
                  </a:lnTo>
                  <a:lnTo>
                    <a:pt x="28" y="172"/>
                  </a:lnTo>
                  <a:lnTo>
                    <a:pt x="19" y="162"/>
                  </a:lnTo>
                  <a:lnTo>
                    <a:pt x="19" y="153"/>
                  </a:lnTo>
                  <a:lnTo>
                    <a:pt x="19" y="134"/>
                  </a:lnTo>
                  <a:lnTo>
                    <a:pt x="28" y="124"/>
                  </a:lnTo>
                  <a:lnTo>
                    <a:pt x="28" y="115"/>
                  </a:lnTo>
                  <a:lnTo>
                    <a:pt x="38" y="105"/>
                  </a:lnTo>
                  <a:lnTo>
                    <a:pt x="48" y="105"/>
                  </a:lnTo>
                  <a:lnTo>
                    <a:pt x="48" y="115"/>
                  </a:lnTo>
                  <a:lnTo>
                    <a:pt x="67" y="124"/>
                  </a:lnTo>
                  <a:lnTo>
                    <a:pt x="76" y="115"/>
                  </a:lnTo>
                  <a:lnTo>
                    <a:pt x="67" y="105"/>
                  </a:lnTo>
                  <a:lnTo>
                    <a:pt x="76" y="96"/>
                  </a:lnTo>
                  <a:lnTo>
                    <a:pt x="76" y="86"/>
                  </a:lnTo>
                  <a:lnTo>
                    <a:pt x="86" y="86"/>
                  </a:lnTo>
                  <a:lnTo>
                    <a:pt x="105" y="96"/>
                  </a:lnTo>
                  <a:lnTo>
                    <a:pt x="114" y="76"/>
                  </a:lnTo>
                  <a:lnTo>
                    <a:pt x="114" y="67"/>
                  </a:lnTo>
                  <a:lnTo>
                    <a:pt x="95" y="48"/>
                  </a:lnTo>
                  <a:lnTo>
                    <a:pt x="95" y="38"/>
                  </a:lnTo>
                  <a:lnTo>
                    <a:pt x="86" y="38"/>
                  </a:lnTo>
                  <a:lnTo>
                    <a:pt x="76" y="38"/>
                  </a:lnTo>
                  <a:lnTo>
                    <a:pt x="67" y="38"/>
                  </a:lnTo>
                  <a:lnTo>
                    <a:pt x="57" y="38"/>
                  </a:lnTo>
                  <a:lnTo>
                    <a:pt x="48" y="48"/>
                  </a:lnTo>
                  <a:lnTo>
                    <a:pt x="38" y="38"/>
                  </a:lnTo>
                  <a:lnTo>
                    <a:pt x="48" y="38"/>
                  </a:lnTo>
                  <a:lnTo>
                    <a:pt x="48" y="19"/>
                  </a:lnTo>
                  <a:lnTo>
                    <a:pt x="38" y="19"/>
                  </a:lnTo>
                  <a:lnTo>
                    <a:pt x="38"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33" name="Freeform 312">
              <a:extLst>
                <a:ext uri="{FF2B5EF4-FFF2-40B4-BE49-F238E27FC236}">
                  <a16:creationId xmlns:a16="http://schemas.microsoft.com/office/drawing/2014/main" id="{3DF53F21-5058-44F9-B7B1-C865FE6D8797}"/>
                </a:ext>
              </a:extLst>
            </p:cNvPr>
            <p:cNvSpPr>
              <a:spLocks/>
            </p:cNvSpPr>
            <p:nvPr/>
          </p:nvSpPr>
          <p:spPr bwMode="gray">
            <a:xfrm>
              <a:off x="4133" y="2576"/>
              <a:ext cx="114" cy="210"/>
            </a:xfrm>
            <a:custGeom>
              <a:avLst/>
              <a:gdLst>
                <a:gd name="T0" fmla="*/ 38 w 114"/>
                <a:gd name="T1" fmla="*/ 0 h 210"/>
                <a:gd name="T2" fmla="*/ 9 w 114"/>
                <a:gd name="T3" fmla="*/ 10 h 210"/>
                <a:gd name="T4" fmla="*/ 9 w 114"/>
                <a:gd name="T5" fmla="*/ 19 h 210"/>
                <a:gd name="T6" fmla="*/ 0 w 114"/>
                <a:gd name="T7" fmla="*/ 19 h 210"/>
                <a:gd name="T8" fmla="*/ 0 w 114"/>
                <a:gd name="T9" fmla="*/ 19 h 210"/>
                <a:gd name="T10" fmla="*/ 0 w 114"/>
                <a:gd name="T11" fmla="*/ 38 h 210"/>
                <a:gd name="T12" fmla="*/ 9 w 114"/>
                <a:gd name="T13" fmla="*/ 48 h 210"/>
                <a:gd name="T14" fmla="*/ 9 w 114"/>
                <a:gd name="T15" fmla="*/ 67 h 210"/>
                <a:gd name="T16" fmla="*/ 9 w 114"/>
                <a:gd name="T17" fmla="*/ 76 h 210"/>
                <a:gd name="T18" fmla="*/ 19 w 114"/>
                <a:gd name="T19" fmla="*/ 96 h 210"/>
                <a:gd name="T20" fmla="*/ 19 w 114"/>
                <a:gd name="T21" fmla="*/ 115 h 210"/>
                <a:gd name="T22" fmla="*/ 19 w 114"/>
                <a:gd name="T23" fmla="*/ 134 h 210"/>
                <a:gd name="T24" fmla="*/ 9 w 114"/>
                <a:gd name="T25" fmla="*/ 143 h 210"/>
                <a:gd name="T26" fmla="*/ 9 w 114"/>
                <a:gd name="T27" fmla="*/ 153 h 210"/>
                <a:gd name="T28" fmla="*/ 9 w 114"/>
                <a:gd name="T29" fmla="*/ 162 h 210"/>
                <a:gd name="T30" fmla="*/ 9 w 114"/>
                <a:gd name="T31" fmla="*/ 162 h 210"/>
                <a:gd name="T32" fmla="*/ 9 w 114"/>
                <a:gd name="T33" fmla="*/ 181 h 210"/>
                <a:gd name="T34" fmla="*/ 9 w 114"/>
                <a:gd name="T35" fmla="*/ 181 h 210"/>
                <a:gd name="T36" fmla="*/ 19 w 114"/>
                <a:gd name="T37" fmla="*/ 191 h 210"/>
                <a:gd name="T38" fmla="*/ 38 w 114"/>
                <a:gd name="T39" fmla="*/ 200 h 210"/>
                <a:gd name="T40" fmla="*/ 38 w 114"/>
                <a:gd name="T41" fmla="*/ 200 h 210"/>
                <a:gd name="T42" fmla="*/ 48 w 114"/>
                <a:gd name="T43" fmla="*/ 210 h 210"/>
                <a:gd name="T44" fmla="*/ 57 w 114"/>
                <a:gd name="T45" fmla="*/ 210 h 210"/>
                <a:gd name="T46" fmla="*/ 67 w 114"/>
                <a:gd name="T47" fmla="*/ 210 h 210"/>
                <a:gd name="T48" fmla="*/ 67 w 114"/>
                <a:gd name="T49" fmla="*/ 210 h 210"/>
                <a:gd name="T50" fmla="*/ 57 w 114"/>
                <a:gd name="T51" fmla="*/ 200 h 210"/>
                <a:gd name="T52" fmla="*/ 48 w 114"/>
                <a:gd name="T53" fmla="*/ 191 h 210"/>
                <a:gd name="T54" fmla="*/ 38 w 114"/>
                <a:gd name="T55" fmla="*/ 181 h 210"/>
                <a:gd name="T56" fmla="*/ 28 w 114"/>
                <a:gd name="T57" fmla="*/ 172 h 210"/>
                <a:gd name="T58" fmla="*/ 19 w 114"/>
                <a:gd name="T59" fmla="*/ 162 h 210"/>
                <a:gd name="T60" fmla="*/ 19 w 114"/>
                <a:gd name="T61" fmla="*/ 153 h 210"/>
                <a:gd name="T62" fmla="*/ 19 w 114"/>
                <a:gd name="T63" fmla="*/ 134 h 210"/>
                <a:gd name="T64" fmla="*/ 28 w 114"/>
                <a:gd name="T65" fmla="*/ 124 h 210"/>
                <a:gd name="T66" fmla="*/ 28 w 114"/>
                <a:gd name="T67" fmla="*/ 115 h 210"/>
                <a:gd name="T68" fmla="*/ 38 w 114"/>
                <a:gd name="T69" fmla="*/ 105 h 210"/>
                <a:gd name="T70" fmla="*/ 48 w 114"/>
                <a:gd name="T71" fmla="*/ 105 h 210"/>
                <a:gd name="T72" fmla="*/ 48 w 114"/>
                <a:gd name="T73" fmla="*/ 115 h 210"/>
                <a:gd name="T74" fmla="*/ 67 w 114"/>
                <a:gd name="T75" fmla="*/ 124 h 210"/>
                <a:gd name="T76" fmla="*/ 67 w 114"/>
                <a:gd name="T77" fmla="*/ 124 h 210"/>
                <a:gd name="T78" fmla="*/ 76 w 114"/>
                <a:gd name="T79" fmla="*/ 115 h 210"/>
                <a:gd name="T80" fmla="*/ 67 w 114"/>
                <a:gd name="T81" fmla="*/ 105 h 210"/>
                <a:gd name="T82" fmla="*/ 67 w 114"/>
                <a:gd name="T83" fmla="*/ 105 h 210"/>
                <a:gd name="T84" fmla="*/ 76 w 114"/>
                <a:gd name="T85" fmla="*/ 96 h 210"/>
                <a:gd name="T86" fmla="*/ 76 w 114"/>
                <a:gd name="T87" fmla="*/ 86 h 210"/>
                <a:gd name="T88" fmla="*/ 86 w 114"/>
                <a:gd name="T89" fmla="*/ 86 h 210"/>
                <a:gd name="T90" fmla="*/ 105 w 114"/>
                <a:gd name="T91" fmla="*/ 96 h 210"/>
                <a:gd name="T92" fmla="*/ 114 w 114"/>
                <a:gd name="T93" fmla="*/ 76 h 210"/>
                <a:gd name="T94" fmla="*/ 114 w 114"/>
                <a:gd name="T95" fmla="*/ 67 h 210"/>
                <a:gd name="T96" fmla="*/ 95 w 114"/>
                <a:gd name="T97" fmla="*/ 48 h 210"/>
                <a:gd name="T98" fmla="*/ 95 w 114"/>
                <a:gd name="T99" fmla="*/ 38 h 210"/>
                <a:gd name="T100" fmla="*/ 86 w 114"/>
                <a:gd name="T101" fmla="*/ 38 h 210"/>
                <a:gd name="T102" fmla="*/ 76 w 114"/>
                <a:gd name="T103" fmla="*/ 38 h 210"/>
                <a:gd name="T104" fmla="*/ 67 w 114"/>
                <a:gd name="T105" fmla="*/ 38 h 210"/>
                <a:gd name="T106" fmla="*/ 67 w 114"/>
                <a:gd name="T107" fmla="*/ 38 h 210"/>
                <a:gd name="T108" fmla="*/ 57 w 114"/>
                <a:gd name="T109" fmla="*/ 38 h 210"/>
                <a:gd name="T110" fmla="*/ 48 w 114"/>
                <a:gd name="T111" fmla="*/ 48 h 210"/>
                <a:gd name="T112" fmla="*/ 38 w 114"/>
                <a:gd name="T113" fmla="*/ 38 h 210"/>
                <a:gd name="T114" fmla="*/ 48 w 114"/>
                <a:gd name="T115" fmla="*/ 38 h 210"/>
                <a:gd name="T116" fmla="*/ 48 w 114"/>
                <a:gd name="T117" fmla="*/ 19 h 210"/>
                <a:gd name="T118" fmla="*/ 38 w 114"/>
                <a:gd name="T119" fmla="*/ 19 h 210"/>
                <a:gd name="T120" fmla="*/ 38 w 114"/>
                <a:gd name="T121" fmla="*/ 0 h 2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4"/>
                <a:gd name="T184" fmla="*/ 0 h 210"/>
                <a:gd name="T185" fmla="*/ 114 w 114"/>
                <a:gd name="T186" fmla="*/ 210 h 21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4" h="210">
                  <a:moveTo>
                    <a:pt x="38" y="0"/>
                  </a:moveTo>
                  <a:lnTo>
                    <a:pt x="9" y="10"/>
                  </a:lnTo>
                  <a:lnTo>
                    <a:pt x="9" y="19"/>
                  </a:lnTo>
                  <a:lnTo>
                    <a:pt x="0" y="19"/>
                  </a:lnTo>
                  <a:lnTo>
                    <a:pt x="0" y="38"/>
                  </a:lnTo>
                  <a:lnTo>
                    <a:pt x="9" y="48"/>
                  </a:lnTo>
                  <a:lnTo>
                    <a:pt x="9" y="67"/>
                  </a:lnTo>
                  <a:lnTo>
                    <a:pt x="9" y="76"/>
                  </a:lnTo>
                  <a:lnTo>
                    <a:pt x="19" y="96"/>
                  </a:lnTo>
                  <a:lnTo>
                    <a:pt x="19" y="115"/>
                  </a:lnTo>
                  <a:lnTo>
                    <a:pt x="19" y="134"/>
                  </a:lnTo>
                  <a:lnTo>
                    <a:pt x="9" y="143"/>
                  </a:lnTo>
                  <a:lnTo>
                    <a:pt x="9" y="153"/>
                  </a:lnTo>
                  <a:lnTo>
                    <a:pt x="9" y="162"/>
                  </a:lnTo>
                  <a:lnTo>
                    <a:pt x="9" y="181"/>
                  </a:lnTo>
                  <a:lnTo>
                    <a:pt x="19" y="191"/>
                  </a:lnTo>
                  <a:lnTo>
                    <a:pt x="38" y="200"/>
                  </a:lnTo>
                  <a:lnTo>
                    <a:pt x="48" y="210"/>
                  </a:lnTo>
                  <a:lnTo>
                    <a:pt x="57" y="210"/>
                  </a:lnTo>
                  <a:lnTo>
                    <a:pt x="67" y="210"/>
                  </a:lnTo>
                  <a:lnTo>
                    <a:pt x="57" y="200"/>
                  </a:lnTo>
                  <a:lnTo>
                    <a:pt x="48" y="191"/>
                  </a:lnTo>
                  <a:lnTo>
                    <a:pt x="38" y="181"/>
                  </a:lnTo>
                  <a:lnTo>
                    <a:pt x="28" y="172"/>
                  </a:lnTo>
                  <a:lnTo>
                    <a:pt x="19" y="162"/>
                  </a:lnTo>
                  <a:lnTo>
                    <a:pt x="19" y="153"/>
                  </a:lnTo>
                  <a:lnTo>
                    <a:pt x="19" y="134"/>
                  </a:lnTo>
                  <a:lnTo>
                    <a:pt x="28" y="124"/>
                  </a:lnTo>
                  <a:lnTo>
                    <a:pt x="28" y="115"/>
                  </a:lnTo>
                  <a:lnTo>
                    <a:pt x="38" y="105"/>
                  </a:lnTo>
                  <a:lnTo>
                    <a:pt x="48" y="105"/>
                  </a:lnTo>
                  <a:lnTo>
                    <a:pt x="48" y="115"/>
                  </a:lnTo>
                  <a:lnTo>
                    <a:pt x="67" y="124"/>
                  </a:lnTo>
                  <a:lnTo>
                    <a:pt x="76" y="115"/>
                  </a:lnTo>
                  <a:lnTo>
                    <a:pt x="67" y="105"/>
                  </a:lnTo>
                  <a:lnTo>
                    <a:pt x="76" y="96"/>
                  </a:lnTo>
                  <a:lnTo>
                    <a:pt x="76" y="86"/>
                  </a:lnTo>
                  <a:lnTo>
                    <a:pt x="86" y="86"/>
                  </a:lnTo>
                  <a:lnTo>
                    <a:pt x="105" y="96"/>
                  </a:lnTo>
                  <a:lnTo>
                    <a:pt x="114" y="76"/>
                  </a:lnTo>
                  <a:lnTo>
                    <a:pt x="114" y="67"/>
                  </a:lnTo>
                  <a:lnTo>
                    <a:pt x="95" y="48"/>
                  </a:lnTo>
                  <a:lnTo>
                    <a:pt x="95" y="38"/>
                  </a:lnTo>
                  <a:lnTo>
                    <a:pt x="86" y="38"/>
                  </a:lnTo>
                  <a:lnTo>
                    <a:pt x="76" y="38"/>
                  </a:lnTo>
                  <a:lnTo>
                    <a:pt x="67" y="38"/>
                  </a:lnTo>
                  <a:lnTo>
                    <a:pt x="57" y="38"/>
                  </a:lnTo>
                  <a:lnTo>
                    <a:pt x="48" y="48"/>
                  </a:lnTo>
                  <a:lnTo>
                    <a:pt x="38" y="38"/>
                  </a:lnTo>
                  <a:lnTo>
                    <a:pt x="48" y="38"/>
                  </a:lnTo>
                  <a:lnTo>
                    <a:pt x="48" y="19"/>
                  </a:lnTo>
                  <a:lnTo>
                    <a:pt x="38" y="19"/>
                  </a:lnTo>
                  <a:lnTo>
                    <a:pt x="38"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34" name="Freeform 313">
              <a:extLst>
                <a:ext uri="{FF2B5EF4-FFF2-40B4-BE49-F238E27FC236}">
                  <a16:creationId xmlns:a16="http://schemas.microsoft.com/office/drawing/2014/main" id="{ADD3A645-BBAC-46B4-B1CF-ACACA85D5618}"/>
                </a:ext>
              </a:extLst>
            </p:cNvPr>
            <p:cNvSpPr>
              <a:spLocks/>
            </p:cNvSpPr>
            <p:nvPr/>
          </p:nvSpPr>
          <p:spPr bwMode="gray">
            <a:xfrm>
              <a:off x="4304" y="2805"/>
              <a:ext cx="143" cy="105"/>
            </a:xfrm>
            <a:custGeom>
              <a:avLst/>
              <a:gdLst>
                <a:gd name="T0" fmla="*/ 124 w 143"/>
                <a:gd name="T1" fmla="*/ 0 h 105"/>
                <a:gd name="T2" fmla="*/ 124 w 143"/>
                <a:gd name="T3" fmla="*/ 10 h 105"/>
                <a:gd name="T4" fmla="*/ 124 w 143"/>
                <a:gd name="T5" fmla="*/ 19 h 105"/>
                <a:gd name="T6" fmla="*/ 124 w 143"/>
                <a:gd name="T7" fmla="*/ 29 h 105"/>
                <a:gd name="T8" fmla="*/ 143 w 143"/>
                <a:gd name="T9" fmla="*/ 38 h 105"/>
                <a:gd name="T10" fmla="*/ 143 w 143"/>
                <a:gd name="T11" fmla="*/ 48 h 105"/>
                <a:gd name="T12" fmla="*/ 134 w 143"/>
                <a:gd name="T13" fmla="*/ 48 h 105"/>
                <a:gd name="T14" fmla="*/ 124 w 143"/>
                <a:gd name="T15" fmla="*/ 38 h 105"/>
                <a:gd name="T16" fmla="*/ 115 w 143"/>
                <a:gd name="T17" fmla="*/ 48 h 105"/>
                <a:gd name="T18" fmla="*/ 124 w 143"/>
                <a:gd name="T19" fmla="*/ 57 h 105"/>
                <a:gd name="T20" fmla="*/ 115 w 143"/>
                <a:gd name="T21" fmla="*/ 76 h 105"/>
                <a:gd name="T22" fmla="*/ 105 w 143"/>
                <a:gd name="T23" fmla="*/ 76 h 105"/>
                <a:gd name="T24" fmla="*/ 105 w 143"/>
                <a:gd name="T25" fmla="*/ 96 h 105"/>
                <a:gd name="T26" fmla="*/ 86 w 143"/>
                <a:gd name="T27" fmla="*/ 105 h 105"/>
                <a:gd name="T28" fmla="*/ 77 w 143"/>
                <a:gd name="T29" fmla="*/ 105 h 105"/>
                <a:gd name="T30" fmla="*/ 77 w 143"/>
                <a:gd name="T31" fmla="*/ 105 h 105"/>
                <a:gd name="T32" fmla="*/ 67 w 143"/>
                <a:gd name="T33" fmla="*/ 96 h 105"/>
                <a:gd name="T34" fmla="*/ 67 w 143"/>
                <a:gd name="T35" fmla="*/ 105 h 105"/>
                <a:gd name="T36" fmla="*/ 58 w 143"/>
                <a:gd name="T37" fmla="*/ 96 h 105"/>
                <a:gd name="T38" fmla="*/ 48 w 143"/>
                <a:gd name="T39" fmla="*/ 96 h 105"/>
                <a:gd name="T40" fmla="*/ 39 w 143"/>
                <a:gd name="T41" fmla="*/ 105 h 105"/>
                <a:gd name="T42" fmla="*/ 39 w 143"/>
                <a:gd name="T43" fmla="*/ 96 h 105"/>
                <a:gd name="T44" fmla="*/ 20 w 143"/>
                <a:gd name="T45" fmla="*/ 96 h 105"/>
                <a:gd name="T46" fmla="*/ 10 w 143"/>
                <a:gd name="T47" fmla="*/ 67 h 105"/>
                <a:gd name="T48" fmla="*/ 0 w 143"/>
                <a:gd name="T49" fmla="*/ 67 h 105"/>
                <a:gd name="T50" fmla="*/ 0 w 143"/>
                <a:gd name="T51" fmla="*/ 38 h 105"/>
                <a:gd name="T52" fmla="*/ 0 w 143"/>
                <a:gd name="T53" fmla="*/ 29 h 105"/>
                <a:gd name="T54" fmla="*/ 10 w 143"/>
                <a:gd name="T55" fmla="*/ 29 h 105"/>
                <a:gd name="T56" fmla="*/ 10 w 143"/>
                <a:gd name="T57" fmla="*/ 29 h 105"/>
                <a:gd name="T58" fmla="*/ 10 w 143"/>
                <a:gd name="T59" fmla="*/ 38 h 105"/>
                <a:gd name="T60" fmla="*/ 10 w 143"/>
                <a:gd name="T61" fmla="*/ 48 h 105"/>
                <a:gd name="T62" fmla="*/ 39 w 143"/>
                <a:gd name="T63" fmla="*/ 48 h 105"/>
                <a:gd name="T64" fmla="*/ 48 w 143"/>
                <a:gd name="T65" fmla="*/ 38 h 105"/>
                <a:gd name="T66" fmla="*/ 48 w 143"/>
                <a:gd name="T67" fmla="*/ 38 h 105"/>
                <a:gd name="T68" fmla="*/ 58 w 143"/>
                <a:gd name="T69" fmla="*/ 38 h 105"/>
                <a:gd name="T70" fmla="*/ 77 w 143"/>
                <a:gd name="T71" fmla="*/ 38 h 105"/>
                <a:gd name="T72" fmla="*/ 86 w 143"/>
                <a:gd name="T73" fmla="*/ 19 h 105"/>
                <a:gd name="T74" fmla="*/ 96 w 143"/>
                <a:gd name="T75" fmla="*/ 10 h 105"/>
                <a:gd name="T76" fmla="*/ 96 w 143"/>
                <a:gd name="T77" fmla="*/ 0 h 105"/>
                <a:gd name="T78" fmla="*/ 115 w 143"/>
                <a:gd name="T79" fmla="*/ 0 h 105"/>
                <a:gd name="T80" fmla="*/ 124 w 143"/>
                <a:gd name="T81" fmla="*/ 0 h 10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3"/>
                <a:gd name="T124" fmla="*/ 0 h 105"/>
                <a:gd name="T125" fmla="*/ 143 w 143"/>
                <a:gd name="T126" fmla="*/ 105 h 10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3" h="105">
                  <a:moveTo>
                    <a:pt x="124" y="0"/>
                  </a:moveTo>
                  <a:lnTo>
                    <a:pt x="124" y="10"/>
                  </a:lnTo>
                  <a:lnTo>
                    <a:pt x="124" y="19"/>
                  </a:lnTo>
                  <a:lnTo>
                    <a:pt x="124" y="29"/>
                  </a:lnTo>
                  <a:lnTo>
                    <a:pt x="143" y="38"/>
                  </a:lnTo>
                  <a:lnTo>
                    <a:pt x="143" y="48"/>
                  </a:lnTo>
                  <a:lnTo>
                    <a:pt x="134" y="48"/>
                  </a:lnTo>
                  <a:lnTo>
                    <a:pt x="124" y="38"/>
                  </a:lnTo>
                  <a:lnTo>
                    <a:pt x="115" y="48"/>
                  </a:lnTo>
                  <a:lnTo>
                    <a:pt x="124" y="57"/>
                  </a:lnTo>
                  <a:lnTo>
                    <a:pt x="115" y="76"/>
                  </a:lnTo>
                  <a:lnTo>
                    <a:pt x="105" y="76"/>
                  </a:lnTo>
                  <a:lnTo>
                    <a:pt x="105" y="96"/>
                  </a:lnTo>
                  <a:lnTo>
                    <a:pt x="86" y="105"/>
                  </a:lnTo>
                  <a:lnTo>
                    <a:pt x="77" y="105"/>
                  </a:lnTo>
                  <a:lnTo>
                    <a:pt x="67" y="96"/>
                  </a:lnTo>
                  <a:lnTo>
                    <a:pt x="67" y="105"/>
                  </a:lnTo>
                  <a:lnTo>
                    <a:pt x="58" y="96"/>
                  </a:lnTo>
                  <a:lnTo>
                    <a:pt x="48" y="96"/>
                  </a:lnTo>
                  <a:lnTo>
                    <a:pt x="39" y="105"/>
                  </a:lnTo>
                  <a:lnTo>
                    <a:pt x="39" y="96"/>
                  </a:lnTo>
                  <a:lnTo>
                    <a:pt x="20" y="96"/>
                  </a:lnTo>
                  <a:lnTo>
                    <a:pt x="10" y="67"/>
                  </a:lnTo>
                  <a:lnTo>
                    <a:pt x="0" y="67"/>
                  </a:lnTo>
                  <a:lnTo>
                    <a:pt x="0" y="38"/>
                  </a:lnTo>
                  <a:lnTo>
                    <a:pt x="0" y="29"/>
                  </a:lnTo>
                  <a:lnTo>
                    <a:pt x="10" y="29"/>
                  </a:lnTo>
                  <a:lnTo>
                    <a:pt x="10" y="38"/>
                  </a:lnTo>
                  <a:lnTo>
                    <a:pt x="10" y="48"/>
                  </a:lnTo>
                  <a:lnTo>
                    <a:pt x="39" y="48"/>
                  </a:lnTo>
                  <a:lnTo>
                    <a:pt x="48" y="38"/>
                  </a:lnTo>
                  <a:lnTo>
                    <a:pt x="58" y="38"/>
                  </a:lnTo>
                  <a:lnTo>
                    <a:pt x="77" y="38"/>
                  </a:lnTo>
                  <a:lnTo>
                    <a:pt x="86" y="19"/>
                  </a:lnTo>
                  <a:lnTo>
                    <a:pt x="96" y="10"/>
                  </a:lnTo>
                  <a:lnTo>
                    <a:pt x="96" y="0"/>
                  </a:lnTo>
                  <a:lnTo>
                    <a:pt x="115" y="0"/>
                  </a:lnTo>
                  <a:lnTo>
                    <a:pt x="124"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35" name="Freeform 314">
              <a:extLst>
                <a:ext uri="{FF2B5EF4-FFF2-40B4-BE49-F238E27FC236}">
                  <a16:creationId xmlns:a16="http://schemas.microsoft.com/office/drawing/2014/main" id="{648FF951-8C8B-412C-B12B-97EFA43B2658}"/>
                </a:ext>
              </a:extLst>
            </p:cNvPr>
            <p:cNvSpPr>
              <a:spLocks/>
            </p:cNvSpPr>
            <p:nvPr/>
          </p:nvSpPr>
          <p:spPr bwMode="gray">
            <a:xfrm>
              <a:off x="4304" y="2805"/>
              <a:ext cx="143" cy="105"/>
            </a:xfrm>
            <a:custGeom>
              <a:avLst/>
              <a:gdLst>
                <a:gd name="T0" fmla="*/ 124 w 143"/>
                <a:gd name="T1" fmla="*/ 0 h 105"/>
                <a:gd name="T2" fmla="*/ 124 w 143"/>
                <a:gd name="T3" fmla="*/ 10 h 105"/>
                <a:gd name="T4" fmla="*/ 124 w 143"/>
                <a:gd name="T5" fmla="*/ 19 h 105"/>
                <a:gd name="T6" fmla="*/ 124 w 143"/>
                <a:gd name="T7" fmla="*/ 29 h 105"/>
                <a:gd name="T8" fmla="*/ 143 w 143"/>
                <a:gd name="T9" fmla="*/ 38 h 105"/>
                <a:gd name="T10" fmla="*/ 143 w 143"/>
                <a:gd name="T11" fmla="*/ 48 h 105"/>
                <a:gd name="T12" fmla="*/ 134 w 143"/>
                <a:gd name="T13" fmla="*/ 48 h 105"/>
                <a:gd name="T14" fmla="*/ 124 w 143"/>
                <a:gd name="T15" fmla="*/ 38 h 105"/>
                <a:gd name="T16" fmla="*/ 115 w 143"/>
                <a:gd name="T17" fmla="*/ 48 h 105"/>
                <a:gd name="T18" fmla="*/ 124 w 143"/>
                <a:gd name="T19" fmla="*/ 57 h 105"/>
                <a:gd name="T20" fmla="*/ 115 w 143"/>
                <a:gd name="T21" fmla="*/ 76 h 105"/>
                <a:gd name="T22" fmla="*/ 105 w 143"/>
                <a:gd name="T23" fmla="*/ 76 h 105"/>
                <a:gd name="T24" fmla="*/ 105 w 143"/>
                <a:gd name="T25" fmla="*/ 96 h 105"/>
                <a:gd name="T26" fmla="*/ 86 w 143"/>
                <a:gd name="T27" fmla="*/ 105 h 105"/>
                <a:gd name="T28" fmla="*/ 77 w 143"/>
                <a:gd name="T29" fmla="*/ 105 h 105"/>
                <a:gd name="T30" fmla="*/ 77 w 143"/>
                <a:gd name="T31" fmla="*/ 105 h 105"/>
                <a:gd name="T32" fmla="*/ 67 w 143"/>
                <a:gd name="T33" fmla="*/ 96 h 105"/>
                <a:gd name="T34" fmla="*/ 67 w 143"/>
                <a:gd name="T35" fmla="*/ 105 h 105"/>
                <a:gd name="T36" fmla="*/ 58 w 143"/>
                <a:gd name="T37" fmla="*/ 96 h 105"/>
                <a:gd name="T38" fmla="*/ 48 w 143"/>
                <a:gd name="T39" fmla="*/ 96 h 105"/>
                <a:gd name="T40" fmla="*/ 39 w 143"/>
                <a:gd name="T41" fmla="*/ 105 h 105"/>
                <a:gd name="T42" fmla="*/ 39 w 143"/>
                <a:gd name="T43" fmla="*/ 96 h 105"/>
                <a:gd name="T44" fmla="*/ 20 w 143"/>
                <a:gd name="T45" fmla="*/ 96 h 105"/>
                <a:gd name="T46" fmla="*/ 10 w 143"/>
                <a:gd name="T47" fmla="*/ 67 h 105"/>
                <a:gd name="T48" fmla="*/ 0 w 143"/>
                <a:gd name="T49" fmla="*/ 67 h 105"/>
                <a:gd name="T50" fmla="*/ 0 w 143"/>
                <a:gd name="T51" fmla="*/ 38 h 105"/>
                <a:gd name="T52" fmla="*/ 0 w 143"/>
                <a:gd name="T53" fmla="*/ 29 h 105"/>
                <a:gd name="T54" fmla="*/ 10 w 143"/>
                <a:gd name="T55" fmla="*/ 29 h 105"/>
                <a:gd name="T56" fmla="*/ 10 w 143"/>
                <a:gd name="T57" fmla="*/ 29 h 105"/>
                <a:gd name="T58" fmla="*/ 10 w 143"/>
                <a:gd name="T59" fmla="*/ 38 h 105"/>
                <a:gd name="T60" fmla="*/ 10 w 143"/>
                <a:gd name="T61" fmla="*/ 48 h 105"/>
                <a:gd name="T62" fmla="*/ 39 w 143"/>
                <a:gd name="T63" fmla="*/ 48 h 105"/>
                <a:gd name="T64" fmla="*/ 48 w 143"/>
                <a:gd name="T65" fmla="*/ 38 h 105"/>
                <a:gd name="T66" fmla="*/ 48 w 143"/>
                <a:gd name="T67" fmla="*/ 38 h 105"/>
                <a:gd name="T68" fmla="*/ 58 w 143"/>
                <a:gd name="T69" fmla="*/ 38 h 105"/>
                <a:gd name="T70" fmla="*/ 77 w 143"/>
                <a:gd name="T71" fmla="*/ 38 h 105"/>
                <a:gd name="T72" fmla="*/ 86 w 143"/>
                <a:gd name="T73" fmla="*/ 19 h 105"/>
                <a:gd name="T74" fmla="*/ 96 w 143"/>
                <a:gd name="T75" fmla="*/ 10 h 105"/>
                <a:gd name="T76" fmla="*/ 96 w 143"/>
                <a:gd name="T77" fmla="*/ 0 h 105"/>
                <a:gd name="T78" fmla="*/ 115 w 143"/>
                <a:gd name="T79" fmla="*/ 0 h 105"/>
                <a:gd name="T80" fmla="*/ 124 w 143"/>
                <a:gd name="T81" fmla="*/ 0 h 10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3"/>
                <a:gd name="T124" fmla="*/ 0 h 105"/>
                <a:gd name="T125" fmla="*/ 143 w 143"/>
                <a:gd name="T126" fmla="*/ 105 h 10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3" h="105">
                  <a:moveTo>
                    <a:pt x="124" y="0"/>
                  </a:moveTo>
                  <a:lnTo>
                    <a:pt x="124" y="10"/>
                  </a:lnTo>
                  <a:lnTo>
                    <a:pt x="124" y="19"/>
                  </a:lnTo>
                  <a:lnTo>
                    <a:pt x="124" y="29"/>
                  </a:lnTo>
                  <a:lnTo>
                    <a:pt x="143" y="38"/>
                  </a:lnTo>
                  <a:lnTo>
                    <a:pt x="143" y="48"/>
                  </a:lnTo>
                  <a:lnTo>
                    <a:pt x="134" y="48"/>
                  </a:lnTo>
                  <a:lnTo>
                    <a:pt x="124" y="38"/>
                  </a:lnTo>
                  <a:lnTo>
                    <a:pt x="115" y="48"/>
                  </a:lnTo>
                  <a:lnTo>
                    <a:pt x="124" y="57"/>
                  </a:lnTo>
                  <a:lnTo>
                    <a:pt x="115" y="76"/>
                  </a:lnTo>
                  <a:lnTo>
                    <a:pt x="105" y="76"/>
                  </a:lnTo>
                  <a:lnTo>
                    <a:pt x="105" y="96"/>
                  </a:lnTo>
                  <a:lnTo>
                    <a:pt x="86" y="105"/>
                  </a:lnTo>
                  <a:lnTo>
                    <a:pt x="77" y="105"/>
                  </a:lnTo>
                  <a:lnTo>
                    <a:pt x="67" y="96"/>
                  </a:lnTo>
                  <a:lnTo>
                    <a:pt x="67" y="105"/>
                  </a:lnTo>
                  <a:lnTo>
                    <a:pt x="58" y="96"/>
                  </a:lnTo>
                  <a:lnTo>
                    <a:pt x="48" y="96"/>
                  </a:lnTo>
                  <a:lnTo>
                    <a:pt x="39" y="105"/>
                  </a:lnTo>
                  <a:lnTo>
                    <a:pt x="39" y="96"/>
                  </a:lnTo>
                  <a:lnTo>
                    <a:pt x="20" y="96"/>
                  </a:lnTo>
                  <a:lnTo>
                    <a:pt x="10" y="67"/>
                  </a:lnTo>
                  <a:lnTo>
                    <a:pt x="0" y="67"/>
                  </a:lnTo>
                  <a:lnTo>
                    <a:pt x="0" y="38"/>
                  </a:lnTo>
                  <a:lnTo>
                    <a:pt x="0" y="29"/>
                  </a:lnTo>
                  <a:lnTo>
                    <a:pt x="10" y="29"/>
                  </a:lnTo>
                  <a:lnTo>
                    <a:pt x="10" y="38"/>
                  </a:lnTo>
                  <a:lnTo>
                    <a:pt x="10" y="48"/>
                  </a:lnTo>
                  <a:lnTo>
                    <a:pt x="39" y="48"/>
                  </a:lnTo>
                  <a:lnTo>
                    <a:pt x="48" y="38"/>
                  </a:lnTo>
                  <a:lnTo>
                    <a:pt x="58" y="38"/>
                  </a:lnTo>
                  <a:lnTo>
                    <a:pt x="77" y="38"/>
                  </a:lnTo>
                  <a:lnTo>
                    <a:pt x="86" y="19"/>
                  </a:lnTo>
                  <a:lnTo>
                    <a:pt x="96" y="10"/>
                  </a:lnTo>
                  <a:lnTo>
                    <a:pt x="96" y="0"/>
                  </a:lnTo>
                  <a:lnTo>
                    <a:pt x="115" y="0"/>
                  </a:lnTo>
                  <a:lnTo>
                    <a:pt x="124"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36" name="Freeform 315">
              <a:extLst>
                <a:ext uri="{FF2B5EF4-FFF2-40B4-BE49-F238E27FC236}">
                  <a16:creationId xmlns:a16="http://schemas.microsoft.com/office/drawing/2014/main" id="{79849A07-288E-4E38-A376-AE2EAC35AD28}"/>
                </a:ext>
              </a:extLst>
            </p:cNvPr>
            <p:cNvSpPr>
              <a:spLocks/>
            </p:cNvSpPr>
            <p:nvPr/>
          </p:nvSpPr>
          <p:spPr bwMode="gray">
            <a:xfrm>
              <a:off x="4314" y="2767"/>
              <a:ext cx="133" cy="86"/>
            </a:xfrm>
            <a:custGeom>
              <a:avLst/>
              <a:gdLst>
                <a:gd name="T0" fmla="*/ 0 w 133"/>
                <a:gd name="T1" fmla="*/ 67 h 86"/>
                <a:gd name="T2" fmla="*/ 19 w 133"/>
                <a:gd name="T3" fmla="*/ 67 h 86"/>
                <a:gd name="T4" fmla="*/ 19 w 133"/>
                <a:gd name="T5" fmla="*/ 57 h 86"/>
                <a:gd name="T6" fmla="*/ 29 w 133"/>
                <a:gd name="T7" fmla="*/ 57 h 86"/>
                <a:gd name="T8" fmla="*/ 38 w 133"/>
                <a:gd name="T9" fmla="*/ 48 h 86"/>
                <a:gd name="T10" fmla="*/ 48 w 133"/>
                <a:gd name="T11" fmla="*/ 48 h 86"/>
                <a:gd name="T12" fmla="*/ 57 w 133"/>
                <a:gd name="T13" fmla="*/ 29 h 86"/>
                <a:gd name="T14" fmla="*/ 67 w 133"/>
                <a:gd name="T15" fmla="*/ 29 h 86"/>
                <a:gd name="T16" fmla="*/ 67 w 133"/>
                <a:gd name="T17" fmla="*/ 38 h 86"/>
                <a:gd name="T18" fmla="*/ 67 w 133"/>
                <a:gd name="T19" fmla="*/ 38 h 86"/>
                <a:gd name="T20" fmla="*/ 67 w 133"/>
                <a:gd name="T21" fmla="*/ 38 h 86"/>
                <a:gd name="T22" fmla="*/ 76 w 133"/>
                <a:gd name="T23" fmla="*/ 38 h 86"/>
                <a:gd name="T24" fmla="*/ 76 w 133"/>
                <a:gd name="T25" fmla="*/ 38 h 86"/>
                <a:gd name="T26" fmla="*/ 76 w 133"/>
                <a:gd name="T27" fmla="*/ 29 h 86"/>
                <a:gd name="T28" fmla="*/ 86 w 133"/>
                <a:gd name="T29" fmla="*/ 19 h 86"/>
                <a:gd name="T30" fmla="*/ 105 w 133"/>
                <a:gd name="T31" fmla="*/ 0 h 86"/>
                <a:gd name="T32" fmla="*/ 114 w 133"/>
                <a:gd name="T33" fmla="*/ 9 h 86"/>
                <a:gd name="T34" fmla="*/ 124 w 133"/>
                <a:gd name="T35" fmla="*/ 9 h 86"/>
                <a:gd name="T36" fmla="*/ 133 w 133"/>
                <a:gd name="T37" fmla="*/ 19 h 86"/>
                <a:gd name="T38" fmla="*/ 124 w 133"/>
                <a:gd name="T39" fmla="*/ 29 h 86"/>
                <a:gd name="T40" fmla="*/ 124 w 133"/>
                <a:gd name="T41" fmla="*/ 29 h 86"/>
                <a:gd name="T42" fmla="*/ 114 w 133"/>
                <a:gd name="T43" fmla="*/ 38 h 86"/>
                <a:gd name="T44" fmla="*/ 114 w 133"/>
                <a:gd name="T45" fmla="*/ 38 h 86"/>
                <a:gd name="T46" fmla="*/ 105 w 133"/>
                <a:gd name="T47" fmla="*/ 38 h 86"/>
                <a:gd name="T48" fmla="*/ 86 w 133"/>
                <a:gd name="T49" fmla="*/ 38 h 86"/>
                <a:gd name="T50" fmla="*/ 86 w 133"/>
                <a:gd name="T51" fmla="*/ 48 h 86"/>
                <a:gd name="T52" fmla="*/ 76 w 133"/>
                <a:gd name="T53" fmla="*/ 57 h 86"/>
                <a:gd name="T54" fmla="*/ 67 w 133"/>
                <a:gd name="T55" fmla="*/ 76 h 86"/>
                <a:gd name="T56" fmla="*/ 48 w 133"/>
                <a:gd name="T57" fmla="*/ 76 h 86"/>
                <a:gd name="T58" fmla="*/ 38 w 133"/>
                <a:gd name="T59" fmla="*/ 76 h 86"/>
                <a:gd name="T60" fmla="*/ 38 w 133"/>
                <a:gd name="T61" fmla="*/ 76 h 86"/>
                <a:gd name="T62" fmla="*/ 29 w 133"/>
                <a:gd name="T63" fmla="*/ 86 h 86"/>
                <a:gd name="T64" fmla="*/ 0 w 133"/>
                <a:gd name="T65" fmla="*/ 86 h 86"/>
                <a:gd name="T66" fmla="*/ 0 w 133"/>
                <a:gd name="T67" fmla="*/ 76 h 86"/>
                <a:gd name="T68" fmla="*/ 0 w 133"/>
                <a:gd name="T69" fmla="*/ 67 h 86"/>
                <a:gd name="T70" fmla="*/ 0 w 133"/>
                <a:gd name="T71" fmla="*/ 67 h 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3"/>
                <a:gd name="T109" fmla="*/ 0 h 86"/>
                <a:gd name="T110" fmla="*/ 133 w 133"/>
                <a:gd name="T111" fmla="*/ 86 h 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3" h="86">
                  <a:moveTo>
                    <a:pt x="0" y="67"/>
                  </a:moveTo>
                  <a:lnTo>
                    <a:pt x="19" y="67"/>
                  </a:lnTo>
                  <a:lnTo>
                    <a:pt x="19" y="57"/>
                  </a:lnTo>
                  <a:lnTo>
                    <a:pt x="29" y="57"/>
                  </a:lnTo>
                  <a:lnTo>
                    <a:pt x="38" y="48"/>
                  </a:lnTo>
                  <a:lnTo>
                    <a:pt x="48" y="48"/>
                  </a:lnTo>
                  <a:lnTo>
                    <a:pt x="57" y="29"/>
                  </a:lnTo>
                  <a:lnTo>
                    <a:pt x="67" y="29"/>
                  </a:lnTo>
                  <a:lnTo>
                    <a:pt x="67" y="38"/>
                  </a:lnTo>
                  <a:lnTo>
                    <a:pt x="76" y="38"/>
                  </a:lnTo>
                  <a:lnTo>
                    <a:pt x="76" y="29"/>
                  </a:lnTo>
                  <a:lnTo>
                    <a:pt x="86" y="19"/>
                  </a:lnTo>
                  <a:lnTo>
                    <a:pt x="105" y="0"/>
                  </a:lnTo>
                  <a:lnTo>
                    <a:pt x="114" y="9"/>
                  </a:lnTo>
                  <a:lnTo>
                    <a:pt x="124" y="9"/>
                  </a:lnTo>
                  <a:lnTo>
                    <a:pt x="133" y="19"/>
                  </a:lnTo>
                  <a:lnTo>
                    <a:pt x="124" y="29"/>
                  </a:lnTo>
                  <a:lnTo>
                    <a:pt x="114" y="38"/>
                  </a:lnTo>
                  <a:lnTo>
                    <a:pt x="105" y="38"/>
                  </a:lnTo>
                  <a:lnTo>
                    <a:pt x="86" y="38"/>
                  </a:lnTo>
                  <a:lnTo>
                    <a:pt x="86" y="48"/>
                  </a:lnTo>
                  <a:lnTo>
                    <a:pt x="76" y="57"/>
                  </a:lnTo>
                  <a:lnTo>
                    <a:pt x="67" y="76"/>
                  </a:lnTo>
                  <a:lnTo>
                    <a:pt x="48" y="76"/>
                  </a:lnTo>
                  <a:lnTo>
                    <a:pt x="38" y="76"/>
                  </a:lnTo>
                  <a:lnTo>
                    <a:pt x="29" y="86"/>
                  </a:lnTo>
                  <a:lnTo>
                    <a:pt x="0" y="86"/>
                  </a:lnTo>
                  <a:lnTo>
                    <a:pt x="0" y="76"/>
                  </a:lnTo>
                  <a:lnTo>
                    <a:pt x="0" y="6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37" name="Freeform 316">
              <a:extLst>
                <a:ext uri="{FF2B5EF4-FFF2-40B4-BE49-F238E27FC236}">
                  <a16:creationId xmlns:a16="http://schemas.microsoft.com/office/drawing/2014/main" id="{555A0FFE-9B4A-4BC7-ACB1-CCD1FD0FD926}"/>
                </a:ext>
              </a:extLst>
            </p:cNvPr>
            <p:cNvSpPr>
              <a:spLocks/>
            </p:cNvSpPr>
            <p:nvPr/>
          </p:nvSpPr>
          <p:spPr bwMode="gray">
            <a:xfrm>
              <a:off x="4314" y="2767"/>
              <a:ext cx="133" cy="86"/>
            </a:xfrm>
            <a:custGeom>
              <a:avLst/>
              <a:gdLst>
                <a:gd name="T0" fmla="*/ 0 w 133"/>
                <a:gd name="T1" fmla="*/ 67 h 86"/>
                <a:gd name="T2" fmla="*/ 19 w 133"/>
                <a:gd name="T3" fmla="*/ 67 h 86"/>
                <a:gd name="T4" fmla="*/ 19 w 133"/>
                <a:gd name="T5" fmla="*/ 57 h 86"/>
                <a:gd name="T6" fmla="*/ 29 w 133"/>
                <a:gd name="T7" fmla="*/ 57 h 86"/>
                <a:gd name="T8" fmla="*/ 38 w 133"/>
                <a:gd name="T9" fmla="*/ 48 h 86"/>
                <a:gd name="T10" fmla="*/ 48 w 133"/>
                <a:gd name="T11" fmla="*/ 48 h 86"/>
                <a:gd name="T12" fmla="*/ 57 w 133"/>
                <a:gd name="T13" fmla="*/ 29 h 86"/>
                <a:gd name="T14" fmla="*/ 67 w 133"/>
                <a:gd name="T15" fmla="*/ 29 h 86"/>
                <a:gd name="T16" fmla="*/ 67 w 133"/>
                <a:gd name="T17" fmla="*/ 38 h 86"/>
                <a:gd name="T18" fmla="*/ 67 w 133"/>
                <a:gd name="T19" fmla="*/ 38 h 86"/>
                <a:gd name="T20" fmla="*/ 67 w 133"/>
                <a:gd name="T21" fmla="*/ 38 h 86"/>
                <a:gd name="T22" fmla="*/ 76 w 133"/>
                <a:gd name="T23" fmla="*/ 38 h 86"/>
                <a:gd name="T24" fmla="*/ 76 w 133"/>
                <a:gd name="T25" fmla="*/ 38 h 86"/>
                <a:gd name="T26" fmla="*/ 76 w 133"/>
                <a:gd name="T27" fmla="*/ 29 h 86"/>
                <a:gd name="T28" fmla="*/ 86 w 133"/>
                <a:gd name="T29" fmla="*/ 19 h 86"/>
                <a:gd name="T30" fmla="*/ 105 w 133"/>
                <a:gd name="T31" fmla="*/ 0 h 86"/>
                <a:gd name="T32" fmla="*/ 114 w 133"/>
                <a:gd name="T33" fmla="*/ 9 h 86"/>
                <a:gd name="T34" fmla="*/ 124 w 133"/>
                <a:gd name="T35" fmla="*/ 9 h 86"/>
                <a:gd name="T36" fmla="*/ 133 w 133"/>
                <a:gd name="T37" fmla="*/ 19 h 86"/>
                <a:gd name="T38" fmla="*/ 124 w 133"/>
                <a:gd name="T39" fmla="*/ 29 h 86"/>
                <a:gd name="T40" fmla="*/ 124 w 133"/>
                <a:gd name="T41" fmla="*/ 29 h 86"/>
                <a:gd name="T42" fmla="*/ 114 w 133"/>
                <a:gd name="T43" fmla="*/ 38 h 86"/>
                <a:gd name="T44" fmla="*/ 114 w 133"/>
                <a:gd name="T45" fmla="*/ 38 h 86"/>
                <a:gd name="T46" fmla="*/ 105 w 133"/>
                <a:gd name="T47" fmla="*/ 38 h 86"/>
                <a:gd name="T48" fmla="*/ 86 w 133"/>
                <a:gd name="T49" fmla="*/ 38 h 86"/>
                <a:gd name="T50" fmla="*/ 86 w 133"/>
                <a:gd name="T51" fmla="*/ 48 h 86"/>
                <a:gd name="T52" fmla="*/ 76 w 133"/>
                <a:gd name="T53" fmla="*/ 57 h 86"/>
                <a:gd name="T54" fmla="*/ 67 w 133"/>
                <a:gd name="T55" fmla="*/ 76 h 86"/>
                <a:gd name="T56" fmla="*/ 48 w 133"/>
                <a:gd name="T57" fmla="*/ 76 h 86"/>
                <a:gd name="T58" fmla="*/ 38 w 133"/>
                <a:gd name="T59" fmla="*/ 76 h 86"/>
                <a:gd name="T60" fmla="*/ 38 w 133"/>
                <a:gd name="T61" fmla="*/ 76 h 86"/>
                <a:gd name="T62" fmla="*/ 29 w 133"/>
                <a:gd name="T63" fmla="*/ 86 h 86"/>
                <a:gd name="T64" fmla="*/ 0 w 133"/>
                <a:gd name="T65" fmla="*/ 86 h 86"/>
                <a:gd name="T66" fmla="*/ 0 w 133"/>
                <a:gd name="T67" fmla="*/ 76 h 86"/>
                <a:gd name="T68" fmla="*/ 0 w 133"/>
                <a:gd name="T69" fmla="*/ 67 h 86"/>
                <a:gd name="T70" fmla="*/ 0 w 133"/>
                <a:gd name="T71" fmla="*/ 67 h 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3"/>
                <a:gd name="T109" fmla="*/ 0 h 86"/>
                <a:gd name="T110" fmla="*/ 133 w 133"/>
                <a:gd name="T111" fmla="*/ 86 h 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3" h="86">
                  <a:moveTo>
                    <a:pt x="0" y="67"/>
                  </a:moveTo>
                  <a:lnTo>
                    <a:pt x="19" y="67"/>
                  </a:lnTo>
                  <a:lnTo>
                    <a:pt x="19" y="57"/>
                  </a:lnTo>
                  <a:lnTo>
                    <a:pt x="29" y="57"/>
                  </a:lnTo>
                  <a:lnTo>
                    <a:pt x="38" y="48"/>
                  </a:lnTo>
                  <a:lnTo>
                    <a:pt x="48" y="48"/>
                  </a:lnTo>
                  <a:lnTo>
                    <a:pt x="57" y="29"/>
                  </a:lnTo>
                  <a:lnTo>
                    <a:pt x="67" y="29"/>
                  </a:lnTo>
                  <a:lnTo>
                    <a:pt x="67" y="38"/>
                  </a:lnTo>
                  <a:lnTo>
                    <a:pt x="76" y="38"/>
                  </a:lnTo>
                  <a:lnTo>
                    <a:pt x="76" y="29"/>
                  </a:lnTo>
                  <a:lnTo>
                    <a:pt x="86" y="19"/>
                  </a:lnTo>
                  <a:lnTo>
                    <a:pt x="105" y="0"/>
                  </a:lnTo>
                  <a:lnTo>
                    <a:pt x="114" y="9"/>
                  </a:lnTo>
                  <a:lnTo>
                    <a:pt x="124" y="9"/>
                  </a:lnTo>
                  <a:lnTo>
                    <a:pt x="133" y="19"/>
                  </a:lnTo>
                  <a:lnTo>
                    <a:pt x="124" y="29"/>
                  </a:lnTo>
                  <a:lnTo>
                    <a:pt x="114" y="38"/>
                  </a:lnTo>
                  <a:lnTo>
                    <a:pt x="105" y="38"/>
                  </a:lnTo>
                  <a:lnTo>
                    <a:pt x="86" y="38"/>
                  </a:lnTo>
                  <a:lnTo>
                    <a:pt x="86" y="48"/>
                  </a:lnTo>
                  <a:lnTo>
                    <a:pt x="76" y="57"/>
                  </a:lnTo>
                  <a:lnTo>
                    <a:pt x="67" y="76"/>
                  </a:lnTo>
                  <a:lnTo>
                    <a:pt x="48" y="76"/>
                  </a:lnTo>
                  <a:lnTo>
                    <a:pt x="38" y="76"/>
                  </a:lnTo>
                  <a:lnTo>
                    <a:pt x="29" y="86"/>
                  </a:lnTo>
                  <a:lnTo>
                    <a:pt x="0" y="86"/>
                  </a:lnTo>
                  <a:lnTo>
                    <a:pt x="0" y="76"/>
                  </a:lnTo>
                  <a:lnTo>
                    <a:pt x="0" y="6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38" name="Freeform 317">
              <a:extLst>
                <a:ext uri="{FF2B5EF4-FFF2-40B4-BE49-F238E27FC236}">
                  <a16:creationId xmlns:a16="http://schemas.microsoft.com/office/drawing/2014/main" id="{ACD49E62-5B6E-49F3-A4F3-46EBAC4BAA1F}"/>
                </a:ext>
              </a:extLst>
            </p:cNvPr>
            <p:cNvSpPr>
              <a:spLocks/>
            </p:cNvSpPr>
            <p:nvPr/>
          </p:nvSpPr>
          <p:spPr bwMode="gray">
            <a:xfrm>
              <a:off x="4629" y="2872"/>
              <a:ext cx="143" cy="114"/>
            </a:xfrm>
            <a:custGeom>
              <a:avLst/>
              <a:gdLst>
                <a:gd name="T0" fmla="*/ 143 w 143"/>
                <a:gd name="T1" fmla="*/ 114 h 114"/>
                <a:gd name="T2" fmla="*/ 143 w 143"/>
                <a:gd name="T3" fmla="*/ 86 h 114"/>
                <a:gd name="T4" fmla="*/ 143 w 143"/>
                <a:gd name="T5" fmla="*/ 76 h 114"/>
                <a:gd name="T6" fmla="*/ 143 w 143"/>
                <a:gd name="T7" fmla="*/ 76 h 114"/>
                <a:gd name="T8" fmla="*/ 143 w 143"/>
                <a:gd name="T9" fmla="*/ 67 h 114"/>
                <a:gd name="T10" fmla="*/ 143 w 143"/>
                <a:gd name="T11" fmla="*/ 19 h 114"/>
                <a:gd name="T12" fmla="*/ 143 w 143"/>
                <a:gd name="T13" fmla="*/ 19 h 114"/>
                <a:gd name="T14" fmla="*/ 133 w 143"/>
                <a:gd name="T15" fmla="*/ 19 h 114"/>
                <a:gd name="T16" fmla="*/ 114 w 143"/>
                <a:gd name="T17" fmla="*/ 9 h 114"/>
                <a:gd name="T18" fmla="*/ 85 w 143"/>
                <a:gd name="T19" fmla="*/ 9 h 114"/>
                <a:gd name="T20" fmla="*/ 76 w 143"/>
                <a:gd name="T21" fmla="*/ 9 h 114"/>
                <a:gd name="T22" fmla="*/ 76 w 143"/>
                <a:gd name="T23" fmla="*/ 19 h 114"/>
                <a:gd name="T24" fmla="*/ 57 w 143"/>
                <a:gd name="T25" fmla="*/ 38 h 114"/>
                <a:gd name="T26" fmla="*/ 57 w 143"/>
                <a:gd name="T27" fmla="*/ 29 h 114"/>
                <a:gd name="T28" fmla="*/ 47 w 143"/>
                <a:gd name="T29" fmla="*/ 19 h 114"/>
                <a:gd name="T30" fmla="*/ 38 w 143"/>
                <a:gd name="T31" fmla="*/ 19 h 114"/>
                <a:gd name="T32" fmla="*/ 38 w 143"/>
                <a:gd name="T33" fmla="*/ 9 h 114"/>
                <a:gd name="T34" fmla="*/ 38 w 143"/>
                <a:gd name="T35" fmla="*/ 0 h 114"/>
                <a:gd name="T36" fmla="*/ 28 w 143"/>
                <a:gd name="T37" fmla="*/ 0 h 114"/>
                <a:gd name="T38" fmla="*/ 19 w 143"/>
                <a:gd name="T39" fmla="*/ 0 h 114"/>
                <a:gd name="T40" fmla="*/ 9 w 143"/>
                <a:gd name="T41" fmla="*/ 0 h 114"/>
                <a:gd name="T42" fmla="*/ 9 w 143"/>
                <a:gd name="T43" fmla="*/ 0 h 114"/>
                <a:gd name="T44" fmla="*/ 0 w 143"/>
                <a:gd name="T45" fmla="*/ 0 h 114"/>
                <a:gd name="T46" fmla="*/ 0 w 143"/>
                <a:gd name="T47" fmla="*/ 9 h 114"/>
                <a:gd name="T48" fmla="*/ 9 w 143"/>
                <a:gd name="T49" fmla="*/ 9 h 114"/>
                <a:gd name="T50" fmla="*/ 9 w 143"/>
                <a:gd name="T51" fmla="*/ 19 h 114"/>
                <a:gd name="T52" fmla="*/ 19 w 143"/>
                <a:gd name="T53" fmla="*/ 19 h 114"/>
                <a:gd name="T54" fmla="*/ 28 w 143"/>
                <a:gd name="T55" fmla="*/ 19 h 114"/>
                <a:gd name="T56" fmla="*/ 38 w 143"/>
                <a:gd name="T57" fmla="*/ 19 h 114"/>
                <a:gd name="T58" fmla="*/ 28 w 143"/>
                <a:gd name="T59" fmla="*/ 29 h 114"/>
                <a:gd name="T60" fmla="*/ 9 w 143"/>
                <a:gd name="T61" fmla="*/ 29 h 114"/>
                <a:gd name="T62" fmla="*/ 9 w 143"/>
                <a:gd name="T63" fmla="*/ 29 h 114"/>
                <a:gd name="T64" fmla="*/ 19 w 143"/>
                <a:gd name="T65" fmla="*/ 29 h 114"/>
                <a:gd name="T66" fmla="*/ 19 w 143"/>
                <a:gd name="T67" fmla="*/ 38 h 114"/>
                <a:gd name="T68" fmla="*/ 28 w 143"/>
                <a:gd name="T69" fmla="*/ 48 h 114"/>
                <a:gd name="T70" fmla="*/ 28 w 143"/>
                <a:gd name="T71" fmla="*/ 38 h 114"/>
                <a:gd name="T72" fmla="*/ 38 w 143"/>
                <a:gd name="T73" fmla="*/ 38 h 114"/>
                <a:gd name="T74" fmla="*/ 47 w 143"/>
                <a:gd name="T75" fmla="*/ 48 h 114"/>
                <a:gd name="T76" fmla="*/ 66 w 143"/>
                <a:gd name="T77" fmla="*/ 48 h 114"/>
                <a:gd name="T78" fmla="*/ 76 w 143"/>
                <a:gd name="T79" fmla="*/ 57 h 114"/>
                <a:gd name="T80" fmla="*/ 85 w 143"/>
                <a:gd name="T81" fmla="*/ 57 h 114"/>
                <a:gd name="T82" fmla="*/ 104 w 143"/>
                <a:gd name="T83" fmla="*/ 67 h 114"/>
                <a:gd name="T84" fmla="*/ 104 w 143"/>
                <a:gd name="T85" fmla="*/ 76 h 114"/>
                <a:gd name="T86" fmla="*/ 114 w 143"/>
                <a:gd name="T87" fmla="*/ 86 h 114"/>
                <a:gd name="T88" fmla="*/ 114 w 143"/>
                <a:gd name="T89" fmla="*/ 86 h 114"/>
                <a:gd name="T90" fmla="*/ 114 w 143"/>
                <a:gd name="T91" fmla="*/ 105 h 114"/>
                <a:gd name="T92" fmla="*/ 123 w 143"/>
                <a:gd name="T93" fmla="*/ 95 h 114"/>
                <a:gd name="T94" fmla="*/ 133 w 143"/>
                <a:gd name="T95" fmla="*/ 105 h 114"/>
                <a:gd name="T96" fmla="*/ 143 w 143"/>
                <a:gd name="T97" fmla="*/ 114 h 1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43"/>
                <a:gd name="T148" fmla="*/ 0 h 114"/>
                <a:gd name="T149" fmla="*/ 143 w 143"/>
                <a:gd name="T150" fmla="*/ 114 h 1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43" h="114">
                  <a:moveTo>
                    <a:pt x="143" y="114"/>
                  </a:moveTo>
                  <a:lnTo>
                    <a:pt x="143" y="86"/>
                  </a:lnTo>
                  <a:lnTo>
                    <a:pt x="143" y="76"/>
                  </a:lnTo>
                  <a:lnTo>
                    <a:pt x="143" y="67"/>
                  </a:lnTo>
                  <a:lnTo>
                    <a:pt x="143" y="19"/>
                  </a:lnTo>
                  <a:lnTo>
                    <a:pt x="133" y="19"/>
                  </a:lnTo>
                  <a:lnTo>
                    <a:pt x="114" y="9"/>
                  </a:lnTo>
                  <a:lnTo>
                    <a:pt x="85" y="9"/>
                  </a:lnTo>
                  <a:lnTo>
                    <a:pt x="76" y="9"/>
                  </a:lnTo>
                  <a:lnTo>
                    <a:pt x="76" y="19"/>
                  </a:lnTo>
                  <a:lnTo>
                    <a:pt x="57" y="38"/>
                  </a:lnTo>
                  <a:lnTo>
                    <a:pt x="57" y="29"/>
                  </a:lnTo>
                  <a:lnTo>
                    <a:pt x="47" y="19"/>
                  </a:lnTo>
                  <a:lnTo>
                    <a:pt x="38" y="19"/>
                  </a:lnTo>
                  <a:lnTo>
                    <a:pt x="38" y="9"/>
                  </a:lnTo>
                  <a:lnTo>
                    <a:pt x="38" y="0"/>
                  </a:lnTo>
                  <a:lnTo>
                    <a:pt x="28" y="0"/>
                  </a:lnTo>
                  <a:lnTo>
                    <a:pt x="19" y="0"/>
                  </a:lnTo>
                  <a:lnTo>
                    <a:pt x="9" y="0"/>
                  </a:lnTo>
                  <a:lnTo>
                    <a:pt x="0" y="0"/>
                  </a:lnTo>
                  <a:lnTo>
                    <a:pt x="0" y="9"/>
                  </a:lnTo>
                  <a:lnTo>
                    <a:pt x="9" y="9"/>
                  </a:lnTo>
                  <a:lnTo>
                    <a:pt x="9" y="19"/>
                  </a:lnTo>
                  <a:lnTo>
                    <a:pt x="19" y="19"/>
                  </a:lnTo>
                  <a:lnTo>
                    <a:pt x="28" y="19"/>
                  </a:lnTo>
                  <a:lnTo>
                    <a:pt x="38" y="19"/>
                  </a:lnTo>
                  <a:lnTo>
                    <a:pt x="28" y="29"/>
                  </a:lnTo>
                  <a:lnTo>
                    <a:pt x="9" y="29"/>
                  </a:lnTo>
                  <a:lnTo>
                    <a:pt x="19" y="29"/>
                  </a:lnTo>
                  <a:lnTo>
                    <a:pt x="19" y="38"/>
                  </a:lnTo>
                  <a:lnTo>
                    <a:pt x="28" y="48"/>
                  </a:lnTo>
                  <a:lnTo>
                    <a:pt x="28" y="38"/>
                  </a:lnTo>
                  <a:lnTo>
                    <a:pt x="38" y="38"/>
                  </a:lnTo>
                  <a:lnTo>
                    <a:pt x="47" y="48"/>
                  </a:lnTo>
                  <a:lnTo>
                    <a:pt x="66" y="48"/>
                  </a:lnTo>
                  <a:lnTo>
                    <a:pt x="76" y="57"/>
                  </a:lnTo>
                  <a:lnTo>
                    <a:pt x="85" y="57"/>
                  </a:lnTo>
                  <a:lnTo>
                    <a:pt x="104" y="67"/>
                  </a:lnTo>
                  <a:lnTo>
                    <a:pt x="104" y="76"/>
                  </a:lnTo>
                  <a:lnTo>
                    <a:pt x="114" y="86"/>
                  </a:lnTo>
                  <a:lnTo>
                    <a:pt x="114" y="105"/>
                  </a:lnTo>
                  <a:lnTo>
                    <a:pt x="123" y="95"/>
                  </a:lnTo>
                  <a:lnTo>
                    <a:pt x="133" y="105"/>
                  </a:lnTo>
                  <a:lnTo>
                    <a:pt x="143" y="11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39" name="Freeform 318">
              <a:extLst>
                <a:ext uri="{FF2B5EF4-FFF2-40B4-BE49-F238E27FC236}">
                  <a16:creationId xmlns:a16="http://schemas.microsoft.com/office/drawing/2014/main" id="{73DCCB56-867E-421A-95DD-F4FA94D714DE}"/>
                </a:ext>
              </a:extLst>
            </p:cNvPr>
            <p:cNvSpPr>
              <a:spLocks/>
            </p:cNvSpPr>
            <p:nvPr/>
          </p:nvSpPr>
          <p:spPr bwMode="gray">
            <a:xfrm>
              <a:off x="4629" y="2872"/>
              <a:ext cx="143" cy="114"/>
            </a:xfrm>
            <a:custGeom>
              <a:avLst/>
              <a:gdLst>
                <a:gd name="T0" fmla="*/ 143 w 143"/>
                <a:gd name="T1" fmla="*/ 114 h 114"/>
                <a:gd name="T2" fmla="*/ 143 w 143"/>
                <a:gd name="T3" fmla="*/ 86 h 114"/>
                <a:gd name="T4" fmla="*/ 143 w 143"/>
                <a:gd name="T5" fmla="*/ 76 h 114"/>
                <a:gd name="T6" fmla="*/ 143 w 143"/>
                <a:gd name="T7" fmla="*/ 76 h 114"/>
                <a:gd name="T8" fmla="*/ 143 w 143"/>
                <a:gd name="T9" fmla="*/ 67 h 114"/>
                <a:gd name="T10" fmla="*/ 143 w 143"/>
                <a:gd name="T11" fmla="*/ 19 h 114"/>
                <a:gd name="T12" fmla="*/ 143 w 143"/>
                <a:gd name="T13" fmla="*/ 19 h 114"/>
                <a:gd name="T14" fmla="*/ 133 w 143"/>
                <a:gd name="T15" fmla="*/ 19 h 114"/>
                <a:gd name="T16" fmla="*/ 114 w 143"/>
                <a:gd name="T17" fmla="*/ 9 h 114"/>
                <a:gd name="T18" fmla="*/ 85 w 143"/>
                <a:gd name="T19" fmla="*/ 9 h 114"/>
                <a:gd name="T20" fmla="*/ 76 w 143"/>
                <a:gd name="T21" fmla="*/ 9 h 114"/>
                <a:gd name="T22" fmla="*/ 76 w 143"/>
                <a:gd name="T23" fmla="*/ 19 h 114"/>
                <a:gd name="T24" fmla="*/ 57 w 143"/>
                <a:gd name="T25" fmla="*/ 38 h 114"/>
                <a:gd name="T26" fmla="*/ 57 w 143"/>
                <a:gd name="T27" fmla="*/ 29 h 114"/>
                <a:gd name="T28" fmla="*/ 47 w 143"/>
                <a:gd name="T29" fmla="*/ 19 h 114"/>
                <a:gd name="T30" fmla="*/ 38 w 143"/>
                <a:gd name="T31" fmla="*/ 19 h 114"/>
                <a:gd name="T32" fmla="*/ 38 w 143"/>
                <a:gd name="T33" fmla="*/ 9 h 114"/>
                <a:gd name="T34" fmla="*/ 38 w 143"/>
                <a:gd name="T35" fmla="*/ 0 h 114"/>
                <a:gd name="T36" fmla="*/ 28 w 143"/>
                <a:gd name="T37" fmla="*/ 0 h 114"/>
                <a:gd name="T38" fmla="*/ 19 w 143"/>
                <a:gd name="T39" fmla="*/ 0 h 114"/>
                <a:gd name="T40" fmla="*/ 9 w 143"/>
                <a:gd name="T41" fmla="*/ 0 h 114"/>
                <a:gd name="T42" fmla="*/ 9 w 143"/>
                <a:gd name="T43" fmla="*/ 0 h 114"/>
                <a:gd name="T44" fmla="*/ 0 w 143"/>
                <a:gd name="T45" fmla="*/ 0 h 114"/>
                <a:gd name="T46" fmla="*/ 0 w 143"/>
                <a:gd name="T47" fmla="*/ 9 h 114"/>
                <a:gd name="T48" fmla="*/ 9 w 143"/>
                <a:gd name="T49" fmla="*/ 9 h 114"/>
                <a:gd name="T50" fmla="*/ 9 w 143"/>
                <a:gd name="T51" fmla="*/ 19 h 114"/>
                <a:gd name="T52" fmla="*/ 19 w 143"/>
                <a:gd name="T53" fmla="*/ 19 h 114"/>
                <a:gd name="T54" fmla="*/ 28 w 143"/>
                <a:gd name="T55" fmla="*/ 19 h 114"/>
                <a:gd name="T56" fmla="*/ 38 w 143"/>
                <a:gd name="T57" fmla="*/ 19 h 114"/>
                <a:gd name="T58" fmla="*/ 28 w 143"/>
                <a:gd name="T59" fmla="*/ 29 h 114"/>
                <a:gd name="T60" fmla="*/ 9 w 143"/>
                <a:gd name="T61" fmla="*/ 29 h 114"/>
                <a:gd name="T62" fmla="*/ 9 w 143"/>
                <a:gd name="T63" fmla="*/ 29 h 114"/>
                <a:gd name="T64" fmla="*/ 19 w 143"/>
                <a:gd name="T65" fmla="*/ 29 h 114"/>
                <a:gd name="T66" fmla="*/ 19 w 143"/>
                <a:gd name="T67" fmla="*/ 38 h 114"/>
                <a:gd name="T68" fmla="*/ 28 w 143"/>
                <a:gd name="T69" fmla="*/ 48 h 114"/>
                <a:gd name="T70" fmla="*/ 28 w 143"/>
                <a:gd name="T71" fmla="*/ 38 h 114"/>
                <a:gd name="T72" fmla="*/ 38 w 143"/>
                <a:gd name="T73" fmla="*/ 38 h 114"/>
                <a:gd name="T74" fmla="*/ 47 w 143"/>
                <a:gd name="T75" fmla="*/ 48 h 114"/>
                <a:gd name="T76" fmla="*/ 66 w 143"/>
                <a:gd name="T77" fmla="*/ 48 h 114"/>
                <a:gd name="T78" fmla="*/ 76 w 143"/>
                <a:gd name="T79" fmla="*/ 57 h 114"/>
                <a:gd name="T80" fmla="*/ 85 w 143"/>
                <a:gd name="T81" fmla="*/ 57 h 114"/>
                <a:gd name="T82" fmla="*/ 104 w 143"/>
                <a:gd name="T83" fmla="*/ 67 h 114"/>
                <a:gd name="T84" fmla="*/ 104 w 143"/>
                <a:gd name="T85" fmla="*/ 76 h 114"/>
                <a:gd name="T86" fmla="*/ 114 w 143"/>
                <a:gd name="T87" fmla="*/ 86 h 114"/>
                <a:gd name="T88" fmla="*/ 114 w 143"/>
                <a:gd name="T89" fmla="*/ 86 h 114"/>
                <a:gd name="T90" fmla="*/ 114 w 143"/>
                <a:gd name="T91" fmla="*/ 105 h 114"/>
                <a:gd name="T92" fmla="*/ 123 w 143"/>
                <a:gd name="T93" fmla="*/ 95 h 114"/>
                <a:gd name="T94" fmla="*/ 133 w 143"/>
                <a:gd name="T95" fmla="*/ 105 h 114"/>
                <a:gd name="T96" fmla="*/ 143 w 143"/>
                <a:gd name="T97" fmla="*/ 114 h 1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43"/>
                <a:gd name="T148" fmla="*/ 0 h 114"/>
                <a:gd name="T149" fmla="*/ 143 w 143"/>
                <a:gd name="T150" fmla="*/ 114 h 1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43" h="114">
                  <a:moveTo>
                    <a:pt x="143" y="114"/>
                  </a:moveTo>
                  <a:lnTo>
                    <a:pt x="143" y="86"/>
                  </a:lnTo>
                  <a:lnTo>
                    <a:pt x="143" y="76"/>
                  </a:lnTo>
                  <a:lnTo>
                    <a:pt x="143" y="67"/>
                  </a:lnTo>
                  <a:lnTo>
                    <a:pt x="143" y="19"/>
                  </a:lnTo>
                  <a:lnTo>
                    <a:pt x="133" y="19"/>
                  </a:lnTo>
                  <a:lnTo>
                    <a:pt x="114" y="9"/>
                  </a:lnTo>
                  <a:lnTo>
                    <a:pt x="85" y="9"/>
                  </a:lnTo>
                  <a:lnTo>
                    <a:pt x="76" y="9"/>
                  </a:lnTo>
                  <a:lnTo>
                    <a:pt x="76" y="19"/>
                  </a:lnTo>
                  <a:lnTo>
                    <a:pt x="57" y="38"/>
                  </a:lnTo>
                  <a:lnTo>
                    <a:pt x="57" y="29"/>
                  </a:lnTo>
                  <a:lnTo>
                    <a:pt x="47" y="19"/>
                  </a:lnTo>
                  <a:lnTo>
                    <a:pt x="38" y="19"/>
                  </a:lnTo>
                  <a:lnTo>
                    <a:pt x="38" y="9"/>
                  </a:lnTo>
                  <a:lnTo>
                    <a:pt x="38" y="0"/>
                  </a:lnTo>
                  <a:lnTo>
                    <a:pt x="28" y="0"/>
                  </a:lnTo>
                  <a:lnTo>
                    <a:pt x="19" y="0"/>
                  </a:lnTo>
                  <a:lnTo>
                    <a:pt x="9" y="0"/>
                  </a:lnTo>
                  <a:lnTo>
                    <a:pt x="0" y="0"/>
                  </a:lnTo>
                  <a:lnTo>
                    <a:pt x="0" y="9"/>
                  </a:lnTo>
                  <a:lnTo>
                    <a:pt x="9" y="9"/>
                  </a:lnTo>
                  <a:lnTo>
                    <a:pt x="9" y="19"/>
                  </a:lnTo>
                  <a:lnTo>
                    <a:pt x="19" y="19"/>
                  </a:lnTo>
                  <a:lnTo>
                    <a:pt x="28" y="19"/>
                  </a:lnTo>
                  <a:lnTo>
                    <a:pt x="38" y="19"/>
                  </a:lnTo>
                  <a:lnTo>
                    <a:pt x="28" y="29"/>
                  </a:lnTo>
                  <a:lnTo>
                    <a:pt x="9" y="29"/>
                  </a:lnTo>
                  <a:lnTo>
                    <a:pt x="19" y="29"/>
                  </a:lnTo>
                  <a:lnTo>
                    <a:pt x="19" y="38"/>
                  </a:lnTo>
                  <a:lnTo>
                    <a:pt x="28" y="48"/>
                  </a:lnTo>
                  <a:lnTo>
                    <a:pt x="28" y="38"/>
                  </a:lnTo>
                  <a:lnTo>
                    <a:pt x="38" y="38"/>
                  </a:lnTo>
                  <a:lnTo>
                    <a:pt x="47" y="48"/>
                  </a:lnTo>
                  <a:lnTo>
                    <a:pt x="66" y="48"/>
                  </a:lnTo>
                  <a:lnTo>
                    <a:pt x="76" y="57"/>
                  </a:lnTo>
                  <a:lnTo>
                    <a:pt x="85" y="57"/>
                  </a:lnTo>
                  <a:lnTo>
                    <a:pt x="104" y="67"/>
                  </a:lnTo>
                  <a:lnTo>
                    <a:pt x="104" y="76"/>
                  </a:lnTo>
                  <a:lnTo>
                    <a:pt x="114" y="86"/>
                  </a:lnTo>
                  <a:lnTo>
                    <a:pt x="114" y="105"/>
                  </a:lnTo>
                  <a:lnTo>
                    <a:pt x="123" y="95"/>
                  </a:lnTo>
                  <a:lnTo>
                    <a:pt x="133" y="105"/>
                  </a:lnTo>
                  <a:lnTo>
                    <a:pt x="143" y="11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40" name="Freeform 319">
              <a:extLst>
                <a:ext uri="{FF2B5EF4-FFF2-40B4-BE49-F238E27FC236}">
                  <a16:creationId xmlns:a16="http://schemas.microsoft.com/office/drawing/2014/main" id="{42039C59-35A1-49A3-8A07-CA62ACEADA34}"/>
                </a:ext>
              </a:extLst>
            </p:cNvPr>
            <p:cNvSpPr>
              <a:spLocks/>
            </p:cNvSpPr>
            <p:nvPr/>
          </p:nvSpPr>
          <p:spPr bwMode="gray">
            <a:xfrm>
              <a:off x="4552" y="2299"/>
              <a:ext cx="48" cy="67"/>
            </a:xfrm>
            <a:custGeom>
              <a:avLst/>
              <a:gdLst>
                <a:gd name="T0" fmla="*/ 0 w 48"/>
                <a:gd name="T1" fmla="*/ 10 h 67"/>
                <a:gd name="T2" fmla="*/ 10 w 48"/>
                <a:gd name="T3" fmla="*/ 0 h 67"/>
                <a:gd name="T4" fmla="*/ 38 w 48"/>
                <a:gd name="T5" fmla="*/ 0 h 67"/>
                <a:gd name="T6" fmla="*/ 38 w 48"/>
                <a:gd name="T7" fmla="*/ 0 h 67"/>
                <a:gd name="T8" fmla="*/ 48 w 48"/>
                <a:gd name="T9" fmla="*/ 19 h 67"/>
                <a:gd name="T10" fmla="*/ 48 w 48"/>
                <a:gd name="T11" fmla="*/ 29 h 67"/>
                <a:gd name="T12" fmla="*/ 48 w 48"/>
                <a:gd name="T13" fmla="*/ 48 h 67"/>
                <a:gd name="T14" fmla="*/ 48 w 48"/>
                <a:gd name="T15" fmla="*/ 48 h 67"/>
                <a:gd name="T16" fmla="*/ 48 w 48"/>
                <a:gd name="T17" fmla="*/ 58 h 67"/>
                <a:gd name="T18" fmla="*/ 38 w 48"/>
                <a:gd name="T19" fmla="*/ 58 h 67"/>
                <a:gd name="T20" fmla="*/ 38 w 48"/>
                <a:gd name="T21" fmla="*/ 58 h 67"/>
                <a:gd name="T22" fmla="*/ 29 w 48"/>
                <a:gd name="T23" fmla="*/ 67 h 67"/>
                <a:gd name="T24" fmla="*/ 29 w 48"/>
                <a:gd name="T25" fmla="*/ 67 h 67"/>
                <a:gd name="T26" fmla="*/ 19 w 48"/>
                <a:gd name="T27" fmla="*/ 67 h 67"/>
                <a:gd name="T28" fmla="*/ 10 w 48"/>
                <a:gd name="T29" fmla="*/ 67 h 67"/>
                <a:gd name="T30" fmla="*/ 10 w 48"/>
                <a:gd name="T31" fmla="*/ 67 h 67"/>
                <a:gd name="T32" fmla="*/ 0 w 48"/>
                <a:gd name="T33" fmla="*/ 58 h 67"/>
                <a:gd name="T34" fmla="*/ 0 w 48"/>
                <a:gd name="T35" fmla="*/ 58 h 67"/>
                <a:gd name="T36" fmla="*/ 0 w 48"/>
                <a:gd name="T37" fmla="*/ 48 h 67"/>
                <a:gd name="T38" fmla="*/ 10 w 48"/>
                <a:gd name="T39" fmla="*/ 48 h 67"/>
                <a:gd name="T40" fmla="*/ 0 w 48"/>
                <a:gd name="T41" fmla="*/ 38 h 67"/>
                <a:gd name="T42" fmla="*/ 0 w 48"/>
                <a:gd name="T43" fmla="*/ 29 h 67"/>
                <a:gd name="T44" fmla="*/ 10 w 48"/>
                <a:gd name="T45" fmla="*/ 29 h 67"/>
                <a:gd name="T46" fmla="*/ 10 w 48"/>
                <a:gd name="T47" fmla="*/ 19 h 67"/>
                <a:gd name="T48" fmla="*/ 0 w 48"/>
                <a:gd name="T49" fmla="*/ 10 h 67"/>
                <a:gd name="T50" fmla="*/ 0 w 48"/>
                <a:gd name="T51" fmla="*/ 10 h 6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
                <a:gd name="T79" fmla="*/ 0 h 67"/>
                <a:gd name="T80" fmla="*/ 48 w 48"/>
                <a:gd name="T81" fmla="*/ 67 h 6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 h="67">
                  <a:moveTo>
                    <a:pt x="0" y="10"/>
                  </a:moveTo>
                  <a:lnTo>
                    <a:pt x="10" y="0"/>
                  </a:lnTo>
                  <a:lnTo>
                    <a:pt x="38" y="0"/>
                  </a:lnTo>
                  <a:lnTo>
                    <a:pt x="48" y="19"/>
                  </a:lnTo>
                  <a:lnTo>
                    <a:pt x="48" y="29"/>
                  </a:lnTo>
                  <a:lnTo>
                    <a:pt x="48" y="48"/>
                  </a:lnTo>
                  <a:lnTo>
                    <a:pt x="48" y="58"/>
                  </a:lnTo>
                  <a:lnTo>
                    <a:pt x="38" y="58"/>
                  </a:lnTo>
                  <a:lnTo>
                    <a:pt x="29" y="67"/>
                  </a:lnTo>
                  <a:lnTo>
                    <a:pt x="19" y="67"/>
                  </a:lnTo>
                  <a:lnTo>
                    <a:pt x="10" y="67"/>
                  </a:lnTo>
                  <a:lnTo>
                    <a:pt x="0" y="58"/>
                  </a:lnTo>
                  <a:lnTo>
                    <a:pt x="0" y="48"/>
                  </a:lnTo>
                  <a:lnTo>
                    <a:pt x="10" y="48"/>
                  </a:lnTo>
                  <a:lnTo>
                    <a:pt x="0" y="38"/>
                  </a:lnTo>
                  <a:lnTo>
                    <a:pt x="0" y="29"/>
                  </a:lnTo>
                  <a:lnTo>
                    <a:pt x="10" y="29"/>
                  </a:lnTo>
                  <a:lnTo>
                    <a:pt x="10" y="19"/>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41" name="Freeform 320">
              <a:extLst>
                <a:ext uri="{FF2B5EF4-FFF2-40B4-BE49-F238E27FC236}">
                  <a16:creationId xmlns:a16="http://schemas.microsoft.com/office/drawing/2014/main" id="{FD29E726-80B0-44F9-9768-35BA7646B5DC}"/>
                </a:ext>
              </a:extLst>
            </p:cNvPr>
            <p:cNvSpPr>
              <a:spLocks/>
            </p:cNvSpPr>
            <p:nvPr/>
          </p:nvSpPr>
          <p:spPr bwMode="gray">
            <a:xfrm>
              <a:off x="4552" y="2299"/>
              <a:ext cx="48" cy="67"/>
            </a:xfrm>
            <a:custGeom>
              <a:avLst/>
              <a:gdLst>
                <a:gd name="T0" fmla="*/ 0 w 48"/>
                <a:gd name="T1" fmla="*/ 10 h 67"/>
                <a:gd name="T2" fmla="*/ 10 w 48"/>
                <a:gd name="T3" fmla="*/ 0 h 67"/>
                <a:gd name="T4" fmla="*/ 38 w 48"/>
                <a:gd name="T5" fmla="*/ 0 h 67"/>
                <a:gd name="T6" fmla="*/ 38 w 48"/>
                <a:gd name="T7" fmla="*/ 0 h 67"/>
                <a:gd name="T8" fmla="*/ 48 w 48"/>
                <a:gd name="T9" fmla="*/ 19 h 67"/>
                <a:gd name="T10" fmla="*/ 48 w 48"/>
                <a:gd name="T11" fmla="*/ 29 h 67"/>
                <a:gd name="T12" fmla="*/ 48 w 48"/>
                <a:gd name="T13" fmla="*/ 48 h 67"/>
                <a:gd name="T14" fmla="*/ 48 w 48"/>
                <a:gd name="T15" fmla="*/ 48 h 67"/>
                <a:gd name="T16" fmla="*/ 48 w 48"/>
                <a:gd name="T17" fmla="*/ 58 h 67"/>
                <a:gd name="T18" fmla="*/ 38 w 48"/>
                <a:gd name="T19" fmla="*/ 58 h 67"/>
                <a:gd name="T20" fmla="*/ 38 w 48"/>
                <a:gd name="T21" fmla="*/ 58 h 67"/>
                <a:gd name="T22" fmla="*/ 29 w 48"/>
                <a:gd name="T23" fmla="*/ 67 h 67"/>
                <a:gd name="T24" fmla="*/ 29 w 48"/>
                <a:gd name="T25" fmla="*/ 67 h 67"/>
                <a:gd name="T26" fmla="*/ 19 w 48"/>
                <a:gd name="T27" fmla="*/ 67 h 67"/>
                <a:gd name="T28" fmla="*/ 10 w 48"/>
                <a:gd name="T29" fmla="*/ 67 h 67"/>
                <a:gd name="T30" fmla="*/ 10 w 48"/>
                <a:gd name="T31" fmla="*/ 67 h 67"/>
                <a:gd name="T32" fmla="*/ 0 w 48"/>
                <a:gd name="T33" fmla="*/ 58 h 67"/>
                <a:gd name="T34" fmla="*/ 0 w 48"/>
                <a:gd name="T35" fmla="*/ 58 h 67"/>
                <a:gd name="T36" fmla="*/ 0 w 48"/>
                <a:gd name="T37" fmla="*/ 48 h 67"/>
                <a:gd name="T38" fmla="*/ 10 w 48"/>
                <a:gd name="T39" fmla="*/ 48 h 67"/>
                <a:gd name="T40" fmla="*/ 0 w 48"/>
                <a:gd name="T41" fmla="*/ 38 h 67"/>
                <a:gd name="T42" fmla="*/ 0 w 48"/>
                <a:gd name="T43" fmla="*/ 29 h 67"/>
                <a:gd name="T44" fmla="*/ 10 w 48"/>
                <a:gd name="T45" fmla="*/ 29 h 67"/>
                <a:gd name="T46" fmla="*/ 10 w 48"/>
                <a:gd name="T47" fmla="*/ 19 h 67"/>
                <a:gd name="T48" fmla="*/ 0 w 48"/>
                <a:gd name="T49" fmla="*/ 10 h 67"/>
                <a:gd name="T50" fmla="*/ 0 w 48"/>
                <a:gd name="T51" fmla="*/ 10 h 6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
                <a:gd name="T79" fmla="*/ 0 h 67"/>
                <a:gd name="T80" fmla="*/ 48 w 48"/>
                <a:gd name="T81" fmla="*/ 67 h 6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 h="67">
                  <a:moveTo>
                    <a:pt x="0" y="10"/>
                  </a:moveTo>
                  <a:lnTo>
                    <a:pt x="10" y="0"/>
                  </a:lnTo>
                  <a:lnTo>
                    <a:pt x="38" y="0"/>
                  </a:lnTo>
                  <a:lnTo>
                    <a:pt x="48" y="19"/>
                  </a:lnTo>
                  <a:lnTo>
                    <a:pt x="48" y="29"/>
                  </a:lnTo>
                  <a:lnTo>
                    <a:pt x="48" y="48"/>
                  </a:lnTo>
                  <a:lnTo>
                    <a:pt x="48" y="58"/>
                  </a:lnTo>
                  <a:lnTo>
                    <a:pt x="38" y="58"/>
                  </a:lnTo>
                  <a:lnTo>
                    <a:pt x="29" y="67"/>
                  </a:lnTo>
                  <a:lnTo>
                    <a:pt x="19" y="67"/>
                  </a:lnTo>
                  <a:lnTo>
                    <a:pt x="10" y="67"/>
                  </a:lnTo>
                  <a:lnTo>
                    <a:pt x="0" y="58"/>
                  </a:lnTo>
                  <a:lnTo>
                    <a:pt x="0" y="48"/>
                  </a:lnTo>
                  <a:lnTo>
                    <a:pt x="10" y="48"/>
                  </a:lnTo>
                  <a:lnTo>
                    <a:pt x="0" y="38"/>
                  </a:lnTo>
                  <a:lnTo>
                    <a:pt x="0" y="29"/>
                  </a:lnTo>
                  <a:lnTo>
                    <a:pt x="10" y="29"/>
                  </a:lnTo>
                  <a:lnTo>
                    <a:pt x="10" y="19"/>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42" name="Freeform 321">
              <a:extLst>
                <a:ext uri="{FF2B5EF4-FFF2-40B4-BE49-F238E27FC236}">
                  <a16:creationId xmlns:a16="http://schemas.microsoft.com/office/drawing/2014/main" id="{BB13DB83-5E4D-44CC-9488-7CAC2FF3492D}"/>
                </a:ext>
              </a:extLst>
            </p:cNvPr>
            <p:cNvSpPr>
              <a:spLocks/>
            </p:cNvSpPr>
            <p:nvPr/>
          </p:nvSpPr>
          <p:spPr bwMode="gray">
            <a:xfrm>
              <a:off x="752" y="1898"/>
              <a:ext cx="19" cy="20"/>
            </a:xfrm>
            <a:custGeom>
              <a:avLst/>
              <a:gdLst>
                <a:gd name="T0" fmla="*/ 10 w 19"/>
                <a:gd name="T1" fmla="*/ 20 h 20"/>
                <a:gd name="T2" fmla="*/ 0 w 19"/>
                <a:gd name="T3" fmla="*/ 20 h 20"/>
                <a:gd name="T4" fmla="*/ 0 w 19"/>
                <a:gd name="T5" fmla="*/ 10 h 20"/>
                <a:gd name="T6" fmla="*/ 0 w 19"/>
                <a:gd name="T7" fmla="*/ 10 h 20"/>
                <a:gd name="T8" fmla="*/ 10 w 19"/>
                <a:gd name="T9" fmla="*/ 0 h 20"/>
                <a:gd name="T10" fmla="*/ 19 w 19"/>
                <a:gd name="T11" fmla="*/ 10 h 20"/>
                <a:gd name="T12" fmla="*/ 19 w 19"/>
                <a:gd name="T13" fmla="*/ 10 h 20"/>
                <a:gd name="T14" fmla="*/ 19 w 19"/>
                <a:gd name="T15" fmla="*/ 10 h 20"/>
                <a:gd name="T16" fmla="*/ 19 w 19"/>
                <a:gd name="T17" fmla="*/ 10 h 20"/>
                <a:gd name="T18" fmla="*/ 19 w 19"/>
                <a:gd name="T19" fmla="*/ 10 h 20"/>
                <a:gd name="T20" fmla="*/ 19 w 19"/>
                <a:gd name="T21" fmla="*/ 20 h 20"/>
                <a:gd name="T22" fmla="*/ 19 w 19"/>
                <a:gd name="T23" fmla="*/ 20 h 20"/>
                <a:gd name="T24" fmla="*/ 10 w 19"/>
                <a:gd name="T25" fmla="*/ 10 h 20"/>
                <a:gd name="T26" fmla="*/ 10 w 19"/>
                <a:gd name="T27" fmla="*/ 20 h 20"/>
                <a:gd name="T28" fmla="*/ 10 w 19"/>
                <a:gd name="T29" fmla="*/ 20 h 20"/>
                <a:gd name="T30" fmla="*/ 10 w 19"/>
                <a:gd name="T31" fmla="*/ 20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
                <a:gd name="T49" fmla="*/ 0 h 20"/>
                <a:gd name="T50" fmla="*/ 19 w 19"/>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 h="20">
                  <a:moveTo>
                    <a:pt x="10" y="20"/>
                  </a:moveTo>
                  <a:lnTo>
                    <a:pt x="0" y="20"/>
                  </a:lnTo>
                  <a:lnTo>
                    <a:pt x="0" y="10"/>
                  </a:lnTo>
                  <a:lnTo>
                    <a:pt x="10" y="0"/>
                  </a:lnTo>
                  <a:lnTo>
                    <a:pt x="19" y="10"/>
                  </a:lnTo>
                  <a:lnTo>
                    <a:pt x="19" y="20"/>
                  </a:lnTo>
                  <a:lnTo>
                    <a:pt x="10" y="10"/>
                  </a:lnTo>
                  <a:lnTo>
                    <a:pt x="10" y="2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43" name="Freeform 322">
              <a:extLst>
                <a:ext uri="{FF2B5EF4-FFF2-40B4-BE49-F238E27FC236}">
                  <a16:creationId xmlns:a16="http://schemas.microsoft.com/office/drawing/2014/main" id="{6F7CAAC5-C3E7-4ED7-83B8-0D62F7424E18}"/>
                </a:ext>
              </a:extLst>
            </p:cNvPr>
            <p:cNvSpPr>
              <a:spLocks/>
            </p:cNvSpPr>
            <p:nvPr/>
          </p:nvSpPr>
          <p:spPr bwMode="gray">
            <a:xfrm>
              <a:off x="752" y="1898"/>
              <a:ext cx="19" cy="20"/>
            </a:xfrm>
            <a:custGeom>
              <a:avLst/>
              <a:gdLst>
                <a:gd name="T0" fmla="*/ 10 w 19"/>
                <a:gd name="T1" fmla="*/ 20 h 20"/>
                <a:gd name="T2" fmla="*/ 0 w 19"/>
                <a:gd name="T3" fmla="*/ 20 h 20"/>
                <a:gd name="T4" fmla="*/ 0 w 19"/>
                <a:gd name="T5" fmla="*/ 10 h 20"/>
                <a:gd name="T6" fmla="*/ 0 w 19"/>
                <a:gd name="T7" fmla="*/ 10 h 20"/>
                <a:gd name="T8" fmla="*/ 10 w 19"/>
                <a:gd name="T9" fmla="*/ 0 h 20"/>
                <a:gd name="T10" fmla="*/ 19 w 19"/>
                <a:gd name="T11" fmla="*/ 10 h 20"/>
                <a:gd name="T12" fmla="*/ 19 w 19"/>
                <a:gd name="T13" fmla="*/ 10 h 20"/>
                <a:gd name="T14" fmla="*/ 19 w 19"/>
                <a:gd name="T15" fmla="*/ 10 h 20"/>
                <a:gd name="T16" fmla="*/ 19 w 19"/>
                <a:gd name="T17" fmla="*/ 10 h 20"/>
                <a:gd name="T18" fmla="*/ 19 w 19"/>
                <a:gd name="T19" fmla="*/ 10 h 20"/>
                <a:gd name="T20" fmla="*/ 19 w 19"/>
                <a:gd name="T21" fmla="*/ 20 h 20"/>
                <a:gd name="T22" fmla="*/ 19 w 19"/>
                <a:gd name="T23" fmla="*/ 20 h 20"/>
                <a:gd name="T24" fmla="*/ 10 w 19"/>
                <a:gd name="T25" fmla="*/ 10 h 20"/>
                <a:gd name="T26" fmla="*/ 10 w 19"/>
                <a:gd name="T27" fmla="*/ 20 h 20"/>
                <a:gd name="T28" fmla="*/ 10 w 19"/>
                <a:gd name="T29" fmla="*/ 20 h 20"/>
                <a:gd name="T30" fmla="*/ 10 w 19"/>
                <a:gd name="T31" fmla="*/ 20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
                <a:gd name="T49" fmla="*/ 0 h 20"/>
                <a:gd name="T50" fmla="*/ 19 w 19"/>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 h="20">
                  <a:moveTo>
                    <a:pt x="10" y="20"/>
                  </a:moveTo>
                  <a:lnTo>
                    <a:pt x="0" y="20"/>
                  </a:lnTo>
                  <a:lnTo>
                    <a:pt x="0" y="10"/>
                  </a:lnTo>
                  <a:lnTo>
                    <a:pt x="10" y="0"/>
                  </a:lnTo>
                  <a:lnTo>
                    <a:pt x="19" y="10"/>
                  </a:lnTo>
                  <a:lnTo>
                    <a:pt x="19" y="20"/>
                  </a:lnTo>
                  <a:lnTo>
                    <a:pt x="10" y="10"/>
                  </a:lnTo>
                  <a:lnTo>
                    <a:pt x="10" y="2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44" name="Freeform 325">
              <a:extLst>
                <a:ext uri="{FF2B5EF4-FFF2-40B4-BE49-F238E27FC236}">
                  <a16:creationId xmlns:a16="http://schemas.microsoft.com/office/drawing/2014/main" id="{D7579BE0-0CB7-401C-8C38-C27974479B49}"/>
                </a:ext>
              </a:extLst>
            </p:cNvPr>
            <p:cNvSpPr>
              <a:spLocks/>
            </p:cNvSpPr>
            <p:nvPr/>
          </p:nvSpPr>
          <p:spPr bwMode="gray">
            <a:xfrm>
              <a:off x="476" y="1918"/>
              <a:ext cx="38" cy="19"/>
            </a:xfrm>
            <a:custGeom>
              <a:avLst/>
              <a:gdLst>
                <a:gd name="T0" fmla="*/ 9 w 38"/>
                <a:gd name="T1" fmla="*/ 0 h 19"/>
                <a:gd name="T2" fmla="*/ 19 w 38"/>
                <a:gd name="T3" fmla="*/ 0 h 19"/>
                <a:gd name="T4" fmla="*/ 19 w 38"/>
                <a:gd name="T5" fmla="*/ 0 h 19"/>
                <a:gd name="T6" fmla="*/ 38 w 38"/>
                <a:gd name="T7" fmla="*/ 0 h 19"/>
                <a:gd name="T8" fmla="*/ 38 w 38"/>
                <a:gd name="T9" fmla="*/ 0 h 19"/>
                <a:gd name="T10" fmla="*/ 38 w 38"/>
                <a:gd name="T11" fmla="*/ 0 h 19"/>
                <a:gd name="T12" fmla="*/ 28 w 38"/>
                <a:gd name="T13" fmla="*/ 9 h 19"/>
                <a:gd name="T14" fmla="*/ 28 w 38"/>
                <a:gd name="T15" fmla="*/ 9 h 19"/>
                <a:gd name="T16" fmla="*/ 19 w 38"/>
                <a:gd name="T17" fmla="*/ 19 h 19"/>
                <a:gd name="T18" fmla="*/ 19 w 38"/>
                <a:gd name="T19" fmla="*/ 19 h 19"/>
                <a:gd name="T20" fmla="*/ 9 w 38"/>
                <a:gd name="T21" fmla="*/ 19 h 19"/>
                <a:gd name="T22" fmla="*/ 9 w 38"/>
                <a:gd name="T23" fmla="*/ 9 h 19"/>
                <a:gd name="T24" fmla="*/ 0 w 38"/>
                <a:gd name="T25" fmla="*/ 9 h 19"/>
                <a:gd name="T26" fmla="*/ 0 w 38"/>
                <a:gd name="T27" fmla="*/ 0 h 19"/>
                <a:gd name="T28" fmla="*/ 9 w 38"/>
                <a:gd name="T29" fmla="*/ 0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19"/>
                <a:gd name="T47" fmla="*/ 38 w 38"/>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19">
                  <a:moveTo>
                    <a:pt x="9" y="0"/>
                  </a:moveTo>
                  <a:lnTo>
                    <a:pt x="19" y="0"/>
                  </a:lnTo>
                  <a:lnTo>
                    <a:pt x="38" y="0"/>
                  </a:lnTo>
                  <a:lnTo>
                    <a:pt x="28" y="9"/>
                  </a:lnTo>
                  <a:lnTo>
                    <a:pt x="19" y="19"/>
                  </a:lnTo>
                  <a:lnTo>
                    <a:pt x="9" y="19"/>
                  </a:lnTo>
                  <a:lnTo>
                    <a:pt x="9" y="9"/>
                  </a:lnTo>
                  <a:lnTo>
                    <a:pt x="0" y="9"/>
                  </a:lnTo>
                  <a:lnTo>
                    <a:pt x="0" y="0"/>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45" name="Freeform 326">
              <a:extLst>
                <a:ext uri="{FF2B5EF4-FFF2-40B4-BE49-F238E27FC236}">
                  <a16:creationId xmlns:a16="http://schemas.microsoft.com/office/drawing/2014/main" id="{6FEFA621-3534-4C1D-B928-BC22B156529B}"/>
                </a:ext>
              </a:extLst>
            </p:cNvPr>
            <p:cNvSpPr>
              <a:spLocks/>
            </p:cNvSpPr>
            <p:nvPr/>
          </p:nvSpPr>
          <p:spPr bwMode="gray">
            <a:xfrm>
              <a:off x="476" y="1918"/>
              <a:ext cx="38" cy="19"/>
            </a:xfrm>
            <a:custGeom>
              <a:avLst/>
              <a:gdLst>
                <a:gd name="T0" fmla="*/ 9 w 38"/>
                <a:gd name="T1" fmla="*/ 0 h 19"/>
                <a:gd name="T2" fmla="*/ 19 w 38"/>
                <a:gd name="T3" fmla="*/ 0 h 19"/>
                <a:gd name="T4" fmla="*/ 19 w 38"/>
                <a:gd name="T5" fmla="*/ 0 h 19"/>
                <a:gd name="T6" fmla="*/ 38 w 38"/>
                <a:gd name="T7" fmla="*/ 0 h 19"/>
                <a:gd name="T8" fmla="*/ 38 w 38"/>
                <a:gd name="T9" fmla="*/ 0 h 19"/>
                <a:gd name="T10" fmla="*/ 38 w 38"/>
                <a:gd name="T11" fmla="*/ 0 h 19"/>
                <a:gd name="T12" fmla="*/ 28 w 38"/>
                <a:gd name="T13" fmla="*/ 9 h 19"/>
                <a:gd name="T14" fmla="*/ 28 w 38"/>
                <a:gd name="T15" fmla="*/ 9 h 19"/>
                <a:gd name="T16" fmla="*/ 19 w 38"/>
                <a:gd name="T17" fmla="*/ 19 h 19"/>
                <a:gd name="T18" fmla="*/ 19 w 38"/>
                <a:gd name="T19" fmla="*/ 19 h 19"/>
                <a:gd name="T20" fmla="*/ 9 w 38"/>
                <a:gd name="T21" fmla="*/ 19 h 19"/>
                <a:gd name="T22" fmla="*/ 9 w 38"/>
                <a:gd name="T23" fmla="*/ 9 h 19"/>
                <a:gd name="T24" fmla="*/ 0 w 38"/>
                <a:gd name="T25" fmla="*/ 9 h 19"/>
                <a:gd name="T26" fmla="*/ 0 w 38"/>
                <a:gd name="T27" fmla="*/ 0 h 19"/>
                <a:gd name="T28" fmla="*/ 9 w 38"/>
                <a:gd name="T29" fmla="*/ 0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19"/>
                <a:gd name="T47" fmla="*/ 38 w 38"/>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19">
                  <a:moveTo>
                    <a:pt x="9" y="0"/>
                  </a:moveTo>
                  <a:lnTo>
                    <a:pt x="19" y="0"/>
                  </a:lnTo>
                  <a:lnTo>
                    <a:pt x="38" y="0"/>
                  </a:lnTo>
                  <a:lnTo>
                    <a:pt x="28" y="9"/>
                  </a:lnTo>
                  <a:lnTo>
                    <a:pt x="19" y="19"/>
                  </a:lnTo>
                  <a:lnTo>
                    <a:pt x="9" y="19"/>
                  </a:lnTo>
                  <a:lnTo>
                    <a:pt x="9" y="9"/>
                  </a:lnTo>
                  <a:lnTo>
                    <a:pt x="0" y="9"/>
                  </a:lnTo>
                  <a:lnTo>
                    <a:pt x="0" y="0"/>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46" name="Freeform 327">
              <a:extLst>
                <a:ext uri="{FF2B5EF4-FFF2-40B4-BE49-F238E27FC236}">
                  <a16:creationId xmlns:a16="http://schemas.microsoft.com/office/drawing/2014/main" id="{541C334D-A828-4BC2-8AED-90B3963C8A2B}"/>
                </a:ext>
              </a:extLst>
            </p:cNvPr>
            <p:cNvSpPr>
              <a:spLocks/>
            </p:cNvSpPr>
            <p:nvPr/>
          </p:nvSpPr>
          <p:spPr bwMode="gray">
            <a:xfrm>
              <a:off x="940" y="1488"/>
              <a:ext cx="267" cy="124"/>
            </a:xfrm>
            <a:custGeom>
              <a:avLst/>
              <a:gdLst>
                <a:gd name="T0" fmla="*/ 190 w 267"/>
                <a:gd name="T1" fmla="*/ 10 h 124"/>
                <a:gd name="T2" fmla="*/ 200 w 267"/>
                <a:gd name="T3" fmla="*/ 19 h 124"/>
                <a:gd name="T4" fmla="*/ 209 w 267"/>
                <a:gd name="T5" fmla="*/ 48 h 124"/>
                <a:gd name="T6" fmla="*/ 209 w 267"/>
                <a:gd name="T7" fmla="*/ 67 h 124"/>
                <a:gd name="T8" fmla="*/ 238 w 267"/>
                <a:gd name="T9" fmla="*/ 76 h 124"/>
                <a:gd name="T10" fmla="*/ 248 w 267"/>
                <a:gd name="T11" fmla="*/ 86 h 124"/>
                <a:gd name="T12" fmla="*/ 267 w 267"/>
                <a:gd name="T13" fmla="*/ 96 h 124"/>
                <a:gd name="T14" fmla="*/ 257 w 267"/>
                <a:gd name="T15" fmla="*/ 96 h 124"/>
                <a:gd name="T16" fmla="*/ 248 w 267"/>
                <a:gd name="T17" fmla="*/ 96 h 124"/>
                <a:gd name="T18" fmla="*/ 228 w 267"/>
                <a:gd name="T19" fmla="*/ 96 h 124"/>
                <a:gd name="T20" fmla="*/ 228 w 267"/>
                <a:gd name="T21" fmla="*/ 105 h 124"/>
                <a:gd name="T22" fmla="*/ 248 w 267"/>
                <a:gd name="T23" fmla="*/ 105 h 124"/>
                <a:gd name="T24" fmla="*/ 238 w 267"/>
                <a:gd name="T25" fmla="*/ 115 h 124"/>
                <a:gd name="T26" fmla="*/ 219 w 267"/>
                <a:gd name="T27" fmla="*/ 115 h 124"/>
                <a:gd name="T28" fmla="*/ 200 w 267"/>
                <a:gd name="T29" fmla="*/ 115 h 124"/>
                <a:gd name="T30" fmla="*/ 190 w 267"/>
                <a:gd name="T31" fmla="*/ 105 h 124"/>
                <a:gd name="T32" fmla="*/ 181 w 267"/>
                <a:gd name="T33" fmla="*/ 115 h 124"/>
                <a:gd name="T34" fmla="*/ 152 w 267"/>
                <a:gd name="T35" fmla="*/ 115 h 124"/>
                <a:gd name="T36" fmla="*/ 124 w 267"/>
                <a:gd name="T37" fmla="*/ 124 h 124"/>
                <a:gd name="T38" fmla="*/ 76 w 267"/>
                <a:gd name="T39" fmla="*/ 124 h 124"/>
                <a:gd name="T40" fmla="*/ 76 w 267"/>
                <a:gd name="T41" fmla="*/ 105 h 124"/>
                <a:gd name="T42" fmla="*/ 38 w 267"/>
                <a:gd name="T43" fmla="*/ 105 h 124"/>
                <a:gd name="T44" fmla="*/ 19 w 267"/>
                <a:gd name="T45" fmla="*/ 96 h 124"/>
                <a:gd name="T46" fmla="*/ 66 w 267"/>
                <a:gd name="T47" fmla="*/ 86 h 124"/>
                <a:gd name="T48" fmla="*/ 105 w 267"/>
                <a:gd name="T49" fmla="*/ 86 h 124"/>
                <a:gd name="T50" fmla="*/ 85 w 267"/>
                <a:gd name="T51" fmla="*/ 76 h 124"/>
                <a:gd name="T52" fmla="*/ 66 w 267"/>
                <a:gd name="T53" fmla="*/ 76 h 124"/>
                <a:gd name="T54" fmla="*/ 38 w 267"/>
                <a:gd name="T55" fmla="*/ 76 h 124"/>
                <a:gd name="T56" fmla="*/ 9 w 267"/>
                <a:gd name="T57" fmla="*/ 67 h 124"/>
                <a:gd name="T58" fmla="*/ 38 w 267"/>
                <a:gd name="T59" fmla="*/ 57 h 124"/>
                <a:gd name="T60" fmla="*/ 38 w 267"/>
                <a:gd name="T61" fmla="*/ 57 h 124"/>
                <a:gd name="T62" fmla="*/ 19 w 267"/>
                <a:gd name="T63" fmla="*/ 57 h 124"/>
                <a:gd name="T64" fmla="*/ 19 w 267"/>
                <a:gd name="T65" fmla="*/ 48 h 124"/>
                <a:gd name="T66" fmla="*/ 0 w 267"/>
                <a:gd name="T67" fmla="*/ 38 h 124"/>
                <a:gd name="T68" fmla="*/ 9 w 267"/>
                <a:gd name="T69" fmla="*/ 38 h 124"/>
                <a:gd name="T70" fmla="*/ 9 w 267"/>
                <a:gd name="T71" fmla="*/ 19 h 124"/>
                <a:gd name="T72" fmla="*/ 28 w 267"/>
                <a:gd name="T73" fmla="*/ 19 h 124"/>
                <a:gd name="T74" fmla="*/ 57 w 267"/>
                <a:gd name="T75" fmla="*/ 0 h 124"/>
                <a:gd name="T76" fmla="*/ 76 w 267"/>
                <a:gd name="T77" fmla="*/ 10 h 124"/>
                <a:gd name="T78" fmla="*/ 66 w 267"/>
                <a:gd name="T79" fmla="*/ 29 h 124"/>
                <a:gd name="T80" fmla="*/ 76 w 267"/>
                <a:gd name="T81" fmla="*/ 19 h 124"/>
                <a:gd name="T82" fmla="*/ 76 w 267"/>
                <a:gd name="T83" fmla="*/ 19 h 124"/>
                <a:gd name="T84" fmla="*/ 114 w 267"/>
                <a:gd name="T85" fmla="*/ 19 h 124"/>
                <a:gd name="T86" fmla="*/ 105 w 267"/>
                <a:gd name="T87" fmla="*/ 29 h 124"/>
                <a:gd name="T88" fmla="*/ 114 w 267"/>
                <a:gd name="T89" fmla="*/ 38 h 124"/>
                <a:gd name="T90" fmla="*/ 124 w 267"/>
                <a:gd name="T91" fmla="*/ 29 h 124"/>
                <a:gd name="T92" fmla="*/ 133 w 267"/>
                <a:gd name="T93" fmla="*/ 29 h 124"/>
                <a:gd name="T94" fmla="*/ 124 w 267"/>
                <a:gd name="T95" fmla="*/ 19 h 124"/>
                <a:gd name="T96" fmla="*/ 152 w 267"/>
                <a:gd name="T97" fmla="*/ 29 h 124"/>
                <a:gd name="T98" fmla="*/ 152 w 267"/>
                <a:gd name="T99" fmla="*/ 48 h 124"/>
                <a:gd name="T100" fmla="*/ 171 w 267"/>
                <a:gd name="T101" fmla="*/ 38 h 124"/>
                <a:gd name="T102" fmla="*/ 162 w 267"/>
                <a:gd name="T103" fmla="*/ 29 h 124"/>
                <a:gd name="T104" fmla="*/ 162 w 267"/>
                <a:gd name="T105" fmla="*/ 10 h 124"/>
                <a:gd name="T106" fmla="*/ 162 w 267"/>
                <a:gd name="T107" fmla="*/ 10 h 124"/>
                <a:gd name="T108" fmla="*/ 181 w 267"/>
                <a:gd name="T109" fmla="*/ 10 h 1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7"/>
                <a:gd name="T166" fmla="*/ 0 h 124"/>
                <a:gd name="T167" fmla="*/ 267 w 267"/>
                <a:gd name="T168" fmla="*/ 124 h 1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7" h="124">
                  <a:moveTo>
                    <a:pt x="181" y="10"/>
                  </a:moveTo>
                  <a:lnTo>
                    <a:pt x="190" y="10"/>
                  </a:lnTo>
                  <a:lnTo>
                    <a:pt x="200" y="19"/>
                  </a:lnTo>
                  <a:lnTo>
                    <a:pt x="200" y="38"/>
                  </a:lnTo>
                  <a:lnTo>
                    <a:pt x="209" y="48"/>
                  </a:lnTo>
                  <a:lnTo>
                    <a:pt x="219" y="57"/>
                  </a:lnTo>
                  <a:lnTo>
                    <a:pt x="209" y="67"/>
                  </a:lnTo>
                  <a:lnTo>
                    <a:pt x="238" y="76"/>
                  </a:lnTo>
                  <a:lnTo>
                    <a:pt x="248" y="76"/>
                  </a:lnTo>
                  <a:lnTo>
                    <a:pt x="248" y="86"/>
                  </a:lnTo>
                  <a:lnTo>
                    <a:pt x="267" y="86"/>
                  </a:lnTo>
                  <a:lnTo>
                    <a:pt x="267" y="96"/>
                  </a:lnTo>
                  <a:lnTo>
                    <a:pt x="257" y="96"/>
                  </a:lnTo>
                  <a:lnTo>
                    <a:pt x="248" y="96"/>
                  </a:lnTo>
                  <a:lnTo>
                    <a:pt x="238" y="105"/>
                  </a:lnTo>
                  <a:lnTo>
                    <a:pt x="228" y="96"/>
                  </a:lnTo>
                  <a:lnTo>
                    <a:pt x="228" y="105"/>
                  </a:lnTo>
                  <a:lnTo>
                    <a:pt x="238" y="105"/>
                  </a:lnTo>
                  <a:lnTo>
                    <a:pt x="248" y="105"/>
                  </a:lnTo>
                  <a:lnTo>
                    <a:pt x="248" y="115"/>
                  </a:lnTo>
                  <a:lnTo>
                    <a:pt x="238" y="115"/>
                  </a:lnTo>
                  <a:lnTo>
                    <a:pt x="228" y="115"/>
                  </a:lnTo>
                  <a:lnTo>
                    <a:pt x="219" y="115"/>
                  </a:lnTo>
                  <a:lnTo>
                    <a:pt x="209" y="124"/>
                  </a:lnTo>
                  <a:lnTo>
                    <a:pt x="200" y="115"/>
                  </a:lnTo>
                  <a:lnTo>
                    <a:pt x="190" y="115"/>
                  </a:lnTo>
                  <a:lnTo>
                    <a:pt x="190" y="105"/>
                  </a:lnTo>
                  <a:lnTo>
                    <a:pt x="181" y="105"/>
                  </a:lnTo>
                  <a:lnTo>
                    <a:pt x="181" y="115"/>
                  </a:lnTo>
                  <a:lnTo>
                    <a:pt x="171" y="115"/>
                  </a:lnTo>
                  <a:lnTo>
                    <a:pt x="152" y="115"/>
                  </a:lnTo>
                  <a:lnTo>
                    <a:pt x="133" y="124"/>
                  </a:lnTo>
                  <a:lnTo>
                    <a:pt x="124" y="124"/>
                  </a:lnTo>
                  <a:lnTo>
                    <a:pt x="85" y="124"/>
                  </a:lnTo>
                  <a:lnTo>
                    <a:pt x="76" y="124"/>
                  </a:lnTo>
                  <a:lnTo>
                    <a:pt x="76" y="115"/>
                  </a:lnTo>
                  <a:lnTo>
                    <a:pt x="76" y="105"/>
                  </a:lnTo>
                  <a:lnTo>
                    <a:pt x="57" y="105"/>
                  </a:lnTo>
                  <a:lnTo>
                    <a:pt x="38" y="105"/>
                  </a:lnTo>
                  <a:lnTo>
                    <a:pt x="19" y="96"/>
                  </a:lnTo>
                  <a:lnTo>
                    <a:pt x="38" y="86"/>
                  </a:lnTo>
                  <a:lnTo>
                    <a:pt x="66" y="86"/>
                  </a:lnTo>
                  <a:lnTo>
                    <a:pt x="85" y="86"/>
                  </a:lnTo>
                  <a:lnTo>
                    <a:pt x="105" y="86"/>
                  </a:lnTo>
                  <a:lnTo>
                    <a:pt x="85" y="76"/>
                  </a:lnTo>
                  <a:lnTo>
                    <a:pt x="66" y="76"/>
                  </a:lnTo>
                  <a:lnTo>
                    <a:pt x="47" y="76"/>
                  </a:lnTo>
                  <a:lnTo>
                    <a:pt x="38" y="76"/>
                  </a:lnTo>
                  <a:lnTo>
                    <a:pt x="19" y="76"/>
                  </a:lnTo>
                  <a:lnTo>
                    <a:pt x="9" y="67"/>
                  </a:lnTo>
                  <a:lnTo>
                    <a:pt x="28" y="67"/>
                  </a:lnTo>
                  <a:lnTo>
                    <a:pt x="38" y="57"/>
                  </a:lnTo>
                  <a:lnTo>
                    <a:pt x="47" y="57"/>
                  </a:lnTo>
                  <a:lnTo>
                    <a:pt x="38" y="57"/>
                  </a:lnTo>
                  <a:lnTo>
                    <a:pt x="19" y="57"/>
                  </a:lnTo>
                  <a:lnTo>
                    <a:pt x="9" y="57"/>
                  </a:lnTo>
                  <a:lnTo>
                    <a:pt x="19" y="48"/>
                  </a:lnTo>
                  <a:lnTo>
                    <a:pt x="0" y="48"/>
                  </a:lnTo>
                  <a:lnTo>
                    <a:pt x="0" y="38"/>
                  </a:lnTo>
                  <a:lnTo>
                    <a:pt x="19" y="38"/>
                  </a:lnTo>
                  <a:lnTo>
                    <a:pt x="9" y="38"/>
                  </a:lnTo>
                  <a:lnTo>
                    <a:pt x="9" y="29"/>
                  </a:lnTo>
                  <a:lnTo>
                    <a:pt x="9" y="19"/>
                  </a:lnTo>
                  <a:lnTo>
                    <a:pt x="19" y="19"/>
                  </a:lnTo>
                  <a:lnTo>
                    <a:pt x="28" y="19"/>
                  </a:lnTo>
                  <a:lnTo>
                    <a:pt x="47" y="10"/>
                  </a:lnTo>
                  <a:lnTo>
                    <a:pt x="57" y="0"/>
                  </a:lnTo>
                  <a:lnTo>
                    <a:pt x="66" y="10"/>
                  </a:lnTo>
                  <a:lnTo>
                    <a:pt x="76" y="10"/>
                  </a:lnTo>
                  <a:lnTo>
                    <a:pt x="66" y="19"/>
                  </a:lnTo>
                  <a:lnTo>
                    <a:pt x="66" y="29"/>
                  </a:lnTo>
                  <a:lnTo>
                    <a:pt x="76" y="19"/>
                  </a:lnTo>
                  <a:lnTo>
                    <a:pt x="85" y="19"/>
                  </a:lnTo>
                  <a:lnTo>
                    <a:pt x="76" y="19"/>
                  </a:lnTo>
                  <a:lnTo>
                    <a:pt x="85" y="10"/>
                  </a:lnTo>
                  <a:lnTo>
                    <a:pt x="114" y="19"/>
                  </a:lnTo>
                  <a:lnTo>
                    <a:pt x="114" y="29"/>
                  </a:lnTo>
                  <a:lnTo>
                    <a:pt x="105" y="29"/>
                  </a:lnTo>
                  <a:lnTo>
                    <a:pt x="105" y="38"/>
                  </a:lnTo>
                  <a:lnTo>
                    <a:pt x="114" y="38"/>
                  </a:lnTo>
                  <a:lnTo>
                    <a:pt x="114" y="29"/>
                  </a:lnTo>
                  <a:lnTo>
                    <a:pt x="124" y="29"/>
                  </a:lnTo>
                  <a:lnTo>
                    <a:pt x="133" y="29"/>
                  </a:lnTo>
                  <a:lnTo>
                    <a:pt x="124" y="19"/>
                  </a:lnTo>
                  <a:lnTo>
                    <a:pt x="133" y="19"/>
                  </a:lnTo>
                  <a:lnTo>
                    <a:pt x="152" y="29"/>
                  </a:lnTo>
                  <a:lnTo>
                    <a:pt x="152" y="38"/>
                  </a:lnTo>
                  <a:lnTo>
                    <a:pt x="152" y="48"/>
                  </a:lnTo>
                  <a:lnTo>
                    <a:pt x="162" y="48"/>
                  </a:lnTo>
                  <a:lnTo>
                    <a:pt x="171" y="38"/>
                  </a:lnTo>
                  <a:lnTo>
                    <a:pt x="162" y="38"/>
                  </a:lnTo>
                  <a:lnTo>
                    <a:pt x="162" y="29"/>
                  </a:lnTo>
                  <a:lnTo>
                    <a:pt x="162" y="19"/>
                  </a:lnTo>
                  <a:lnTo>
                    <a:pt x="162" y="10"/>
                  </a:lnTo>
                  <a:lnTo>
                    <a:pt x="171" y="10"/>
                  </a:lnTo>
                  <a:lnTo>
                    <a:pt x="181"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47" name="Freeform 328">
              <a:extLst>
                <a:ext uri="{FF2B5EF4-FFF2-40B4-BE49-F238E27FC236}">
                  <a16:creationId xmlns:a16="http://schemas.microsoft.com/office/drawing/2014/main" id="{95FC3C4D-1DAF-4906-84CD-6CB315FF276D}"/>
                </a:ext>
              </a:extLst>
            </p:cNvPr>
            <p:cNvSpPr>
              <a:spLocks/>
            </p:cNvSpPr>
            <p:nvPr/>
          </p:nvSpPr>
          <p:spPr bwMode="gray">
            <a:xfrm>
              <a:off x="940" y="1488"/>
              <a:ext cx="267" cy="124"/>
            </a:xfrm>
            <a:custGeom>
              <a:avLst/>
              <a:gdLst>
                <a:gd name="T0" fmla="*/ 190 w 267"/>
                <a:gd name="T1" fmla="*/ 10 h 124"/>
                <a:gd name="T2" fmla="*/ 200 w 267"/>
                <a:gd name="T3" fmla="*/ 19 h 124"/>
                <a:gd name="T4" fmla="*/ 209 w 267"/>
                <a:gd name="T5" fmla="*/ 48 h 124"/>
                <a:gd name="T6" fmla="*/ 209 w 267"/>
                <a:gd name="T7" fmla="*/ 67 h 124"/>
                <a:gd name="T8" fmla="*/ 238 w 267"/>
                <a:gd name="T9" fmla="*/ 76 h 124"/>
                <a:gd name="T10" fmla="*/ 248 w 267"/>
                <a:gd name="T11" fmla="*/ 86 h 124"/>
                <a:gd name="T12" fmla="*/ 267 w 267"/>
                <a:gd name="T13" fmla="*/ 96 h 124"/>
                <a:gd name="T14" fmla="*/ 257 w 267"/>
                <a:gd name="T15" fmla="*/ 96 h 124"/>
                <a:gd name="T16" fmla="*/ 248 w 267"/>
                <a:gd name="T17" fmla="*/ 96 h 124"/>
                <a:gd name="T18" fmla="*/ 228 w 267"/>
                <a:gd name="T19" fmla="*/ 96 h 124"/>
                <a:gd name="T20" fmla="*/ 228 w 267"/>
                <a:gd name="T21" fmla="*/ 105 h 124"/>
                <a:gd name="T22" fmla="*/ 248 w 267"/>
                <a:gd name="T23" fmla="*/ 105 h 124"/>
                <a:gd name="T24" fmla="*/ 238 w 267"/>
                <a:gd name="T25" fmla="*/ 115 h 124"/>
                <a:gd name="T26" fmla="*/ 219 w 267"/>
                <a:gd name="T27" fmla="*/ 115 h 124"/>
                <a:gd name="T28" fmla="*/ 200 w 267"/>
                <a:gd name="T29" fmla="*/ 115 h 124"/>
                <a:gd name="T30" fmla="*/ 190 w 267"/>
                <a:gd name="T31" fmla="*/ 105 h 124"/>
                <a:gd name="T32" fmla="*/ 181 w 267"/>
                <a:gd name="T33" fmla="*/ 115 h 124"/>
                <a:gd name="T34" fmla="*/ 152 w 267"/>
                <a:gd name="T35" fmla="*/ 115 h 124"/>
                <a:gd name="T36" fmla="*/ 124 w 267"/>
                <a:gd name="T37" fmla="*/ 124 h 124"/>
                <a:gd name="T38" fmla="*/ 76 w 267"/>
                <a:gd name="T39" fmla="*/ 124 h 124"/>
                <a:gd name="T40" fmla="*/ 76 w 267"/>
                <a:gd name="T41" fmla="*/ 105 h 124"/>
                <a:gd name="T42" fmla="*/ 38 w 267"/>
                <a:gd name="T43" fmla="*/ 105 h 124"/>
                <a:gd name="T44" fmla="*/ 19 w 267"/>
                <a:gd name="T45" fmla="*/ 96 h 124"/>
                <a:gd name="T46" fmla="*/ 66 w 267"/>
                <a:gd name="T47" fmla="*/ 86 h 124"/>
                <a:gd name="T48" fmla="*/ 105 w 267"/>
                <a:gd name="T49" fmla="*/ 86 h 124"/>
                <a:gd name="T50" fmla="*/ 85 w 267"/>
                <a:gd name="T51" fmla="*/ 76 h 124"/>
                <a:gd name="T52" fmla="*/ 66 w 267"/>
                <a:gd name="T53" fmla="*/ 76 h 124"/>
                <a:gd name="T54" fmla="*/ 38 w 267"/>
                <a:gd name="T55" fmla="*/ 76 h 124"/>
                <a:gd name="T56" fmla="*/ 9 w 267"/>
                <a:gd name="T57" fmla="*/ 67 h 124"/>
                <a:gd name="T58" fmla="*/ 38 w 267"/>
                <a:gd name="T59" fmla="*/ 57 h 124"/>
                <a:gd name="T60" fmla="*/ 38 w 267"/>
                <a:gd name="T61" fmla="*/ 57 h 124"/>
                <a:gd name="T62" fmla="*/ 19 w 267"/>
                <a:gd name="T63" fmla="*/ 57 h 124"/>
                <a:gd name="T64" fmla="*/ 19 w 267"/>
                <a:gd name="T65" fmla="*/ 48 h 124"/>
                <a:gd name="T66" fmla="*/ 0 w 267"/>
                <a:gd name="T67" fmla="*/ 38 h 124"/>
                <a:gd name="T68" fmla="*/ 9 w 267"/>
                <a:gd name="T69" fmla="*/ 38 h 124"/>
                <a:gd name="T70" fmla="*/ 9 w 267"/>
                <a:gd name="T71" fmla="*/ 19 h 124"/>
                <a:gd name="T72" fmla="*/ 28 w 267"/>
                <a:gd name="T73" fmla="*/ 19 h 124"/>
                <a:gd name="T74" fmla="*/ 57 w 267"/>
                <a:gd name="T75" fmla="*/ 0 h 124"/>
                <a:gd name="T76" fmla="*/ 76 w 267"/>
                <a:gd name="T77" fmla="*/ 10 h 124"/>
                <a:gd name="T78" fmla="*/ 66 w 267"/>
                <a:gd name="T79" fmla="*/ 29 h 124"/>
                <a:gd name="T80" fmla="*/ 76 w 267"/>
                <a:gd name="T81" fmla="*/ 19 h 124"/>
                <a:gd name="T82" fmla="*/ 76 w 267"/>
                <a:gd name="T83" fmla="*/ 19 h 124"/>
                <a:gd name="T84" fmla="*/ 114 w 267"/>
                <a:gd name="T85" fmla="*/ 19 h 124"/>
                <a:gd name="T86" fmla="*/ 105 w 267"/>
                <a:gd name="T87" fmla="*/ 29 h 124"/>
                <a:gd name="T88" fmla="*/ 114 w 267"/>
                <a:gd name="T89" fmla="*/ 38 h 124"/>
                <a:gd name="T90" fmla="*/ 124 w 267"/>
                <a:gd name="T91" fmla="*/ 29 h 124"/>
                <a:gd name="T92" fmla="*/ 133 w 267"/>
                <a:gd name="T93" fmla="*/ 29 h 124"/>
                <a:gd name="T94" fmla="*/ 124 w 267"/>
                <a:gd name="T95" fmla="*/ 19 h 124"/>
                <a:gd name="T96" fmla="*/ 152 w 267"/>
                <a:gd name="T97" fmla="*/ 29 h 124"/>
                <a:gd name="T98" fmla="*/ 152 w 267"/>
                <a:gd name="T99" fmla="*/ 48 h 124"/>
                <a:gd name="T100" fmla="*/ 171 w 267"/>
                <a:gd name="T101" fmla="*/ 38 h 124"/>
                <a:gd name="T102" fmla="*/ 162 w 267"/>
                <a:gd name="T103" fmla="*/ 29 h 124"/>
                <a:gd name="T104" fmla="*/ 162 w 267"/>
                <a:gd name="T105" fmla="*/ 10 h 124"/>
                <a:gd name="T106" fmla="*/ 162 w 267"/>
                <a:gd name="T107" fmla="*/ 10 h 124"/>
                <a:gd name="T108" fmla="*/ 181 w 267"/>
                <a:gd name="T109" fmla="*/ 10 h 1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7"/>
                <a:gd name="T166" fmla="*/ 0 h 124"/>
                <a:gd name="T167" fmla="*/ 267 w 267"/>
                <a:gd name="T168" fmla="*/ 124 h 1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7" h="124">
                  <a:moveTo>
                    <a:pt x="181" y="10"/>
                  </a:moveTo>
                  <a:lnTo>
                    <a:pt x="190" y="10"/>
                  </a:lnTo>
                  <a:lnTo>
                    <a:pt x="200" y="19"/>
                  </a:lnTo>
                  <a:lnTo>
                    <a:pt x="200" y="38"/>
                  </a:lnTo>
                  <a:lnTo>
                    <a:pt x="209" y="48"/>
                  </a:lnTo>
                  <a:lnTo>
                    <a:pt x="219" y="57"/>
                  </a:lnTo>
                  <a:lnTo>
                    <a:pt x="209" y="67"/>
                  </a:lnTo>
                  <a:lnTo>
                    <a:pt x="238" y="76"/>
                  </a:lnTo>
                  <a:lnTo>
                    <a:pt x="248" y="76"/>
                  </a:lnTo>
                  <a:lnTo>
                    <a:pt x="248" y="86"/>
                  </a:lnTo>
                  <a:lnTo>
                    <a:pt x="267" y="86"/>
                  </a:lnTo>
                  <a:lnTo>
                    <a:pt x="267" y="96"/>
                  </a:lnTo>
                  <a:lnTo>
                    <a:pt x="257" y="96"/>
                  </a:lnTo>
                  <a:lnTo>
                    <a:pt x="248" y="96"/>
                  </a:lnTo>
                  <a:lnTo>
                    <a:pt x="238" y="105"/>
                  </a:lnTo>
                  <a:lnTo>
                    <a:pt x="228" y="96"/>
                  </a:lnTo>
                  <a:lnTo>
                    <a:pt x="228" y="105"/>
                  </a:lnTo>
                  <a:lnTo>
                    <a:pt x="238" y="105"/>
                  </a:lnTo>
                  <a:lnTo>
                    <a:pt x="248" y="105"/>
                  </a:lnTo>
                  <a:lnTo>
                    <a:pt x="248" y="115"/>
                  </a:lnTo>
                  <a:lnTo>
                    <a:pt x="238" y="115"/>
                  </a:lnTo>
                  <a:lnTo>
                    <a:pt x="228" y="115"/>
                  </a:lnTo>
                  <a:lnTo>
                    <a:pt x="219" y="115"/>
                  </a:lnTo>
                  <a:lnTo>
                    <a:pt x="209" y="124"/>
                  </a:lnTo>
                  <a:lnTo>
                    <a:pt x="200" y="115"/>
                  </a:lnTo>
                  <a:lnTo>
                    <a:pt x="190" y="115"/>
                  </a:lnTo>
                  <a:lnTo>
                    <a:pt x="190" y="105"/>
                  </a:lnTo>
                  <a:lnTo>
                    <a:pt x="181" y="105"/>
                  </a:lnTo>
                  <a:lnTo>
                    <a:pt x="181" y="115"/>
                  </a:lnTo>
                  <a:lnTo>
                    <a:pt x="171" y="115"/>
                  </a:lnTo>
                  <a:lnTo>
                    <a:pt x="152" y="115"/>
                  </a:lnTo>
                  <a:lnTo>
                    <a:pt x="133" y="124"/>
                  </a:lnTo>
                  <a:lnTo>
                    <a:pt x="124" y="124"/>
                  </a:lnTo>
                  <a:lnTo>
                    <a:pt x="85" y="124"/>
                  </a:lnTo>
                  <a:lnTo>
                    <a:pt x="76" y="124"/>
                  </a:lnTo>
                  <a:lnTo>
                    <a:pt x="76" y="115"/>
                  </a:lnTo>
                  <a:lnTo>
                    <a:pt x="76" y="105"/>
                  </a:lnTo>
                  <a:lnTo>
                    <a:pt x="57" y="105"/>
                  </a:lnTo>
                  <a:lnTo>
                    <a:pt x="38" y="105"/>
                  </a:lnTo>
                  <a:lnTo>
                    <a:pt x="19" y="96"/>
                  </a:lnTo>
                  <a:lnTo>
                    <a:pt x="38" y="86"/>
                  </a:lnTo>
                  <a:lnTo>
                    <a:pt x="66" y="86"/>
                  </a:lnTo>
                  <a:lnTo>
                    <a:pt x="85" y="86"/>
                  </a:lnTo>
                  <a:lnTo>
                    <a:pt x="105" y="86"/>
                  </a:lnTo>
                  <a:lnTo>
                    <a:pt x="85" y="76"/>
                  </a:lnTo>
                  <a:lnTo>
                    <a:pt x="66" y="76"/>
                  </a:lnTo>
                  <a:lnTo>
                    <a:pt x="47" y="76"/>
                  </a:lnTo>
                  <a:lnTo>
                    <a:pt x="38" y="76"/>
                  </a:lnTo>
                  <a:lnTo>
                    <a:pt x="19" y="76"/>
                  </a:lnTo>
                  <a:lnTo>
                    <a:pt x="9" y="67"/>
                  </a:lnTo>
                  <a:lnTo>
                    <a:pt x="28" y="67"/>
                  </a:lnTo>
                  <a:lnTo>
                    <a:pt x="38" y="57"/>
                  </a:lnTo>
                  <a:lnTo>
                    <a:pt x="47" y="57"/>
                  </a:lnTo>
                  <a:lnTo>
                    <a:pt x="38" y="57"/>
                  </a:lnTo>
                  <a:lnTo>
                    <a:pt x="19" y="57"/>
                  </a:lnTo>
                  <a:lnTo>
                    <a:pt x="9" y="57"/>
                  </a:lnTo>
                  <a:lnTo>
                    <a:pt x="19" y="48"/>
                  </a:lnTo>
                  <a:lnTo>
                    <a:pt x="0" y="48"/>
                  </a:lnTo>
                  <a:lnTo>
                    <a:pt x="0" y="38"/>
                  </a:lnTo>
                  <a:lnTo>
                    <a:pt x="19" y="38"/>
                  </a:lnTo>
                  <a:lnTo>
                    <a:pt x="9" y="38"/>
                  </a:lnTo>
                  <a:lnTo>
                    <a:pt x="9" y="29"/>
                  </a:lnTo>
                  <a:lnTo>
                    <a:pt x="9" y="19"/>
                  </a:lnTo>
                  <a:lnTo>
                    <a:pt x="19" y="19"/>
                  </a:lnTo>
                  <a:lnTo>
                    <a:pt x="28" y="19"/>
                  </a:lnTo>
                  <a:lnTo>
                    <a:pt x="47" y="10"/>
                  </a:lnTo>
                  <a:lnTo>
                    <a:pt x="57" y="0"/>
                  </a:lnTo>
                  <a:lnTo>
                    <a:pt x="66" y="10"/>
                  </a:lnTo>
                  <a:lnTo>
                    <a:pt x="76" y="10"/>
                  </a:lnTo>
                  <a:lnTo>
                    <a:pt x="66" y="19"/>
                  </a:lnTo>
                  <a:lnTo>
                    <a:pt x="66" y="29"/>
                  </a:lnTo>
                  <a:lnTo>
                    <a:pt x="76" y="19"/>
                  </a:lnTo>
                  <a:lnTo>
                    <a:pt x="85" y="19"/>
                  </a:lnTo>
                  <a:lnTo>
                    <a:pt x="76" y="19"/>
                  </a:lnTo>
                  <a:lnTo>
                    <a:pt x="85" y="10"/>
                  </a:lnTo>
                  <a:lnTo>
                    <a:pt x="114" y="19"/>
                  </a:lnTo>
                  <a:lnTo>
                    <a:pt x="114" y="29"/>
                  </a:lnTo>
                  <a:lnTo>
                    <a:pt x="105" y="29"/>
                  </a:lnTo>
                  <a:lnTo>
                    <a:pt x="105" y="38"/>
                  </a:lnTo>
                  <a:lnTo>
                    <a:pt x="114" y="38"/>
                  </a:lnTo>
                  <a:lnTo>
                    <a:pt x="114" y="29"/>
                  </a:lnTo>
                  <a:lnTo>
                    <a:pt x="124" y="29"/>
                  </a:lnTo>
                  <a:lnTo>
                    <a:pt x="133" y="29"/>
                  </a:lnTo>
                  <a:lnTo>
                    <a:pt x="124" y="19"/>
                  </a:lnTo>
                  <a:lnTo>
                    <a:pt x="133" y="19"/>
                  </a:lnTo>
                  <a:lnTo>
                    <a:pt x="152" y="29"/>
                  </a:lnTo>
                  <a:lnTo>
                    <a:pt x="152" y="38"/>
                  </a:lnTo>
                  <a:lnTo>
                    <a:pt x="152" y="48"/>
                  </a:lnTo>
                  <a:lnTo>
                    <a:pt x="162" y="48"/>
                  </a:lnTo>
                  <a:lnTo>
                    <a:pt x="171" y="38"/>
                  </a:lnTo>
                  <a:lnTo>
                    <a:pt x="162" y="38"/>
                  </a:lnTo>
                  <a:lnTo>
                    <a:pt x="162" y="29"/>
                  </a:lnTo>
                  <a:lnTo>
                    <a:pt x="162" y="19"/>
                  </a:lnTo>
                  <a:lnTo>
                    <a:pt x="162" y="10"/>
                  </a:lnTo>
                  <a:lnTo>
                    <a:pt x="171" y="10"/>
                  </a:lnTo>
                  <a:lnTo>
                    <a:pt x="181"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48" name="Freeform 329">
              <a:extLst>
                <a:ext uri="{FF2B5EF4-FFF2-40B4-BE49-F238E27FC236}">
                  <a16:creationId xmlns:a16="http://schemas.microsoft.com/office/drawing/2014/main" id="{5CB7AAA4-B79D-40F0-9960-9AA05D92F24B}"/>
                </a:ext>
              </a:extLst>
            </p:cNvPr>
            <p:cNvSpPr>
              <a:spLocks/>
            </p:cNvSpPr>
            <p:nvPr/>
          </p:nvSpPr>
          <p:spPr bwMode="gray">
            <a:xfrm>
              <a:off x="905" y="1459"/>
              <a:ext cx="152" cy="96"/>
            </a:xfrm>
            <a:custGeom>
              <a:avLst/>
              <a:gdLst>
                <a:gd name="T0" fmla="*/ 152 w 152"/>
                <a:gd name="T1" fmla="*/ 29 h 96"/>
                <a:gd name="T2" fmla="*/ 152 w 152"/>
                <a:gd name="T3" fmla="*/ 29 h 96"/>
                <a:gd name="T4" fmla="*/ 143 w 152"/>
                <a:gd name="T5" fmla="*/ 29 h 96"/>
                <a:gd name="T6" fmla="*/ 124 w 152"/>
                <a:gd name="T7" fmla="*/ 48 h 96"/>
                <a:gd name="T8" fmla="*/ 114 w 152"/>
                <a:gd name="T9" fmla="*/ 48 h 96"/>
                <a:gd name="T10" fmla="*/ 95 w 152"/>
                <a:gd name="T11" fmla="*/ 58 h 96"/>
                <a:gd name="T12" fmla="*/ 95 w 152"/>
                <a:gd name="T13" fmla="*/ 58 h 96"/>
                <a:gd name="T14" fmla="*/ 95 w 152"/>
                <a:gd name="T15" fmla="*/ 67 h 96"/>
                <a:gd name="T16" fmla="*/ 86 w 152"/>
                <a:gd name="T17" fmla="*/ 58 h 96"/>
                <a:gd name="T18" fmla="*/ 86 w 152"/>
                <a:gd name="T19" fmla="*/ 67 h 96"/>
                <a:gd name="T20" fmla="*/ 86 w 152"/>
                <a:gd name="T21" fmla="*/ 77 h 96"/>
                <a:gd name="T22" fmla="*/ 76 w 152"/>
                <a:gd name="T23" fmla="*/ 86 h 96"/>
                <a:gd name="T24" fmla="*/ 67 w 152"/>
                <a:gd name="T25" fmla="*/ 86 h 96"/>
                <a:gd name="T26" fmla="*/ 57 w 152"/>
                <a:gd name="T27" fmla="*/ 86 h 96"/>
                <a:gd name="T28" fmla="*/ 47 w 152"/>
                <a:gd name="T29" fmla="*/ 96 h 96"/>
                <a:gd name="T30" fmla="*/ 38 w 152"/>
                <a:gd name="T31" fmla="*/ 96 h 96"/>
                <a:gd name="T32" fmla="*/ 38 w 152"/>
                <a:gd name="T33" fmla="*/ 77 h 96"/>
                <a:gd name="T34" fmla="*/ 9 w 152"/>
                <a:gd name="T35" fmla="*/ 67 h 96"/>
                <a:gd name="T36" fmla="*/ 0 w 152"/>
                <a:gd name="T37" fmla="*/ 67 h 96"/>
                <a:gd name="T38" fmla="*/ 9 w 152"/>
                <a:gd name="T39" fmla="*/ 58 h 96"/>
                <a:gd name="T40" fmla="*/ 19 w 152"/>
                <a:gd name="T41" fmla="*/ 58 h 96"/>
                <a:gd name="T42" fmla="*/ 19 w 152"/>
                <a:gd name="T43" fmla="*/ 48 h 96"/>
                <a:gd name="T44" fmla="*/ 9 w 152"/>
                <a:gd name="T45" fmla="*/ 48 h 96"/>
                <a:gd name="T46" fmla="*/ 9 w 152"/>
                <a:gd name="T47" fmla="*/ 39 h 96"/>
                <a:gd name="T48" fmla="*/ 19 w 152"/>
                <a:gd name="T49" fmla="*/ 48 h 96"/>
                <a:gd name="T50" fmla="*/ 19 w 152"/>
                <a:gd name="T51" fmla="*/ 39 h 96"/>
                <a:gd name="T52" fmla="*/ 19 w 152"/>
                <a:gd name="T53" fmla="*/ 39 h 96"/>
                <a:gd name="T54" fmla="*/ 19 w 152"/>
                <a:gd name="T55" fmla="*/ 29 h 96"/>
                <a:gd name="T56" fmla="*/ 28 w 152"/>
                <a:gd name="T57" fmla="*/ 20 h 96"/>
                <a:gd name="T58" fmla="*/ 19 w 152"/>
                <a:gd name="T59" fmla="*/ 0 h 96"/>
                <a:gd name="T60" fmla="*/ 57 w 152"/>
                <a:gd name="T61" fmla="*/ 0 h 96"/>
                <a:gd name="T62" fmla="*/ 57 w 152"/>
                <a:gd name="T63" fmla="*/ 0 h 96"/>
                <a:gd name="T64" fmla="*/ 76 w 152"/>
                <a:gd name="T65" fmla="*/ 0 h 96"/>
                <a:gd name="T66" fmla="*/ 86 w 152"/>
                <a:gd name="T67" fmla="*/ 10 h 96"/>
                <a:gd name="T68" fmla="*/ 95 w 152"/>
                <a:gd name="T69" fmla="*/ 10 h 96"/>
                <a:gd name="T70" fmla="*/ 95 w 152"/>
                <a:gd name="T71" fmla="*/ 10 h 96"/>
                <a:gd name="T72" fmla="*/ 105 w 152"/>
                <a:gd name="T73" fmla="*/ 10 h 96"/>
                <a:gd name="T74" fmla="*/ 105 w 152"/>
                <a:gd name="T75" fmla="*/ 10 h 96"/>
                <a:gd name="T76" fmla="*/ 105 w 152"/>
                <a:gd name="T77" fmla="*/ 10 h 96"/>
                <a:gd name="T78" fmla="*/ 105 w 152"/>
                <a:gd name="T79" fmla="*/ 10 h 96"/>
                <a:gd name="T80" fmla="*/ 124 w 152"/>
                <a:gd name="T81" fmla="*/ 10 h 96"/>
                <a:gd name="T82" fmla="*/ 152 w 152"/>
                <a:gd name="T83" fmla="*/ 29 h 96"/>
                <a:gd name="T84" fmla="*/ 152 w 152"/>
                <a:gd name="T85" fmla="*/ 29 h 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2"/>
                <a:gd name="T130" fmla="*/ 0 h 96"/>
                <a:gd name="T131" fmla="*/ 152 w 152"/>
                <a:gd name="T132" fmla="*/ 96 h 9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2" h="96">
                  <a:moveTo>
                    <a:pt x="152" y="29"/>
                  </a:moveTo>
                  <a:lnTo>
                    <a:pt x="152" y="29"/>
                  </a:lnTo>
                  <a:lnTo>
                    <a:pt x="143" y="29"/>
                  </a:lnTo>
                  <a:lnTo>
                    <a:pt x="124" y="48"/>
                  </a:lnTo>
                  <a:lnTo>
                    <a:pt x="114" y="48"/>
                  </a:lnTo>
                  <a:lnTo>
                    <a:pt x="95" y="58"/>
                  </a:lnTo>
                  <a:lnTo>
                    <a:pt x="95" y="67"/>
                  </a:lnTo>
                  <a:lnTo>
                    <a:pt x="86" y="58"/>
                  </a:lnTo>
                  <a:lnTo>
                    <a:pt x="86" y="67"/>
                  </a:lnTo>
                  <a:lnTo>
                    <a:pt x="86" y="77"/>
                  </a:lnTo>
                  <a:lnTo>
                    <a:pt x="76" y="86"/>
                  </a:lnTo>
                  <a:lnTo>
                    <a:pt x="67" y="86"/>
                  </a:lnTo>
                  <a:lnTo>
                    <a:pt x="57" y="86"/>
                  </a:lnTo>
                  <a:lnTo>
                    <a:pt x="47" y="96"/>
                  </a:lnTo>
                  <a:lnTo>
                    <a:pt x="38" y="96"/>
                  </a:lnTo>
                  <a:lnTo>
                    <a:pt x="38" y="77"/>
                  </a:lnTo>
                  <a:lnTo>
                    <a:pt x="9" y="67"/>
                  </a:lnTo>
                  <a:lnTo>
                    <a:pt x="0" y="67"/>
                  </a:lnTo>
                  <a:lnTo>
                    <a:pt x="9" y="58"/>
                  </a:lnTo>
                  <a:lnTo>
                    <a:pt x="19" y="58"/>
                  </a:lnTo>
                  <a:lnTo>
                    <a:pt x="19" y="48"/>
                  </a:lnTo>
                  <a:lnTo>
                    <a:pt x="9" y="48"/>
                  </a:lnTo>
                  <a:lnTo>
                    <a:pt x="9" y="39"/>
                  </a:lnTo>
                  <a:lnTo>
                    <a:pt x="19" y="48"/>
                  </a:lnTo>
                  <a:lnTo>
                    <a:pt x="19" y="39"/>
                  </a:lnTo>
                  <a:lnTo>
                    <a:pt x="19" y="29"/>
                  </a:lnTo>
                  <a:lnTo>
                    <a:pt x="28" y="20"/>
                  </a:lnTo>
                  <a:lnTo>
                    <a:pt x="19" y="0"/>
                  </a:lnTo>
                  <a:lnTo>
                    <a:pt x="57" y="0"/>
                  </a:lnTo>
                  <a:lnTo>
                    <a:pt x="76" y="0"/>
                  </a:lnTo>
                  <a:lnTo>
                    <a:pt x="86" y="10"/>
                  </a:lnTo>
                  <a:lnTo>
                    <a:pt x="95" y="10"/>
                  </a:lnTo>
                  <a:lnTo>
                    <a:pt x="105" y="10"/>
                  </a:lnTo>
                  <a:lnTo>
                    <a:pt x="124" y="10"/>
                  </a:lnTo>
                  <a:lnTo>
                    <a:pt x="152" y="2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49" name="Freeform 330">
              <a:extLst>
                <a:ext uri="{FF2B5EF4-FFF2-40B4-BE49-F238E27FC236}">
                  <a16:creationId xmlns:a16="http://schemas.microsoft.com/office/drawing/2014/main" id="{6E5F51F9-9FC2-4939-80C7-A4B3D7668EDF}"/>
                </a:ext>
              </a:extLst>
            </p:cNvPr>
            <p:cNvSpPr>
              <a:spLocks/>
            </p:cNvSpPr>
            <p:nvPr/>
          </p:nvSpPr>
          <p:spPr bwMode="gray">
            <a:xfrm>
              <a:off x="905" y="1459"/>
              <a:ext cx="152" cy="96"/>
            </a:xfrm>
            <a:custGeom>
              <a:avLst/>
              <a:gdLst>
                <a:gd name="T0" fmla="*/ 152 w 152"/>
                <a:gd name="T1" fmla="*/ 29 h 96"/>
                <a:gd name="T2" fmla="*/ 152 w 152"/>
                <a:gd name="T3" fmla="*/ 29 h 96"/>
                <a:gd name="T4" fmla="*/ 143 w 152"/>
                <a:gd name="T5" fmla="*/ 29 h 96"/>
                <a:gd name="T6" fmla="*/ 124 w 152"/>
                <a:gd name="T7" fmla="*/ 48 h 96"/>
                <a:gd name="T8" fmla="*/ 114 w 152"/>
                <a:gd name="T9" fmla="*/ 48 h 96"/>
                <a:gd name="T10" fmla="*/ 95 w 152"/>
                <a:gd name="T11" fmla="*/ 58 h 96"/>
                <a:gd name="T12" fmla="*/ 95 w 152"/>
                <a:gd name="T13" fmla="*/ 58 h 96"/>
                <a:gd name="T14" fmla="*/ 95 w 152"/>
                <a:gd name="T15" fmla="*/ 67 h 96"/>
                <a:gd name="T16" fmla="*/ 86 w 152"/>
                <a:gd name="T17" fmla="*/ 58 h 96"/>
                <a:gd name="T18" fmla="*/ 86 w 152"/>
                <a:gd name="T19" fmla="*/ 67 h 96"/>
                <a:gd name="T20" fmla="*/ 86 w 152"/>
                <a:gd name="T21" fmla="*/ 77 h 96"/>
                <a:gd name="T22" fmla="*/ 76 w 152"/>
                <a:gd name="T23" fmla="*/ 86 h 96"/>
                <a:gd name="T24" fmla="*/ 67 w 152"/>
                <a:gd name="T25" fmla="*/ 86 h 96"/>
                <a:gd name="T26" fmla="*/ 57 w 152"/>
                <a:gd name="T27" fmla="*/ 86 h 96"/>
                <a:gd name="T28" fmla="*/ 47 w 152"/>
                <a:gd name="T29" fmla="*/ 96 h 96"/>
                <a:gd name="T30" fmla="*/ 38 w 152"/>
                <a:gd name="T31" fmla="*/ 96 h 96"/>
                <a:gd name="T32" fmla="*/ 38 w 152"/>
                <a:gd name="T33" fmla="*/ 77 h 96"/>
                <a:gd name="T34" fmla="*/ 9 w 152"/>
                <a:gd name="T35" fmla="*/ 67 h 96"/>
                <a:gd name="T36" fmla="*/ 0 w 152"/>
                <a:gd name="T37" fmla="*/ 67 h 96"/>
                <a:gd name="T38" fmla="*/ 9 w 152"/>
                <a:gd name="T39" fmla="*/ 58 h 96"/>
                <a:gd name="T40" fmla="*/ 19 w 152"/>
                <a:gd name="T41" fmla="*/ 58 h 96"/>
                <a:gd name="T42" fmla="*/ 19 w 152"/>
                <a:gd name="T43" fmla="*/ 48 h 96"/>
                <a:gd name="T44" fmla="*/ 9 w 152"/>
                <a:gd name="T45" fmla="*/ 48 h 96"/>
                <a:gd name="T46" fmla="*/ 9 w 152"/>
                <a:gd name="T47" fmla="*/ 39 h 96"/>
                <a:gd name="T48" fmla="*/ 19 w 152"/>
                <a:gd name="T49" fmla="*/ 48 h 96"/>
                <a:gd name="T50" fmla="*/ 19 w 152"/>
                <a:gd name="T51" fmla="*/ 39 h 96"/>
                <a:gd name="T52" fmla="*/ 19 w 152"/>
                <a:gd name="T53" fmla="*/ 39 h 96"/>
                <a:gd name="T54" fmla="*/ 19 w 152"/>
                <a:gd name="T55" fmla="*/ 29 h 96"/>
                <a:gd name="T56" fmla="*/ 28 w 152"/>
                <a:gd name="T57" fmla="*/ 20 h 96"/>
                <a:gd name="T58" fmla="*/ 19 w 152"/>
                <a:gd name="T59" fmla="*/ 0 h 96"/>
                <a:gd name="T60" fmla="*/ 57 w 152"/>
                <a:gd name="T61" fmla="*/ 0 h 96"/>
                <a:gd name="T62" fmla="*/ 57 w 152"/>
                <a:gd name="T63" fmla="*/ 0 h 96"/>
                <a:gd name="T64" fmla="*/ 76 w 152"/>
                <a:gd name="T65" fmla="*/ 0 h 96"/>
                <a:gd name="T66" fmla="*/ 86 w 152"/>
                <a:gd name="T67" fmla="*/ 10 h 96"/>
                <a:gd name="T68" fmla="*/ 95 w 152"/>
                <a:gd name="T69" fmla="*/ 10 h 96"/>
                <a:gd name="T70" fmla="*/ 95 w 152"/>
                <a:gd name="T71" fmla="*/ 10 h 96"/>
                <a:gd name="T72" fmla="*/ 105 w 152"/>
                <a:gd name="T73" fmla="*/ 10 h 96"/>
                <a:gd name="T74" fmla="*/ 105 w 152"/>
                <a:gd name="T75" fmla="*/ 10 h 96"/>
                <a:gd name="T76" fmla="*/ 105 w 152"/>
                <a:gd name="T77" fmla="*/ 10 h 96"/>
                <a:gd name="T78" fmla="*/ 105 w 152"/>
                <a:gd name="T79" fmla="*/ 10 h 96"/>
                <a:gd name="T80" fmla="*/ 124 w 152"/>
                <a:gd name="T81" fmla="*/ 10 h 96"/>
                <a:gd name="T82" fmla="*/ 152 w 152"/>
                <a:gd name="T83" fmla="*/ 29 h 96"/>
                <a:gd name="T84" fmla="*/ 152 w 152"/>
                <a:gd name="T85" fmla="*/ 29 h 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2"/>
                <a:gd name="T130" fmla="*/ 0 h 96"/>
                <a:gd name="T131" fmla="*/ 152 w 152"/>
                <a:gd name="T132" fmla="*/ 96 h 9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2" h="96">
                  <a:moveTo>
                    <a:pt x="152" y="29"/>
                  </a:moveTo>
                  <a:lnTo>
                    <a:pt x="152" y="29"/>
                  </a:lnTo>
                  <a:lnTo>
                    <a:pt x="143" y="29"/>
                  </a:lnTo>
                  <a:lnTo>
                    <a:pt x="124" y="48"/>
                  </a:lnTo>
                  <a:lnTo>
                    <a:pt x="114" y="48"/>
                  </a:lnTo>
                  <a:lnTo>
                    <a:pt x="95" y="58"/>
                  </a:lnTo>
                  <a:lnTo>
                    <a:pt x="95" y="67"/>
                  </a:lnTo>
                  <a:lnTo>
                    <a:pt x="86" y="58"/>
                  </a:lnTo>
                  <a:lnTo>
                    <a:pt x="86" y="67"/>
                  </a:lnTo>
                  <a:lnTo>
                    <a:pt x="86" y="77"/>
                  </a:lnTo>
                  <a:lnTo>
                    <a:pt x="76" y="86"/>
                  </a:lnTo>
                  <a:lnTo>
                    <a:pt x="67" y="86"/>
                  </a:lnTo>
                  <a:lnTo>
                    <a:pt x="57" y="86"/>
                  </a:lnTo>
                  <a:lnTo>
                    <a:pt x="47" y="96"/>
                  </a:lnTo>
                  <a:lnTo>
                    <a:pt x="38" y="96"/>
                  </a:lnTo>
                  <a:lnTo>
                    <a:pt x="38" y="77"/>
                  </a:lnTo>
                  <a:lnTo>
                    <a:pt x="9" y="67"/>
                  </a:lnTo>
                  <a:lnTo>
                    <a:pt x="0" y="67"/>
                  </a:lnTo>
                  <a:lnTo>
                    <a:pt x="9" y="58"/>
                  </a:lnTo>
                  <a:lnTo>
                    <a:pt x="19" y="58"/>
                  </a:lnTo>
                  <a:lnTo>
                    <a:pt x="19" y="48"/>
                  </a:lnTo>
                  <a:lnTo>
                    <a:pt x="9" y="48"/>
                  </a:lnTo>
                  <a:lnTo>
                    <a:pt x="9" y="39"/>
                  </a:lnTo>
                  <a:lnTo>
                    <a:pt x="19" y="48"/>
                  </a:lnTo>
                  <a:lnTo>
                    <a:pt x="19" y="39"/>
                  </a:lnTo>
                  <a:lnTo>
                    <a:pt x="19" y="29"/>
                  </a:lnTo>
                  <a:lnTo>
                    <a:pt x="28" y="20"/>
                  </a:lnTo>
                  <a:lnTo>
                    <a:pt x="19" y="0"/>
                  </a:lnTo>
                  <a:lnTo>
                    <a:pt x="57" y="0"/>
                  </a:lnTo>
                  <a:lnTo>
                    <a:pt x="76" y="0"/>
                  </a:lnTo>
                  <a:lnTo>
                    <a:pt x="86" y="10"/>
                  </a:lnTo>
                  <a:lnTo>
                    <a:pt x="95" y="10"/>
                  </a:lnTo>
                  <a:lnTo>
                    <a:pt x="105" y="10"/>
                  </a:lnTo>
                  <a:lnTo>
                    <a:pt x="124" y="10"/>
                  </a:lnTo>
                  <a:lnTo>
                    <a:pt x="152" y="2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50" name="Freeform 331">
              <a:extLst>
                <a:ext uri="{FF2B5EF4-FFF2-40B4-BE49-F238E27FC236}">
                  <a16:creationId xmlns:a16="http://schemas.microsoft.com/office/drawing/2014/main" id="{8C6B19F7-95B2-439F-92A9-6AD092DA7C91}"/>
                </a:ext>
              </a:extLst>
            </p:cNvPr>
            <p:cNvSpPr>
              <a:spLocks/>
            </p:cNvSpPr>
            <p:nvPr/>
          </p:nvSpPr>
          <p:spPr bwMode="gray">
            <a:xfrm>
              <a:off x="1188" y="1479"/>
              <a:ext cx="85" cy="66"/>
            </a:xfrm>
            <a:custGeom>
              <a:avLst/>
              <a:gdLst>
                <a:gd name="T0" fmla="*/ 66 w 85"/>
                <a:gd name="T1" fmla="*/ 0 h 66"/>
                <a:gd name="T2" fmla="*/ 66 w 85"/>
                <a:gd name="T3" fmla="*/ 0 h 66"/>
                <a:gd name="T4" fmla="*/ 57 w 85"/>
                <a:gd name="T5" fmla="*/ 0 h 66"/>
                <a:gd name="T6" fmla="*/ 47 w 85"/>
                <a:gd name="T7" fmla="*/ 0 h 66"/>
                <a:gd name="T8" fmla="*/ 38 w 85"/>
                <a:gd name="T9" fmla="*/ 0 h 66"/>
                <a:gd name="T10" fmla="*/ 28 w 85"/>
                <a:gd name="T11" fmla="*/ 0 h 66"/>
                <a:gd name="T12" fmla="*/ 28 w 85"/>
                <a:gd name="T13" fmla="*/ 0 h 66"/>
                <a:gd name="T14" fmla="*/ 19 w 85"/>
                <a:gd name="T15" fmla="*/ 0 h 66"/>
                <a:gd name="T16" fmla="*/ 19 w 85"/>
                <a:gd name="T17" fmla="*/ 9 h 66"/>
                <a:gd name="T18" fmla="*/ 28 w 85"/>
                <a:gd name="T19" fmla="*/ 9 h 66"/>
                <a:gd name="T20" fmla="*/ 19 w 85"/>
                <a:gd name="T21" fmla="*/ 9 h 66"/>
                <a:gd name="T22" fmla="*/ 19 w 85"/>
                <a:gd name="T23" fmla="*/ 9 h 66"/>
                <a:gd name="T24" fmla="*/ 19 w 85"/>
                <a:gd name="T25" fmla="*/ 19 h 66"/>
                <a:gd name="T26" fmla="*/ 28 w 85"/>
                <a:gd name="T27" fmla="*/ 19 h 66"/>
                <a:gd name="T28" fmla="*/ 28 w 85"/>
                <a:gd name="T29" fmla="*/ 19 h 66"/>
                <a:gd name="T30" fmla="*/ 28 w 85"/>
                <a:gd name="T31" fmla="*/ 19 h 66"/>
                <a:gd name="T32" fmla="*/ 38 w 85"/>
                <a:gd name="T33" fmla="*/ 28 h 66"/>
                <a:gd name="T34" fmla="*/ 28 w 85"/>
                <a:gd name="T35" fmla="*/ 28 h 66"/>
                <a:gd name="T36" fmla="*/ 19 w 85"/>
                <a:gd name="T37" fmla="*/ 38 h 66"/>
                <a:gd name="T38" fmla="*/ 9 w 85"/>
                <a:gd name="T39" fmla="*/ 19 h 66"/>
                <a:gd name="T40" fmla="*/ 0 w 85"/>
                <a:gd name="T41" fmla="*/ 28 h 66"/>
                <a:gd name="T42" fmla="*/ 0 w 85"/>
                <a:gd name="T43" fmla="*/ 28 h 66"/>
                <a:gd name="T44" fmla="*/ 0 w 85"/>
                <a:gd name="T45" fmla="*/ 38 h 66"/>
                <a:gd name="T46" fmla="*/ 9 w 85"/>
                <a:gd name="T47" fmla="*/ 47 h 66"/>
                <a:gd name="T48" fmla="*/ 9 w 85"/>
                <a:gd name="T49" fmla="*/ 47 h 66"/>
                <a:gd name="T50" fmla="*/ 19 w 85"/>
                <a:gd name="T51" fmla="*/ 47 h 66"/>
                <a:gd name="T52" fmla="*/ 28 w 85"/>
                <a:gd name="T53" fmla="*/ 47 h 66"/>
                <a:gd name="T54" fmla="*/ 38 w 85"/>
                <a:gd name="T55" fmla="*/ 57 h 66"/>
                <a:gd name="T56" fmla="*/ 47 w 85"/>
                <a:gd name="T57" fmla="*/ 66 h 66"/>
                <a:gd name="T58" fmla="*/ 66 w 85"/>
                <a:gd name="T59" fmla="*/ 66 h 66"/>
                <a:gd name="T60" fmla="*/ 66 w 85"/>
                <a:gd name="T61" fmla="*/ 66 h 66"/>
                <a:gd name="T62" fmla="*/ 57 w 85"/>
                <a:gd name="T63" fmla="*/ 57 h 66"/>
                <a:gd name="T64" fmla="*/ 57 w 85"/>
                <a:gd name="T65" fmla="*/ 57 h 66"/>
                <a:gd name="T66" fmla="*/ 66 w 85"/>
                <a:gd name="T67" fmla="*/ 57 h 66"/>
                <a:gd name="T68" fmla="*/ 85 w 85"/>
                <a:gd name="T69" fmla="*/ 57 h 66"/>
                <a:gd name="T70" fmla="*/ 85 w 85"/>
                <a:gd name="T71" fmla="*/ 47 h 66"/>
                <a:gd name="T72" fmla="*/ 85 w 85"/>
                <a:gd name="T73" fmla="*/ 47 h 66"/>
                <a:gd name="T74" fmla="*/ 85 w 85"/>
                <a:gd name="T75" fmla="*/ 38 h 66"/>
                <a:gd name="T76" fmla="*/ 85 w 85"/>
                <a:gd name="T77" fmla="*/ 38 h 66"/>
                <a:gd name="T78" fmla="*/ 85 w 85"/>
                <a:gd name="T79" fmla="*/ 38 h 66"/>
                <a:gd name="T80" fmla="*/ 76 w 85"/>
                <a:gd name="T81" fmla="*/ 28 h 66"/>
                <a:gd name="T82" fmla="*/ 76 w 85"/>
                <a:gd name="T83" fmla="*/ 28 h 66"/>
                <a:gd name="T84" fmla="*/ 66 w 85"/>
                <a:gd name="T85" fmla="*/ 28 h 66"/>
                <a:gd name="T86" fmla="*/ 57 w 85"/>
                <a:gd name="T87" fmla="*/ 28 h 66"/>
                <a:gd name="T88" fmla="*/ 57 w 85"/>
                <a:gd name="T89" fmla="*/ 19 h 66"/>
                <a:gd name="T90" fmla="*/ 66 w 85"/>
                <a:gd name="T91" fmla="*/ 9 h 66"/>
                <a:gd name="T92" fmla="*/ 66 w 85"/>
                <a:gd name="T93" fmla="*/ 9 h 66"/>
                <a:gd name="T94" fmla="*/ 76 w 85"/>
                <a:gd name="T95" fmla="*/ 9 h 66"/>
                <a:gd name="T96" fmla="*/ 76 w 85"/>
                <a:gd name="T97" fmla="*/ 0 h 66"/>
                <a:gd name="T98" fmla="*/ 66 w 85"/>
                <a:gd name="T99" fmla="*/ 0 h 6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
                <a:gd name="T151" fmla="*/ 0 h 66"/>
                <a:gd name="T152" fmla="*/ 85 w 85"/>
                <a:gd name="T153" fmla="*/ 66 h 6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 h="66">
                  <a:moveTo>
                    <a:pt x="66" y="0"/>
                  </a:moveTo>
                  <a:lnTo>
                    <a:pt x="66" y="0"/>
                  </a:lnTo>
                  <a:lnTo>
                    <a:pt x="57" y="0"/>
                  </a:lnTo>
                  <a:lnTo>
                    <a:pt x="47" y="0"/>
                  </a:lnTo>
                  <a:lnTo>
                    <a:pt x="38" y="0"/>
                  </a:lnTo>
                  <a:lnTo>
                    <a:pt x="28" y="0"/>
                  </a:lnTo>
                  <a:lnTo>
                    <a:pt x="19" y="0"/>
                  </a:lnTo>
                  <a:lnTo>
                    <a:pt x="19" y="9"/>
                  </a:lnTo>
                  <a:lnTo>
                    <a:pt x="28" y="9"/>
                  </a:lnTo>
                  <a:lnTo>
                    <a:pt x="19" y="9"/>
                  </a:lnTo>
                  <a:lnTo>
                    <a:pt x="19" y="19"/>
                  </a:lnTo>
                  <a:lnTo>
                    <a:pt x="28" y="19"/>
                  </a:lnTo>
                  <a:lnTo>
                    <a:pt x="38" y="28"/>
                  </a:lnTo>
                  <a:lnTo>
                    <a:pt x="28" y="28"/>
                  </a:lnTo>
                  <a:lnTo>
                    <a:pt x="19" y="38"/>
                  </a:lnTo>
                  <a:lnTo>
                    <a:pt x="9" y="19"/>
                  </a:lnTo>
                  <a:lnTo>
                    <a:pt x="0" y="28"/>
                  </a:lnTo>
                  <a:lnTo>
                    <a:pt x="0" y="38"/>
                  </a:lnTo>
                  <a:lnTo>
                    <a:pt x="9" y="47"/>
                  </a:lnTo>
                  <a:lnTo>
                    <a:pt x="19" y="47"/>
                  </a:lnTo>
                  <a:lnTo>
                    <a:pt x="28" y="47"/>
                  </a:lnTo>
                  <a:lnTo>
                    <a:pt x="38" y="57"/>
                  </a:lnTo>
                  <a:lnTo>
                    <a:pt x="47" y="66"/>
                  </a:lnTo>
                  <a:lnTo>
                    <a:pt x="66" y="66"/>
                  </a:lnTo>
                  <a:lnTo>
                    <a:pt x="57" y="57"/>
                  </a:lnTo>
                  <a:lnTo>
                    <a:pt x="66" y="57"/>
                  </a:lnTo>
                  <a:lnTo>
                    <a:pt x="85" y="57"/>
                  </a:lnTo>
                  <a:lnTo>
                    <a:pt x="85" y="47"/>
                  </a:lnTo>
                  <a:lnTo>
                    <a:pt x="85" y="38"/>
                  </a:lnTo>
                  <a:lnTo>
                    <a:pt x="76" y="28"/>
                  </a:lnTo>
                  <a:lnTo>
                    <a:pt x="66" y="28"/>
                  </a:lnTo>
                  <a:lnTo>
                    <a:pt x="57" y="28"/>
                  </a:lnTo>
                  <a:lnTo>
                    <a:pt x="57" y="19"/>
                  </a:lnTo>
                  <a:lnTo>
                    <a:pt x="66" y="9"/>
                  </a:lnTo>
                  <a:lnTo>
                    <a:pt x="76" y="9"/>
                  </a:lnTo>
                  <a:lnTo>
                    <a:pt x="76" y="0"/>
                  </a:lnTo>
                  <a:lnTo>
                    <a:pt x="66"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51" name="Freeform 332">
              <a:extLst>
                <a:ext uri="{FF2B5EF4-FFF2-40B4-BE49-F238E27FC236}">
                  <a16:creationId xmlns:a16="http://schemas.microsoft.com/office/drawing/2014/main" id="{1BEDBBF2-2F1D-4B82-8922-BFD5BF8AE4DA}"/>
                </a:ext>
              </a:extLst>
            </p:cNvPr>
            <p:cNvSpPr>
              <a:spLocks/>
            </p:cNvSpPr>
            <p:nvPr/>
          </p:nvSpPr>
          <p:spPr bwMode="gray">
            <a:xfrm>
              <a:off x="1188" y="1479"/>
              <a:ext cx="85" cy="66"/>
            </a:xfrm>
            <a:custGeom>
              <a:avLst/>
              <a:gdLst>
                <a:gd name="T0" fmla="*/ 66 w 85"/>
                <a:gd name="T1" fmla="*/ 0 h 66"/>
                <a:gd name="T2" fmla="*/ 66 w 85"/>
                <a:gd name="T3" fmla="*/ 0 h 66"/>
                <a:gd name="T4" fmla="*/ 57 w 85"/>
                <a:gd name="T5" fmla="*/ 0 h 66"/>
                <a:gd name="T6" fmla="*/ 47 w 85"/>
                <a:gd name="T7" fmla="*/ 0 h 66"/>
                <a:gd name="T8" fmla="*/ 38 w 85"/>
                <a:gd name="T9" fmla="*/ 0 h 66"/>
                <a:gd name="T10" fmla="*/ 28 w 85"/>
                <a:gd name="T11" fmla="*/ 0 h 66"/>
                <a:gd name="T12" fmla="*/ 28 w 85"/>
                <a:gd name="T13" fmla="*/ 0 h 66"/>
                <a:gd name="T14" fmla="*/ 19 w 85"/>
                <a:gd name="T15" fmla="*/ 0 h 66"/>
                <a:gd name="T16" fmla="*/ 19 w 85"/>
                <a:gd name="T17" fmla="*/ 9 h 66"/>
                <a:gd name="T18" fmla="*/ 28 w 85"/>
                <a:gd name="T19" fmla="*/ 9 h 66"/>
                <a:gd name="T20" fmla="*/ 19 w 85"/>
                <a:gd name="T21" fmla="*/ 9 h 66"/>
                <a:gd name="T22" fmla="*/ 19 w 85"/>
                <a:gd name="T23" fmla="*/ 9 h 66"/>
                <a:gd name="T24" fmla="*/ 19 w 85"/>
                <a:gd name="T25" fmla="*/ 19 h 66"/>
                <a:gd name="T26" fmla="*/ 28 w 85"/>
                <a:gd name="T27" fmla="*/ 19 h 66"/>
                <a:gd name="T28" fmla="*/ 28 w 85"/>
                <a:gd name="T29" fmla="*/ 19 h 66"/>
                <a:gd name="T30" fmla="*/ 28 w 85"/>
                <a:gd name="T31" fmla="*/ 19 h 66"/>
                <a:gd name="T32" fmla="*/ 38 w 85"/>
                <a:gd name="T33" fmla="*/ 28 h 66"/>
                <a:gd name="T34" fmla="*/ 28 w 85"/>
                <a:gd name="T35" fmla="*/ 28 h 66"/>
                <a:gd name="T36" fmla="*/ 19 w 85"/>
                <a:gd name="T37" fmla="*/ 38 h 66"/>
                <a:gd name="T38" fmla="*/ 9 w 85"/>
                <a:gd name="T39" fmla="*/ 19 h 66"/>
                <a:gd name="T40" fmla="*/ 0 w 85"/>
                <a:gd name="T41" fmla="*/ 28 h 66"/>
                <a:gd name="T42" fmla="*/ 0 w 85"/>
                <a:gd name="T43" fmla="*/ 28 h 66"/>
                <a:gd name="T44" fmla="*/ 0 w 85"/>
                <a:gd name="T45" fmla="*/ 38 h 66"/>
                <a:gd name="T46" fmla="*/ 9 w 85"/>
                <a:gd name="T47" fmla="*/ 47 h 66"/>
                <a:gd name="T48" fmla="*/ 9 w 85"/>
                <a:gd name="T49" fmla="*/ 47 h 66"/>
                <a:gd name="T50" fmla="*/ 19 w 85"/>
                <a:gd name="T51" fmla="*/ 47 h 66"/>
                <a:gd name="T52" fmla="*/ 28 w 85"/>
                <a:gd name="T53" fmla="*/ 47 h 66"/>
                <a:gd name="T54" fmla="*/ 38 w 85"/>
                <a:gd name="T55" fmla="*/ 57 h 66"/>
                <a:gd name="T56" fmla="*/ 47 w 85"/>
                <a:gd name="T57" fmla="*/ 66 h 66"/>
                <a:gd name="T58" fmla="*/ 66 w 85"/>
                <a:gd name="T59" fmla="*/ 66 h 66"/>
                <a:gd name="T60" fmla="*/ 66 w 85"/>
                <a:gd name="T61" fmla="*/ 66 h 66"/>
                <a:gd name="T62" fmla="*/ 57 w 85"/>
                <a:gd name="T63" fmla="*/ 57 h 66"/>
                <a:gd name="T64" fmla="*/ 57 w 85"/>
                <a:gd name="T65" fmla="*/ 57 h 66"/>
                <a:gd name="T66" fmla="*/ 66 w 85"/>
                <a:gd name="T67" fmla="*/ 57 h 66"/>
                <a:gd name="T68" fmla="*/ 85 w 85"/>
                <a:gd name="T69" fmla="*/ 57 h 66"/>
                <a:gd name="T70" fmla="*/ 85 w 85"/>
                <a:gd name="T71" fmla="*/ 47 h 66"/>
                <a:gd name="T72" fmla="*/ 85 w 85"/>
                <a:gd name="T73" fmla="*/ 47 h 66"/>
                <a:gd name="T74" fmla="*/ 85 w 85"/>
                <a:gd name="T75" fmla="*/ 38 h 66"/>
                <a:gd name="T76" fmla="*/ 85 w 85"/>
                <a:gd name="T77" fmla="*/ 38 h 66"/>
                <a:gd name="T78" fmla="*/ 85 w 85"/>
                <a:gd name="T79" fmla="*/ 38 h 66"/>
                <a:gd name="T80" fmla="*/ 76 w 85"/>
                <a:gd name="T81" fmla="*/ 28 h 66"/>
                <a:gd name="T82" fmla="*/ 76 w 85"/>
                <a:gd name="T83" fmla="*/ 28 h 66"/>
                <a:gd name="T84" fmla="*/ 66 w 85"/>
                <a:gd name="T85" fmla="*/ 28 h 66"/>
                <a:gd name="T86" fmla="*/ 57 w 85"/>
                <a:gd name="T87" fmla="*/ 28 h 66"/>
                <a:gd name="T88" fmla="*/ 57 w 85"/>
                <a:gd name="T89" fmla="*/ 19 h 66"/>
                <a:gd name="T90" fmla="*/ 66 w 85"/>
                <a:gd name="T91" fmla="*/ 9 h 66"/>
                <a:gd name="T92" fmla="*/ 66 w 85"/>
                <a:gd name="T93" fmla="*/ 9 h 66"/>
                <a:gd name="T94" fmla="*/ 76 w 85"/>
                <a:gd name="T95" fmla="*/ 9 h 66"/>
                <a:gd name="T96" fmla="*/ 76 w 85"/>
                <a:gd name="T97" fmla="*/ 0 h 66"/>
                <a:gd name="T98" fmla="*/ 66 w 85"/>
                <a:gd name="T99" fmla="*/ 0 h 6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
                <a:gd name="T151" fmla="*/ 0 h 66"/>
                <a:gd name="T152" fmla="*/ 85 w 85"/>
                <a:gd name="T153" fmla="*/ 66 h 6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 h="66">
                  <a:moveTo>
                    <a:pt x="66" y="0"/>
                  </a:moveTo>
                  <a:lnTo>
                    <a:pt x="66" y="0"/>
                  </a:lnTo>
                  <a:lnTo>
                    <a:pt x="57" y="0"/>
                  </a:lnTo>
                  <a:lnTo>
                    <a:pt x="47" y="0"/>
                  </a:lnTo>
                  <a:lnTo>
                    <a:pt x="38" y="0"/>
                  </a:lnTo>
                  <a:lnTo>
                    <a:pt x="28" y="0"/>
                  </a:lnTo>
                  <a:lnTo>
                    <a:pt x="19" y="0"/>
                  </a:lnTo>
                  <a:lnTo>
                    <a:pt x="19" y="9"/>
                  </a:lnTo>
                  <a:lnTo>
                    <a:pt x="28" y="9"/>
                  </a:lnTo>
                  <a:lnTo>
                    <a:pt x="19" y="9"/>
                  </a:lnTo>
                  <a:lnTo>
                    <a:pt x="19" y="19"/>
                  </a:lnTo>
                  <a:lnTo>
                    <a:pt x="28" y="19"/>
                  </a:lnTo>
                  <a:lnTo>
                    <a:pt x="38" y="28"/>
                  </a:lnTo>
                  <a:lnTo>
                    <a:pt x="28" y="28"/>
                  </a:lnTo>
                  <a:lnTo>
                    <a:pt x="19" y="38"/>
                  </a:lnTo>
                  <a:lnTo>
                    <a:pt x="9" y="19"/>
                  </a:lnTo>
                  <a:lnTo>
                    <a:pt x="0" y="28"/>
                  </a:lnTo>
                  <a:lnTo>
                    <a:pt x="0" y="38"/>
                  </a:lnTo>
                  <a:lnTo>
                    <a:pt x="9" y="47"/>
                  </a:lnTo>
                  <a:lnTo>
                    <a:pt x="19" y="47"/>
                  </a:lnTo>
                  <a:lnTo>
                    <a:pt x="28" y="47"/>
                  </a:lnTo>
                  <a:lnTo>
                    <a:pt x="38" y="57"/>
                  </a:lnTo>
                  <a:lnTo>
                    <a:pt x="47" y="66"/>
                  </a:lnTo>
                  <a:lnTo>
                    <a:pt x="66" y="66"/>
                  </a:lnTo>
                  <a:lnTo>
                    <a:pt x="57" y="57"/>
                  </a:lnTo>
                  <a:lnTo>
                    <a:pt x="66" y="57"/>
                  </a:lnTo>
                  <a:lnTo>
                    <a:pt x="85" y="57"/>
                  </a:lnTo>
                  <a:lnTo>
                    <a:pt x="85" y="47"/>
                  </a:lnTo>
                  <a:lnTo>
                    <a:pt x="85" y="38"/>
                  </a:lnTo>
                  <a:lnTo>
                    <a:pt x="76" y="28"/>
                  </a:lnTo>
                  <a:lnTo>
                    <a:pt x="66" y="28"/>
                  </a:lnTo>
                  <a:lnTo>
                    <a:pt x="57" y="28"/>
                  </a:lnTo>
                  <a:lnTo>
                    <a:pt x="57" y="19"/>
                  </a:lnTo>
                  <a:lnTo>
                    <a:pt x="66" y="9"/>
                  </a:lnTo>
                  <a:lnTo>
                    <a:pt x="76" y="9"/>
                  </a:lnTo>
                  <a:lnTo>
                    <a:pt x="76" y="0"/>
                  </a:lnTo>
                  <a:lnTo>
                    <a:pt x="66"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52" name="Freeform 333">
              <a:extLst>
                <a:ext uri="{FF2B5EF4-FFF2-40B4-BE49-F238E27FC236}">
                  <a16:creationId xmlns:a16="http://schemas.microsoft.com/office/drawing/2014/main" id="{2030F478-18E1-4FDC-9EED-749DF3ED21B5}"/>
                </a:ext>
              </a:extLst>
            </p:cNvPr>
            <p:cNvSpPr>
              <a:spLocks/>
            </p:cNvSpPr>
            <p:nvPr/>
          </p:nvSpPr>
          <p:spPr bwMode="gray">
            <a:xfrm>
              <a:off x="1226" y="1584"/>
              <a:ext cx="66" cy="28"/>
            </a:xfrm>
            <a:custGeom>
              <a:avLst/>
              <a:gdLst>
                <a:gd name="T0" fmla="*/ 19 w 66"/>
                <a:gd name="T1" fmla="*/ 9 h 28"/>
                <a:gd name="T2" fmla="*/ 28 w 66"/>
                <a:gd name="T3" fmla="*/ 0 h 28"/>
                <a:gd name="T4" fmla="*/ 28 w 66"/>
                <a:gd name="T5" fmla="*/ 0 h 28"/>
                <a:gd name="T6" fmla="*/ 38 w 66"/>
                <a:gd name="T7" fmla="*/ 9 h 28"/>
                <a:gd name="T8" fmla="*/ 38 w 66"/>
                <a:gd name="T9" fmla="*/ 9 h 28"/>
                <a:gd name="T10" fmla="*/ 47 w 66"/>
                <a:gd name="T11" fmla="*/ 9 h 28"/>
                <a:gd name="T12" fmla="*/ 47 w 66"/>
                <a:gd name="T13" fmla="*/ 9 h 28"/>
                <a:gd name="T14" fmla="*/ 66 w 66"/>
                <a:gd name="T15" fmla="*/ 19 h 28"/>
                <a:gd name="T16" fmla="*/ 57 w 66"/>
                <a:gd name="T17" fmla="*/ 28 h 28"/>
                <a:gd name="T18" fmla="*/ 47 w 66"/>
                <a:gd name="T19" fmla="*/ 28 h 28"/>
                <a:gd name="T20" fmla="*/ 38 w 66"/>
                <a:gd name="T21" fmla="*/ 28 h 28"/>
                <a:gd name="T22" fmla="*/ 28 w 66"/>
                <a:gd name="T23" fmla="*/ 28 h 28"/>
                <a:gd name="T24" fmla="*/ 9 w 66"/>
                <a:gd name="T25" fmla="*/ 19 h 28"/>
                <a:gd name="T26" fmla="*/ 0 w 66"/>
                <a:gd name="T27" fmla="*/ 19 h 28"/>
                <a:gd name="T28" fmla="*/ 0 w 66"/>
                <a:gd name="T29" fmla="*/ 19 h 28"/>
                <a:gd name="T30" fmla="*/ 19 w 66"/>
                <a:gd name="T31" fmla="*/ 9 h 28"/>
                <a:gd name="T32" fmla="*/ 19 w 66"/>
                <a:gd name="T33" fmla="*/ 9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6"/>
                <a:gd name="T52" fmla="*/ 0 h 28"/>
                <a:gd name="T53" fmla="*/ 66 w 66"/>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6" h="28">
                  <a:moveTo>
                    <a:pt x="19" y="9"/>
                  </a:moveTo>
                  <a:lnTo>
                    <a:pt x="28" y="0"/>
                  </a:lnTo>
                  <a:lnTo>
                    <a:pt x="38" y="9"/>
                  </a:lnTo>
                  <a:lnTo>
                    <a:pt x="47" y="9"/>
                  </a:lnTo>
                  <a:lnTo>
                    <a:pt x="66" y="19"/>
                  </a:lnTo>
                  <a:lnTo>
                    <a:pt x="57" y="28"/>
                  </a:lnTo>
                  <a:lnTo>
                    <a:pt x="47" y="28"/>
                  </a:lnTo>
                  <a:lnTo>
                    <a:pt x="38" y="28"/>
                  </a:lnTo>
                  <a:lnTo>
                    <a:pt x="28" y="28"/>
                  </a:lnTo>
                  <a:lnTo>
                    <a:pt x="9" y="19"/>
                  </a:lnTo>
                  <a:lnTo>
                    <a:pt x="0" y="19"/>
                  </a:lnTo>
                  <a:lnTo>
                    <a:pt x="19"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53" name="Freeform 334">
              <a:extLst>
                <a:ext uri="{FF2B5EF4-FFF2-40B4-BE49-F238E27FC236}">
                  <a16:creationId xmlns:a16="http://schemas.microsoft.com/office/drawing/2014/main" id="{E5DB617D-4169-49C3-B53A-953AFBD509C3}"/>
                </a:ext>
              </a:extLst>
            </p:cNvPr>
            <p:cNvSpPr>
              <a:spLocks/>
            </p:cNvSpPr>
            <p:nvPr/>
          </p:nvSpPr>
          <p:spPr bwMode="gray">
            <a:xfrm>
              <a:off x="1226" y="1584"/>
              <a:ext cx="66" cy="28"/>
            </a:xfrm>
            <a:custGeom>
              <a:avLst/>
              <a:gdLst>
                <a:gd name="T0" fmla="*/ 19 w 66"/>
                <a:gd name="T1" fmla="*/ 9 h 28"/>
                <a:gd name="T2" fmla="*/ 28 w 66"/>
                <a:gd name="T3" fmla="*/ 0 h 28"/>
                <a:gd name="T4" fmla="*/ 28 w 66"/>
                <a:gd name="T5" fmla="*/ 0 h 28"/>
                <a:gd name="T6" fmla="*/ 38 w 66"/>
                <a:gd name="T7" fmla="*/ 9 h 28"/>
                <a:gd name="T8" fmla="*/ 38 w 66"/>
                <a:gd name="T9" fmla="*/ 9 h 28"/>
                <a:gd name="T10" fmla="*/ 47 w 66"/>
                <a:gd name="T11" fmla="*/ 9 h 28"/>
                <a:gd name="T12" fmla="*/ 47 w 66"/>
                <a:gd name="T13" fmla="*/ 9 h 28"/>
                <a:gd name="T14" fmla="*/ 66 w 66"/>
                <a:gd name="T15" fmla="*/ 19 h 28"/>
                <a:gd name="T16" fmla="*/ 57 w 66"/>
                <a:gd name="T17" fmla="*/ 28 h 28"/>
                <a:gd name="T18" fmla="*/ 47 w 66"/>
                <a:gd name="T19" fmla="*/ 28 h 28"/>
                <a:gd name="T20" fmla="*/ 38 w 66"/>
                <a:gd name="T21" fmla="*/ 28 h 28"/>
                <a:gd name="T22" fmla="*/ 28 w 66"/>
                <a:gd name="T23" fmla="*/ 28 h 28"/>
                <a:gd name="T24" fmla="*/ 9 w 66"/>
                <a:gd name="T25" fmla="*/ 19 h 28"/>
                <a:gd name="T26" fmla="*/ 0 w 66"/>
                <a:gd name="T27" fmla="*/ 19 h 28"/>
                <a:gd name="T28" fmla="*/ 0 w 66"/>
                <a:gd name="T29" fmla="*/ 19 h 28"/>
                <a:gd name="T30" fmla="*/ 19 w 66"/>
                <a:gd name="T31" fmla="*/ 9 h 28"/>
                <a:gd name="T32" fmla="*/ 19 w 66"/>
                <a:gd name="T33" fmla="*/ 9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6"/>
                <a:gd name="T52" fmla="*/ 0 h 28"/>
                <a:gd name="T53" fmla="*/ 66 w 66"/>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6" h="28">
                  <a:moveTo>
                    <a:pt x="19" y="9"/>
                  </a:moveTo>
                  <a:lnTo>
                    <a:pt x="28" y="0"/>
                  </a:lnTo>
                  <a:lnTo>
                    <a:pt x="38" y="9"/>
                  </a:lnTo>
                  <a:lnTo>
                    <a:pt x="47" y="9"/>
                  </a:lnTo>
                  <a:lnTo>
                    <a:pt x="66" y="19"/>
                  </a:lnTo>
                  <a:lnTo>
                    <a:pt x="57" y="28"/>
                  </a:lnTo>
                  <a:lnTo>
                    <a:pt x="47" y="28"/>
                  </a:lnTo>
                  <a:lnTo>
                    <a:pt x="38" y="28"/>
                  </a:lnTo>
                  <a:lnTo>
                    <a:pt x="28" y="28"/>
                  </a:lnTo>
                  <a:lnTo>
                    <a:pt x="9" y="19"/>
                  </a:lnTo>
                  <a:lnTo>
                    <a:pt x="0" y="19"/>
                  </a:lnTo>
                  <a:lnTo>
                    <a:pt x="19"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54" name="Freeform 335">
              <a:extLst>
                <a:ext uri="{FF2B5EF4-FFF2-40B4-BE49-F238E27FC236}">
                  <a16:creationId xmlns:a16="http://schemas.microsoft.com/office/drawing/2014/main" id="{9863556E-B045-4718-9743-4678F11D1E02}"/>
                </a:ext>
              </a:extLst>
            </p:cNvPr>
            <p:cNvSpPr>
              <a:spLocks/>
            </p:cNvSpPr>
            <p:nvPr/>
          </p:nvSpPr>
          <p:spPr bwMode="gray">
            <a:xfrm>
              <a:off x="1121" y="1479"/>
              <a:ext cx="28" cy="19"/>
            </a:xfrm>
            <a:custGeom>
              <a:avLst/>
              <a:gdLst>
                <a:gd name="T0" fmla="*/ 0 w 28"/>
                <a:gd name="T1" fmla="*/ 9 h 19"/>
                <a:gd name="T2" fmla="*/ 9 w 28"/>
                <a:gd name="T3" fmla="*/ 19 h 19"/>
                <a:gd name="T4" fmla="*/ 19 w 28"/>
                <a:gd name="T5" fmla="*/ 19 h 19"/>
                <a:gd name="T6" fmla="*/ 28 w 28"/>
                <a:gd name="T7" fmla="*/ 19 h 19"/>
                <a:gd name="T8" fmla="*/ 28 w 28"/>
                <a:gd name="T9" fmla="*/ 9 h 19"/>
                <a:gd name="T10" fmla="*/ 28 w 28"/>
                <a:gd name="T11" fmla="*/ 9 h 19"/>
                <a:gd name="T12" fmla="*/ 19 w 28"/>
                <a:gd name="T13" fmla="*/ 9 h 19"/>
                <a:gd name="T14" fmla="*/ 19 w 28"/>
                <a:gd name="T15" fmla="*/ 0 h 19"/>
                <a:gd name="T16" fmla="*/ 0 w 28"/>
                <a:gd name="T17" fmla="*/ 0 h 19"/>
                <a:gd name="T18" fmla="*/ 0 w 28"/>
                <a:gd name="T19" fmla="*/ 9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19"/>
                <a:gd name="T32" fmla="*/ 28 w 28"/>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19">
                  <a:moveTo>
                    <a:pt x="0" y="9"/>
                  </a:moveTo>
                  <a:lnTo>
                    <a:pt x="9" y="19"/>
                  </a:lnTo>
                  <a:lnTo>
                    <a:pt x="19" y="19"/>
                  </a:lnTo>
                  <a:lnTo>
                    <a:pt x="28" y="19"/>
                  </a:lnTo>
                  <a:lnTo>
                    <a:pt x="28" y="9"/>
                  </a:lnTo>
                  <a:lnTo>
                    <a:pt x="19" y="9"/>
                  </a:lnTo>
                  <a:lnTo>
                    <a:pt x="19" y="0"/>
                  </a:lnTo>
                  <a:lnTo>
                    <a:pt x="0" y="0"/>
                  </a:lnTo>
                  <a:lnTo>
                    <a:pt x="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55" name="Freeform 336">
              <a:extLst>
                <a:ext uri="{FF2B5EF4-FFF2-40B4-BE49-F238E27FC236}">
                  <a16:creationId xmlns:a16="http://schemas.microsoft.com/office/drawing/2014/main" id="{52B6A7B5-98EC-4735-A42A-D25D3913B9EE}"/>
                </a:ext>
              </a:extLst>
            </p:cNvPr>
            <p:cNvSpPr>
              <a:spLocks/>
            </p:cNvSpPr>
            <p:nvPr/>
          </p:nvSpPr>
          <p:spPr bwMode="gray">
            <a:xfrm>
              <a:off x="1121" y="1479"/>
              <a:ext cx="28" cy="19"/>
            </a:xfrm>
            <a:custGeom>
              <a:avLst/>
              <a:gdLst>
                <a:gd name="T0" fmla="*/ 0 w 28"/>
                <a:gd name="T1" fmla="*/ 9 h 19"/>
                <a:gd name="T2" fmla="*/ 9 w 28"/>
                <a:gd name="T3" fmla="*/ 19 h 19"/>
                <a:gd name="T4" fmla="*/ 19 w 28"/>
                <a:gd name="T5" fmla="*/ 19 h 19"/>
                <a:gd name="T6" fmla="*/ 28 w 28"/>
                <a:gd name="T7" fmla="*/ 19 h 19"/>
                <a:gd name="T8" fmla="*/ 28 w 28"/>
                <a:gd name="T9" fmla="*/ 9 h 19"/>
                <a:gd name="T10" fmla="*/ 28 w 28"/>
                <a:gd name="T11" fmla="*/ 9 h 19"/>
                <a:gd name="T12" fmla="*/ 19 w 28"/>
                <a:gd name="T13" fmla="*/ 9 h 19"/>
                <a:gd name="T14" fmla="*/ 19 w 28"/>
                <a:gd name="T15" fmla="*/ 0 h 19"/>
                <a:gd name="T16" fmla="*/ 0 w 28"/>
                <a:gd name="T17" fmla="*/ 0 h 19"/>
                <a:gd name="T18" fmla="*/ 0 w 28"/>
                <a:gd name="T19" fmla="*/ 9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19"/>
                <a:gd name="T32" fmla="*/ 28 w 28"/>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19">
                  <a:moveTo>
                    <a:pt x="0" y="9"/>
                  </a:moveTo>
                  <a:lnTo>
                    <a:pt x="9" y="19"/>
                  </a:lnTo>
                  <a:lnTo>
                    <a:pt x="19" y="19"/>
                  </a:lnTo>
                  <a:lnTo>
                    <a:pt x="28" y="19"/>
                  </a:lnTo>
                  <a:lnTo>
                    <a:pt x="28" y="9"/>
                  </a:lnTo>
                  <a:lnTo>
                    <a:pt x="19" y="9"/>
                  </a:lnTo>
                  <a:lnTo>
                    <a:pt x="19" y="0"/>
                  </a:lnTo>
                  <a:lnTo>
                    <a:pt x="0" y="0"/>
                  </a:lnTo>
                  <a:lnTo>
                    <a:pt x="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56" name="Freeform 337">
              <a:extLst>
                <a:ext uri="{FF2B5EF4-FFF2-40B4-BE49-F238E27FC236}">
                  <a16:creationId xmlns:a16="http://schemas.microsoft.com/office/drawing/2014/main" id="{7DA93883-4566-451D-A652-811694368B2F}"/>
                </a:ext>
              </a:extLst>
            </p:cNvPr>
            <p:cNvSpPr>
              <a:spLocks/>
            </p:cNvSpPr>
            <p:nvPr/>
          </p:nvSpPr>
          <p:spPr bwMode="gray">
            <a:xfrm>
              <a:off x="1283" y="1469"/>
              <a:ext cx="76" cy="57"/>
            </a:xfrm>
            <a:custGeom>
              <a:avLst/>
              <a:gdLst>
                <a:gd name="T0" fmla="*/ 9 w 76"/>
                <a:gd name="T1" fmla="*/ 57 h 57"/>
                <a:gd name="T2" fmla="*/ 19 w 76"/>
                <a:gd name="T3" fmla="*/ 57 h 57"/>
                <a:gd name="T4" fmla="*/ 19 w 76"/>
                <a:gd name="T5" fmla="*/ 57 h 57"/>
                <a:gd name="T6" fmla="*/ 28 w 76"/>
                <a:gd name="T7" fmla="*/ 48 h 57"/>
                <a:gd name="T8" fmla="*/ 19 w 76"/>
                <a:gd name="T9" fmla="*/ 38 h 57"/>
                <a:gd name="T10" fmla="*/ 28 w 76"/>
                <a:gd name="T11" fmla="*/ 38 h 57"/>
                <a:gd name="T12" fmla="*/ 38 w 76"/>
                <a:gd name="T13" fmla="*/ 38 h 57"/>
                <a:gd name="T14" fmla="*/ 47 w 76"/>
                <a:gd name="T15" fmla="*/ 38 h 57"/>
                <a:gd name="T16" fmla="*/ 57 w 76"/>
                <a:gd name="T17" fmla="*/ 38 h 57"/>
                <a:gd name="T18" fmla="*/ 76 w 76"/>
                <a:gd name="T19" fmla="*/ 10 h 57"/>
                <a:gd name="T20" fmla="*/ 76 w 76"/>
                <a:gd name="T21" fmla="*/ 10 h 57"/>
                <a:gd name="T22" fmla="*/ 57 w 76"/>
                <a:gd name="T23" fmla="*/ 0 h 57"/>
                <a:gd name="T24" fmla="*/ 47 w 76"/>
                <a:gd name="T25" fmla="*/ 0 h 57"/>
                <a:gd name="T26" fmla="*/ 38 w 76"/>
                <a:gd name="T27" fmla="*/ 0 h 57"/>
                <a:gd name="T28" fmla="*/ 28 w 76"/>
                <a:gd name="T29" fmla="*/ 0 h 57"/>
                <a:gd name="T30" fmla="*/ 19 w 76"/>
                <a:gd name="T31" fmla="*/ 0 h 57"/>
                <a:gd name="T32" fmla="*/ 9 w 76"/>
                <a:gd name="T33" fmla="*/ 10 h 57"/>
                <a:gd name="T34" fmla="*/ 9 w 76"/>
                <a:gd name="T35" fmla="*/ 10 h 57"/>
                <a:gd name="T36" fmla="*/ 9 w 76"/>
                <a:gd name="T37" fmla="*/ 10 h 57"/>
                <a:gd name="T38" fmla="*/ 9 w 76"/>
                <a:gd name="T39" fmla="*/ 10 h 57"/>
                <a:gd name="T40" fmla="*/ 0 w 76"/>
                <a:gd name="T41" fmla="*/ 10 h 57"/>
                <a:gd name="T42" fmla="*/ 9 w 76"/>
                <a:gd name="T43" fmla="*/ 38 h 57"/>
                <a:gd name="T44" fmla="*/ 0 w 76"/>
                <a:gd name="T45" fmla="*/ 38 h 57"/>
                <a:gd name="T46" fmla="*/ 9 w 76"/>
                <a:gd name="T47" fmla="*/ 48 h 57"/>
                <a:gd name="T48" fmla="*/ 9 w 76"/>
                <a:gd name="T49" fmla="*/ 57 h 5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6"/>
                <a:gd name="T76" fmla="*/ 0 h 57"/>
                <a:gd name="T77" fmla="*/ 76 w 76"/>
                <a:gd name="T78" fmla="*/ 57 h 5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6" h="57">
                  <a:moveTo>
                    <a:pt x="9" y="57"/>
                  </a:moveTo>
                  <a:lnTo>
                    <a:pt x="19" y="57"/>
                  </a:lnTo>
                  <a:lnTo>
                    <a:pt x="28" y="48"/>
                  </a:lnTo>
                  <a:lnTo>
                    <a:pt x="19" y="38"/>
                  </a:lnTo>
                  <a:lnTo>
                    <a:pt x="28" y="38"/>
                  </a:lnTo>
                  <a:lnTo>
                    <a:pt x="38" y="38"/>
                  </a:lnTo>
                  <a:lnTo>
                    <a:pt x="47" y="38"/>
                  </a:lnTo>
                  <a:lnTo>
                    <a:pt x="57" y="38"/>
                  </a:lnTo>
                  <a:lnTo>
                    <a:pt x="76" y="10"/>
                  </a:lnTo>
                  <a:lnTo>
                    <a:pt x="57" y="0"/>
                  </a:lnTo>
                  <a:lnTo>
                    <a:pt x="47" y="0"/>
                  </a:lnTo>
                  <a:lnTo>
                    <a:pt x="38" y="0"/>
                  </a:lnTo>
                  <a:lnTo>
                    <a:pt x="28" y="0"/>
                  </a:lnTo>
                  <a:lnTo>
                    <a:pt x="19" y="0"/>
                  </a:lnTo>
                  <a:lnTo>
                    <a:pt x="9" y="10"/>
                  </a:lnTo>
                  <a:lnTo>
                    <a:pt x="0" y="10"/>
                  </a:lnTo>
                  <a:lnTo>
                    <a:pt x="9" y="38"/>
                  </a:lnTo>
                  <a:lnTo>
                    <a:pt x="0" y="38"/>
                  </a:lnTo>
                  <a:lnTo>
                    <a:pt x="9" y="48"/>
                  </a:lnTo>
                  <a:lnTo>
                    <a:pt x="9" y="5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57" name="Freeform 338">
              <a:extLst>
                <a:ext uri="{FF2B5EF4-FFF2-40B4-BE49-F238E27FC236}">
                  <a16:creationId xmlns:a16="http://schemas.microsoft.com/office/drawing/2014/main" id="{14B7F149-711F-43EC-9670-D5EDD8B7C22F}"/>
                </a:ext>
              </a:extLst>
            </p:cNvPr>
            <p:cNvSpPr>
              <a:spLocks/>
            </p:cNvSpPr>
            <p:nvPr/>
          </p:nvSpPr>
          <p:spPr bwMode="gray">
            <a:xfrm>
              <a:off x="1283" y="1469"/>
              <a:ext cx="76" cy="57"/>
            </a:xfrm>
            <a:custGeom>
              <a:avLst/>
              <a:gdLst>
                <a:gd name="T0" fmla="*/ 9 w 76"/>
                <a:gd name="T1" fmla="*/ 57 h 57"/>
                <a:gd name="T2" fmla="*/ 19 w 76"/>
                <a:gd name="T3" fmla="*/ 57 h 57"/>
                <a:gd name="T4" fmla="*/ 19 w 76"/>
                <a:gd name="T5" fmla="*/ 57 h 57"/>
                <a:gd name="T6" fmla="*/ 28 w 76"/>
                <a:gd name="T7" fmla="*/ 48 h 57"/>
                <a:gd name="T8" fmla="*/ 19 w 76"/>
                <a:gd name="T9" fmla="*/ 38 h 57"/>
                <a:gd name="T10" fmla="*/ 28 w 76"/>
                <a:gd name="T11" fmla="*/ 38 h 57"/>
                <a:gd name="T12" fmla="*/ 38 w 76"/>
                <a:gd name="T13" fmla="*/ 38 h 57"/>
                <a:gd name="T14" fmla="*/ 47 w 76"/>
                <a:gd name="T15" fmla="*/ 38 h 57"/>
                <a:gd name="T16" fmla="*/ 57 w 76"/>
                <a:gd name="T17" fmla="*/ 38 h 57"/>
                <a:gd name="T18" fmla="*/ 76 w 76"/>
                <a:gd name="T19" fmla="*/ 10 h 57"/>
                <a:gd name="T20" fmla="*/ 76 w 76"/>
                <a:gd name="T21" fmla="*/ 10 h 57"/>
                <a:gd name="T22" fmla="*/ 57 w 76"/>
                <a:gd name="T23" fmla="*/ 0 h 57"/>
                <a:gd name="T24" fmla="*/ 47 w 76"/>
                <a:gd name="T25" fmla="*/ 0 h 57"/>
                <a:gd name="T26" fmla="*/ 38 w 76"/>
                <a:gd name="T27" fmla="*/ 0 h 57"/>
                <a:gd name="T28" fmla="*/ 28 w 76"/>
                <a:gd name="T29" fmla="*/ 0 h 57"/>
                <a:gd name="T30" fmla="*/ 19 w 76"/>
                <a:gd name="T31" fmla="*/ 0 h 57"/>
                <a:gd name="T32" fmla="*/ 9 w 76"/>
                <a:gd name="T33" fmla="*/ 10 h 57"/>
                <a:gd name="T34" fmla="*/ 9 w 76"/>
                <a:gd name="T35" fmla="*/ 10 h 57"/>
                <a:gd name="T36" fmla="*/ 9 w 76"/>
                <a:gd name="T37" fmla="*/ 10 h 57"/>
                <a:gd name="T38" fmla="*/ 9 w 76"/>
                <a:gd name="T39" fmla="*/ 10 h 57"/>
                <a:gd name="T40" fmla="*/ 0 w 76"/>
                <a:gd name="T41" fmla="*/ 10 h 57"/>
                <a:gd name="T42" fmla="*/ 9 w 76"/>
                <a:gd name="T43" fmla="*/ 38 h 57"/>
                <a:gd name="T44" fmla="*/ 0 w 76"/>
                <a:gd name="T45" fmla="*/ 38 h 57"/>
                <a:gd name="T46" fmla="*/ 9 w 76"/>
                <a:gd name="T47" fmla="*/ 48 h 57"/>
                <a:gd name="T48" fmla="*/ 9 w 76"/>
                <a:gd name="T49" fmla="*/ 57 h 5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6"/>
                <a:gd name="T76" fmla="*/ 0 h 57"/>
                <a:gd name="T77" fmla="*/ 76 w 76"/>
                <a:gd name="T78" fmla="*/ 57 h 5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6" h="57">
                  <a:moveTo>
                    <a:pt x="9" y="57"/>
                  </a:moveTo>
                  <a:lnTo>
                    <a:pt x="19" y="57"/>
                  </a:lnTo>
                  <a:lnTo>
                    <a:pt x="28" y="48"/>
                  </a:lnTo>
                  <a:lnTo>
                    <a:pt x="19" y="38"/>
                  </a:lnTo>
                  <a:lnTo>
                    <a:pt x="28" y="38"/>
                  </a:lnTo>
                  <a:lnTo>
                    <a:pt x="38" y="38"/>
                  </a:lnTo>
                  <a:lnTo>
                    <a:pt x="47" y="38"/>
                  </a:lnTo>
                  <a:lnTo>
                    <a:pt x="57" y="38"/>
                  </a:lnTo>
                  <a:lnTo>
                    <a:pt x="76" y="10"/>
                  </a:lnTo>
                  <a:lnTo>
                    <a:pt x="57" y="0"/>
                  </a:lnTo>
                  <a:lnTo>
                    <a:pt x="47" y="0"/>
                  </a:lnTo>
                  <a:lnTo>
                    <a:pt x="38" y="0"/>
                  </a:lnTo>
                  <a:lnTo>
                    <a:pt x="28" y="0"/>
                  </a:lnTo>
                  <a:lnTo>
                    <a:pt x="19" y="0"/>
                  </a:lnTo>
                  <a:lnTo>
                    <a:pt x="9" y="10"/>
                  </a:lnTo>
                  <a:lnTo>
                    <a:pt x="0" y="10"/>
                  </a:lnTo>
                  <a:lnTo>
                    <a:pt x="9" y="38"/>
                  </a:lnTo>
                  <a:lnTo>
                    <a:pt x="0" y="38"/>
                  </a:lnTo>
                  <a:lnTo>
                    <a:pt x="9" y="48"/>
                  </a:lnTo>
                  <a:lnTo>
                    <a:pt x="9" y="5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58" name="Freeform 339">
              <a:extLst>
                <a:ext uri="{FF2B5EF4-FFF2-40B4-BE49-F238E27FC236}">
                  <a16:creationId xmlns:a16="http://schemas.microsoft.com/office/drawing/2014/main" id="{F12879CA-6F02-48CA-A13B-B571906E6673}"/>
                </a:ext>
              </a:extLst>
            </p:cNvPr>
            <p:cNvSpPr>
              <a:spLocks/>
            </p:cNvSpPr>
            <p:nvPr/>
          </p:nvSpPr>
          <p:spPr bwMode="gray">
            <a:xfrm>
              <a:off x="1369" y="1479"/>
              <a:ext cx="419" cy="324"/>
            </a:xfrm>
            <a:custGeom>
              <a:avLst/>
              <a:gdLst>
                <a:gd name="T0" fmla="*/ 28 w 419"/>
                <a:gd name="T1" fmla="*/ 9 h 324"/>
                <a:gd name="T2" fmla="*/ 0 w 419"/>
                <a:gd name="T3" fmla="*/ 38 h 324"/>
                <a:gd name="T4" fmla="*/ 9 w 419"/>
                <a:gd name="T5" fmla="*/ 66 h 324"/>
                <a:gd name="T6" fmla="*/ 28 w 419"/>
                <a:gd name="T7" fmla="*/ 76 h 324"/>
                <a:gd name="T8" fmla="*/ 28 w 419"/>
                <a:gd name="T9" fmla="*/ 85 h 324"/>
                <a:gd name="T10" fmla="*/ 57 w 419"/>
                <a:gd name="T11" fmla="*/ 95 h 324"/>
                <a:gd name="T12" fmla="*/ 95 w 419"/>
                <a:gd name="T13" fmla="*/ 105 h 324"/>
                <a:gd name="T14" fmla="*/ 104 w 419"/>
                <a:gd name="T15" fmla="*/ 95 h 324"/>
                <a:gd name="T16" fmla="*/ 133 w 419"/>
                <a:gd name="T17" fmla="*/ 105 h 324"/>
                <a:gd name="T18" fmla="*/ 162 w 419"/>
                <a:gd name="T19" fmla="*/ 95 h 324"/>
                <a:gd name="T20" fmla="*/ 171 w 419"/>
                <a:gd name="T21" fmla="*/ 85 h 324"/>
                <a:gd name="T22" fmla="*/ 209 w 419"/>
                <a:gd name="T23" fmla="*/ 114 h 324"/>
                <a:gd name="T24" fmla="*/ 209 w 419"/>
                <a:gd name="T25" fmla="*/ 124 h 324"/>
                <a:gd name="T26" fmla="*/ 238 w 419"/>
                <a:gd name="T27" fmla="*/ 133 h 324"/>
                <a:gd name="T28" fmla="*/ 257 w 419"/>
                <a:gd name="T29" fmla="*/ 152 h 324"/>
                <a:gd name="T30" fmla="*/ 228 w 419"/>
                <a:gd name="T31" fmla="*/ 200 h 324"/>
                <a:gd name="T32" fmla="*/ 200 w 419"/>
                <a:gd name="T33" fmla="*/ 219 h 324"/>
                <a:gd name="T34" fmla="*/ 171 w 419"/>
                <a:gd name="T35" fmla="*/ 229 h 324"/>
                <a:gd name="T36" fmla="*/ 209 w 419"/>
                <a:gd name="T37" fmla="*/ 238 h 324"/>
                <a:gd name="T38" fmla="*/ 228 w 419"/>
                <a:gd name="T39" fmla="*/ 248 h 324"/>
                <a:gd name="T40" fmla="*/ 267 w 419"/>
                <a:gd name="T41" fmla="*/ 276 h 324"/>
                <a:gd name="T42" fmla="*/ 286 w 419"/>
                <a:gd name="T43" fmla="*/ 295 h 324"/>
                <a:gd name="T44" fmla="*/ 343 w 419"/>
                <a:gd name="T45" fmla="*/ 324 h 324"/>
                <a:gd name="T46" fmla="*/ 305 w 419"/>
                <a:gd name="T47" fmla="*/ 267 h 324"/>
                <a:gd name="T48" fmla="*/ 333 w 419"/>
                <a:gd name="T49" fmla="*/ 276 h 324"/>
                <a:gd name="T50" fmla="*/ 362 w 419"/>
                <a:gd name="T51" fmla="*/ 295 h 324"/>
                <a:gd name="T52" fmla="*/ 371 w 419"/>
                <a:gd name="T53" fmla="*/ 267 h 324"/>
                <a:gd name="T54" fmla="*/ 352 w 419"/>
                <a:gd name="T55" fmla="*/ 238 h 324"/>
                <a:gd name="T56" fmla="*/ 314 w 419"/>
                <a:gd name="T57" fmla="*/ 200 h 324"/>
                <a:gd name="T58" fmla="*/ 324 w 419"/>
                <a:gd name="T59" fmla="*/ 181 h 324"/>
                <a:gd name="T60" fmla="*/ 362 w 419"/>
                <a:gd name="T61" fmla="*/ 200 h 324"/>
                <a:gd name="T62" fmla="*/ 381 w 419"/>
                <a:gd name="T63" fmla="*/ 229 h 324"/>
                <a:gd name="T64" fmla="*/ 400 w 419"/>
                <a:gd name="T65" fmla="*/ 200 h 324"/>
                <a:gd name="T66" fmla="*/ 409 w 419"/>
                <a:gd name="T67" fmla="*/ 162 h 324"/>
                <a:gd name="T68" fmla="*/ 390 w 419"/>
                <a:gd name="T69" fmla="*/ 162 h 324"/>
                <a:gd name="T70" fmla="*/ 362 w 419"/>
                <a:gd name="T71" fmla="*/ 143 h 324"/>
                <a:gd name="T72" fmla="*/ 305 w 419"/>
                <a:gd name="T73" fmla="*/ 124 h 324"/>
                <a:gd name="T74" fmla="*/ 333 w 419"/>
                <a:gd name="T75" fmla="*/ 124 h 324"/>
                <a:gd name="T76" fmla="*/ 333 w 419"/>
                <a:gd name="T77" fmla="*/ 105 h 324"/>
                <a:gd name="T78" fmla="*/ 286 w 419"/>
                <a:gd name="T79" fmla="*/ 95 h 324"/>
                <a:gd name="T80" fmla="*/ 276 w 419"/>
                <a:gd name="T81" fmla="*/ 85 h 324"/>
                <a:gd name="T82" fmla="*/ 267 w 419"/>
                <a:gd name="T83" fmla="*/ 85 h 324"/>
                <a:gd name="T84" fmla="*/ 247 w 419"/>
                <a:gd name="T85" fmla="*/ 57 h 324"/>
                <a:gd name="T86" fmla="*/ 238 w 419"/>
                <a:gd name="T87" fmla="*/ 66 h 324"/>
                <a:gd name="T88" fmla="*/ 219 w 419"/>
                <a:gd name="T89" fmla="*/ 57 h 324"/>
                <a:gd name="T90" fmla="*/ 219 w 419"/>
                <a:gd name="T91" fmla="*/ 38 h 324"/>
                <a:gd name="T92" fmla="*/ 171 w 419"/>
                <a:gd name="T93" fmla="*/ 38 h 324"/>
                <a:gd name="T94" fmla="*/ 162 w 419"/>
                <a:gd name="T95" fmla="*/ 47 h 324"/>
                <a:gd name="T96" fmla="*/ 143 w 419"/>
                <a:gd name="T97" fmla="*/ 47 h 324"/>
                <a:gd name="T98" fmla="*/ 133 w 419"/>
                <a:gd name="T99" fmla="*/ 19 h 324"/>
                <a:gd name="T100" fmla="*/ 114 w 419"/>
                <a:gd name="T101" fmla="*/ 0 h 324"/>
                <a:gd name="T102" fmla="*/ 85 w 419"/>
                <a:gd name="T103" fmla="*/ 19 h 324"/>
                <a:gd name="T104" fmla="*/ 76 w 419"/>
                <a:gd name="T105" fmla="*/ 38 h 324"/>
                <a:gd name="T106" fmla="*/ 66 w 419"/>
                <a:gd name="T107" fmla="*/ 66 h 324"/>
                <a:gd name="T108" fmla="*/ 66 w 419"/>
                <a:gd name="T109" fmla="*/ 9 h 3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19"/>
                <a:gd name="T166" fmla="*/ 0 h 324"/>
                <a:gd name="T167" fmla="*/ 419 w 419"/>
                <a:gd name="T168" fmla="*/ 324 h 3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19" h="324">
                  <a:moveTo>
                    <a:pt x="76" y="0"/>
                  </a:moveTo>
                  <a:lnTo>
                    <a:pt x="66" y="0"/>
                  </a:lnTo>
                  <a:lnTo>
                    <a:pt x="57" y="0"/>
                  </a:lnTo>
                  <a:lnTo>
                    <a:pt x="47" y="0"/>
                  </a:lnTo>
                  <a:lnTo>
                    <a:pt x="28" y="9"/>
                  </a:lnTo>
                  <a:lnTo>
                    <a:pt x="9" y="19"/>
                  </a:lnTo>
                  <a:lnTo>
                    <a:pt x="9" y="28"/>
                  </a:lnTo>
                  <a:lnTo>
                    <a:pt x="0" y="38"/>
                  </a:lnTo>
                  <a:lnTo>
                    <a:pt x="9" y="47"/>
                  </a:lnTo>
                  <a:lnTo>
                    <a:pt x="0" y="47"/>
                  </a:lnTo>
                  <a:lnTo>
                    <a:pt x="0" y="57"/>
                  </a:lnTo>
                  <a:lnTo>
                    <a:pt x="9" y="66"/>
                  </a:lnTo>
                  <a:lnTo>
                    <a:pt x="28" y="66"/>
                  </a:lnTo>
                  <a:lnTo>
                    <a:pt x="38" y="76"/>
                  </a:lnTo>
                  <a:lnTo>
                    <a:pt x="28" y="76"/>
                  </a:lnTo>
                  <a:lnTo>
                    <a:pt x="19" y="76"/>
                  </a:lnTo>
                  <a:lnTo>
                    <a:pt x="9" y="76"/>
                  </a:lnTo>
                  <a:lnTo>
                    <a:pt x="19" y="85"/>
                  </a:lnTo>
                  <a:lnTo>
                    <a:pt x="28" y="85"/>
                  </a:lnTo>
                  <a:lnTo>
                    <a:pt x="28" y="95"/>
                  </a:lnTo>
                  <a:lnTo>
                    <a:pt x="38" y="95"/>
                  </a:lnTo>
                  <a:lnTo>
                    <a:pt x="47" y="85"/>
                  </a:lnTo>
                  <a:lnTo>
                    <a:pt x="57" y="85"/>
                  </a:lnTo>
                  <a:lnTo>
                    <a:pt x="57" y="95"/>
                  </a:lnTo>
                  <a:lnTo>
                    <a:pt x="66" y="95"/>
                  </a:lnTo>
                  <a:lnTo>
                    <a:pt x="76" y="95"/>
                  </a:lnTo>
                  <a:lnTo>
                    <a:pt x="85" y="95"/>
                  </a:lnTo>
                  <a:lnTo>
                    <a:pt x="95" y="105"/>
                  </a:lnTo>
                  <a:lnTo>
                    <a:pt x="104" y="105"/>
                  </a:lnTo>
                  <a:lnTo>
                    <a:pt x="114" y="105"/>
                  </a:lnTo>
                  <a:lnTo>
                    <a:pt x="104" y="95"/>
                  </a:lnTo>
                  <a:lnTo>
                    <a:pt x="114" y="95"/>
                  </a:lnTo>
                  <a:lnTo>
                    <a:pt x="124" y="95"/>
                  </a:lnTo>
                  <a:lnTo>
                    <a:pt x="133" y="105"/>
                  </a:lnTo>
                  <a:lnTo>
                    <a:pt x="133" y="95"/>
                  </a:lnTo>
                  <a:lnTo>
                    <a:pt x="143" y="95"/>
                  </a:lnTo>
                  <a:lnTo>
                    <a:pt x="152" y="105"/>
                  </a:lnTo>
                  <a:lnTo>
                    <a:pt x="162" y="105"/>
                  </a:lnTo>
                  <a:lnTo>
                    <a:pt x="162" y="95"/>
                  </a:lnTo>
                  <a:lnTo>
                    <a:pt x="152" y="85"/>
                  </a:lnTo>
                  <a:lnTo>
                    <a:pt x="162" y="85"/>
                  </a:lnTo>
                  <a:lnTo>
                    <a:pt x="171" y="85"/>
                  </a:lnTo>
                  <a:lnTo>
                    <a:pt x="181" y="95"/>
                  </a:lnTo>
                  <a:lnTo>
                    <a:pt x="181" y="105"/>
                  </a:lnTo>
                  <a:lnTo>
                    <a:pt x="190" y="105"/>
                  </a:lnTo>
                  <a:lnTo>
                    <a:pt x="190" y="114"/>
                  </a:lnTo>
                  <a:lnTo>
                    <a:pt x="209" y="114"/>
                  </a:lnTo>
                  <a:lnTo>
                    <a:pt x="209" y="124"/>
                  </a:lnTo>
                  <a:lnTo>
                    <a:pt x="190" y="124"/>
                  </a:lnTo>
                  <a:lnTo>
                    <a:pt x="190" y="133"/>
                  </a:lnTo>
                  <a:lnTo>
                    <a:pt x="200" y="133"/>
                  </a:lnTo>
                  <a:lnTo>
                    <a:pt x="209" y="124"/>
                  </a:lnTo>
                  <a:lnTo>
                    <a:pt x="219" y="124"/>
                  </a:lnTo>
                  <a:lnTo>
                    <a:pt x="228" y="133"/>
                  </a:lnTo>
                  <a:lnTo>
                    <a:pt x="238" y="133"/>
                  </a:lnTo>
                  <a:lnTo>
                    <a:pt x="238" y="143"/>
                  </a:lnTo>
                  <a:lnTo>
                    <a:pt x="247" y="143"/>
                  </a:lnTo>
                  <a:lnTo>
                    <a:pt x="247" y="152"/>
                  </a:lnTo>
                  <a:lnTo>
                    <a:pt x="257" y="152"/>
                  </a:lnTo>
                  <a:lnTo>
                    <a:pt x="257" y="171"/>
                  </a:lnTo>
                  <a:lnTo>
                    <a:pt x="247" y="171"/>
                  </a:lnTo>
                  <a:lnTo>
                    <a:pt x="238" y="171"/>
                  </a:lnTo>
                  <a:lnTo>
                    <a:pt x="219" y="190"/>
                  </a:lnTo>
                  <a:lnTo>
                    <a:pt x="228" y="200"/>
                  </a:lnTo>
                  <a:lnTo>
                    <a:pt x="238" y="210"/>
                  </a:lnTo>
                  <a:lnTo>
                    <a:pt x="238" y="219"/>
                  </a:lnTo>
                  <a:lnTo>
                    <a:pt x="228" y="210"/>
                  </a:lnTo>
                  <a:lnTo>
                    <a:pt x="219" y="219"/>
                  </a:lnTo>
                  <a:lnTo>
                    <a:pt x="200" y="219"/>
                  </a:lnTo>
                  <a:lnTo>
                    <a:pt x="190" y="219"/>
                  </a:lnTo>
                  <a:lnTo>
                    <a:pt x="181" y="210"/>
                  </a:lnTo>
                  <a:lnTo>
                    <a:pt x="181" y="219"/>
                  </a:lnTo>
                  <a:lnTo>
                    <a:pt x="181" y="229"/>
                  </a:lnTo>
                  <a:lnTo>
                    <a:pt x="171" y="229"/>
                  </a:lnTo>
                  <a:lnTo>
                    <a:pt x="171" y="248"/>
                  </a:lnTo>
                  <a:lnTo>
                    <a:pt x="181" y="248"/>
                  </a:lnTo>
                  <a:lnTo>
                    <a:pt x="200" y="257"/>
                  </a:lnTo>
                  <a:lnTo>
                    <a:pt x="209" y="238"/>
                  </a:lnTo>
                  <a:lnTo>
                    <a:pt x="219" y="248"/>
                  </a:lnTo>
                  <a:lnTo>
                    <a:pt x="219" y="238"/>
                  </a:lnTo>
                  <a:lnTo>
                    <a:pt x="228" y="238"/>
                  </a:lnTo>
                  <a:lnTo>
                    <a:pt x="228" y="248"/>
                  </a:lnTo>
                  <a:lnTo>
                    <a:pt x="238" y="248"/>
                  </a:lnTo>
                  <a:lnTo>
                    <a:pt x="247" y="257"/>
                  </a:lnTo>
                  <a:lnTo>
                    <a:pt x="257" y="267"/>
                  </a:lnTo>
                  <a:lnTo>
                    <a:pt x="267" y="267"/>
                  </a:lnTo>
                  <a:lnTo>
                    <a:pt x="267" y="276"/>
                  </a:lnTo>
                  <a:lnTo>
                    <a:pt x="257" y="276"/>
                  </a:lnTo>
                  <a:lnTo>
                    <a:pt x="267" y="286"/>
                  </a:lnTo>
                  <a:lnTo>
                    <a:pt x="286" y="295"/>
                  </a:lnTo>
                  <a:lnTo>
                    <a:pt x="295" y="295"/>
                  </a:lnTo>
                  <a:lnTo>
                    <a:pt x="295" y="305"/>
                  </a:lnTo>
                  <a:lnTo>
                    <a:pt x="305" y="315"/>
                  </a:lnTo>
                  <a:lnTo>
                    <a:pt x="314" y="315"/>
                  </a:lnTo>
                  <a:lnTo>
                    <a:pt x="343" y="324"/>
                  </a:lnTo>
                  <a:lnTo>
                    <a:pt x="352" y="324"/>
                  </a:lnTo>
                  <a:lnTo>
                    <a:pt x="343" y="315"/>
                  </a:lnTo>
                  <a:lnTo>
                    <a:pt x="324" y="295"/>
                  </a:lnTo>
                  <a:lnTo>
                    <a:pt x="314" y="286"/>
                  </a:lnTo>
                  <a:lnTo>
                    <a:pt x="305" y="267"/>
                  </a:lnTo>
                  <a:lnTo>
                    <a:pt x="314" y="267"/>
                  </a:lnTo>
                  <a:lnTo>
                    <a:pt x="314" y="276"/>
                  </a:lnTo>
                  <a:lnTo>
                    <a:pt x="324" y="276"/>
                  </a:lnTo>
                  <a:lnTo>
                    <a:pt x="333" y="276"/>
                  </a:lnTo>
                  <a:lnTo>
                    <a:pt x="352" y="286"/>
                  </a:lnTo>
                  <a:lnTo>
                    <a:pt x="362" y="305"/>
                  </a:lnTo>
                  <a:lnTo>
                    <a:pt x="362" y="295"/>
                  </a:lnTo>
                  <a:lnTo>
                    <a:pt x="371" y="286"/>
                  </a:lnTo>
                  <a:lnTo>
                    <a:pt x="362" y="276"/>
                  </a:lnTo>
                  <a:lnTo>
                    <a:pt x="371" y="276"/>
                  </a:lnTo>
                  <a:lnTo>
                    <a:pt x="371" y="267"/>
                  </a:lnTo>
                  <a:lnTo>
                    <a:pt x="362" y="257"/>
                  </a:lnTo>
                  <a:lnTo>
                    <a:pt x="362" y="248"/>
                  </a:lnTo>
                  <a:lnTo>
                    <a:pt x="352" y="238"/>
                  </a:lnTo>
                  <a:lnTo>
                    <a:pt x="343" y="238"/>
                  </a:lnTo>
                  <a:lnTo>
                    <a:pt x="333" y="219"/>
                  </a:lnTo>
                  <a:lnTo>
                    <a:pt x="324" y="219"/>
                  </a:lnTo>
                  <a:lnTo>
                    <a:pt x="324" y="210"/>
                  </a:lnTo>
                  <a:lnTo>
                    <a:pt x="314" y="200"/>
                  </a:lnTo>
                  <a:lnTo>
                    <a:pt x="314" y="190"/>
                  </a:lnTo>
                  <a:lnTo>
                    <a:pt x="324" y="200"/>
                  </a:lnTo>
                  <a:lnTo>
                    <a:pt x="333" y="200"/>
                  </a:lnTo>
                  <a:lnTo>
                    <a:pt x="324" y="190"/>
                  </a:lnTo>
                  <a:lnTo>
                    <a:pt x="324" y="181"/>
                  </a:lnTo>
                  <a:lnTo>
                    <a:pt x="333" y="171"/>
                  </a:lnTo>
                  <a:lnTo>
                    <a:pt x="343" y="190"/>
                  </a:lnTo>
                  <a:lnTo>
                    <a:pt x="352" y="190"/>
                  </a:lnTo>
                  <a:lnTo>
                    <a:pt x="362" y="190"/>
                  </a:lnTo>
                  <a:lnTo>
                    <a:pt x="362" y="200"/>
                  </a:lnTo>
                  <a:lnTo>
                    <a:pt x="352" y="210"/>
                  </a:lnTo>
                  <a:lnTo>
                    <a:pt x="362" y="219"/>
                  </a:lnTo>
                  <a:lnTo>
                    <a:pt x="371" y="219"/>
                  </a:lnTo>
                  <a:lnTo>
                    <a:pt x="381" y="229"/>
                  </a:lnTo>
                  <a:lnTo>
                    <a:pt x="390" y="229"/>
                  </a:lnTo>
                  <a:lnTo>
                    <a:pt x="381" y="210"/>
                  </a:lnTo>
                  <a:lnTo>
                    <a:pt x="381" y="200"/>
                  </a:lnTo>
                  <a:lnTo>
                    <a:pt x="390" y="210"/>
                  </a:lnTo>
                  <a:lnTo>
                    <a:pt x="400" y="200"/>
                  </a:lnTo>
                  <a:lnTo>
                    <a:pt x="400" y="181"/>
                  </a:lnTo>
                  <a:lnTo>
                    <a:pt x="409" y="181"/>
                  </a:lnTo>
                  <a:lnTo>
                    <a:pt x="419" y="171"/>
                  </a:lnTo>
                  <a:lnTo>
                    <a:pt x="409" y="171"/>
                  </a:lnTo>
                  <a:lnTo>
                    <a:pt x="409" y="162"/>
                  </a:lnTo>
                  <a:lnTo>
                    <a:pt x="400" y="162"/>
                  </a:lnTo>
                  <a:lnTo>
                    <a:pt x="390" y="171"/>
                  </a:lnTo>
                  <a:lnTo>
                    <a:pt x="390" y="162"/>
                  </a:lnTo>
                  <a:lnTo>
                    <a:pt x="371" y="162"/>
                  </a:lnTo>
                  <a:lnTo>
                    <a:pt x="371" y="152"/>
                  </a:lnTo>
                  <a:lnTo>
                    <a:pt x="362" y="152"/>
                  </a:lnTo>
                  <a:lnTo>
                    <a:pt x="362" y="143"/>
                  </a:lnTo>
                  <a:lnTo>
                    <a:pt x="352" y="143"/>
                  </a:lnTo>
                  <a:lnTo>
                    <a:pt x="343" y="152"/>
                  </a:lnTo>
                  <a:lnTo>
                    <a:pt x="333" y="143"/>
                  </a:lnTo>
                  <a:lnTo>
                    <a:pt x="314" y="133"/>
                  </a:lnTo>
                  <a:lnTo>
                    <a:pt x="305" y="124"/>
                  </a:lnTo>
                  <a:lnTo>
                    <a:pt x="324" y="124"/>
                  </a:lnTo>
                  <a:lnTo>
                    <a:pt x="314" y="124"/>
                  </a:lnTo>
                  <a:lnTo>
                    <a:pt x="333" y="124"/>
                  </a:lnTo>
                  <a:lnTo>
                    <a:pt x="333" y="114"/>
                  </a:lnTo>
                  <a:lnTo>
                    <a:pt x="314" y="114"/>
                  </a:lnTo>
                  <a:lnTo>
                    <a:pt x="324" y="105"/>
                  </a:lnTo>
                  <a:lnTo>
                    <a:pt x="333" y="105"/>
                  </a:lnTo>
                  <a:lnTo>
                    <a:pt x="314" y="95"/>
                  </a:lnTo>
                  <a:lnTo>
                    <a:pt x="314" y="105"/>
                  </a:lnTo>
                  <a:lnTo>
                    <a:pt x="305" y="105"/>
                  </a:lnTo>
                  <a:lnTo>
                    <a:pt x="305" y="95"/>
                  </a:lnTo>
                  <a:lnTo>
                    <a:pt x="286" y="95"/>
                  </a:lnTo>
                  <a:lnTo>
                    <a:pt x="305" y="95"/>
                  </a:lnTo>
                  <a:lnTo>
                    <a:pt x="314" y="85"/>
                  </a:lnTo>
                  <a:lnTo>
                    <a:pt x="295" y="85"/>
                  </a:lnTo>
                  <a:lnTo>
                    <a:pt x="286" y="85"/>
                  </a:lnTo>
                  <a:lnTo>
                    <a:pt x="276" y="85"/>
                  </a:lnTo>
                  <a:lnTo>
                    <a:pt x="267" y="85"/>
                  </a:lnTo>
                  <a:lnTo>
                    <a:pt x="276" y="85"/>
                  </a:lnTo>
                  <a:lnTo>
                    <a:pt x="276" y="76"/>
                  </a:lnTo>
                  <a:lnTo>
                    <a:pt x="267" y="85"/>
                  </a:lnTo>
                  <a:lnTo>
                    <a:pt x="257" y="76"/>
                  </a:lnTo>
                  <a:lnTo>
                    <a:pt x="276" y="76"/>
                  </a:lnTo>
                  <a:lnTo>
                    <a:pt x="276" y="66"/>
                  </a:lnTo>
                  <a:lnTo>
                    <a:pt x="267" y="57"/>
                  </a:lnTo>
                  <a:lnTo>
                    <a:pt x="247" y="57"/>
                  </a:lnTo>
                  <a:lnTo>
                    <a:pt x="247" y="66"/>
                  </a:lnTo>
                  <a:lnTo>
                    <a:pt x="238" y="66"/>
                  </a:lnTo>
                  <a:lnTo>
                    <a:pt x="238" y="57"/>
                  </a:lnTo>
                  <a:lnTo>
                    <a:pt x="228" y="57"/>
                  </a:lnTo>
                  <a:lnTo>
                    <a:pt x="228" y="66"/>
                  </a:lnTo>
                  <a:lnTo>
                    <a:pt x="219" y="66"/>
                  </a:lnTo>
                  <a:lnTo>
                    <a:pt x="219" y="57"/>
                  </a:lnTo>
                  <a:lnTo>
                    <a:pt x="228" y="47"/>
                  </a:lnTo>
                  <a:lnTo>
                    <a:pt x="219" y="47"/>
                  </a:lnTo>
                  <a:lnTo>
                    <a:pt x="209" y="47"/>
                  </a:lnTo>
                  <a:lnTo>
                    <a:pt x="219" y="38"/>
                  </a:lnTo>
                  <a:lnTo>
                    <a:pt x="209" y="28"/>
                  </a:lnTo>
                  <a:lnTo>
                    <a:pt x="200" y="38"/>
                  </a:lnTo>
                  <a:lnTo>
                    <a:pt x="190" y="28"/>
                  </a:lnTo>
                  <a:lnTo>
                    <a:pt x="171" y="28"/>
                  </a:lnTo>
                  <a:lnTo>
                    <a:pt x="171" y="38"/>
                  </a:lnTo>
                  <a:lnTo>
                    <a:pt x="181" y="38"/>
                  </a:lnTo>
                  <a:lnTo>
                    <a:pt x="181" y="47"/>
                  </a:lnTo>
                  <a:lnTo>
                    <a:pt x="171" y="47"/>
                  </a:lnTo>
                  <a:lnTo>
                    <a:pt x="162" y="47"/>
                  </a:lnTo>
                  <a:lnTo>
                    <a:pt x="162" y="38"/>
                  </a:lnTo>
                  <a:lnTo>
                    <a:pt x="143" y="38"/>
                  </a:lnTo>
                  <a:lnTo>
                    <a:pt x="143" y="47"/>
                  </a:lnTo>
                  <a:lnTo>
                    <a:pt x="133" y="47"/>
                  </a:lnTo>
                  <a:lnTo>
                    <a:pt x="133" y="38"/>
                  </a:lnTo>
                  <a:lnTo>
                    <a:pt x="143" y="28"/>
                  </a:lnTo>
                  <a:lnTo>
                    <a:pt x="133" y="19"/>
                  </a:lnTo>
                  <a:lnTo>
                    <a:pt x="124" y="9"/>
                  </a:lnTo>
                  <a:lnTo>
                    <a:pt x="124" y="0"/>
                  </a:lnTo>
                  <a:lnTo>
                    <a:pt x="114" y="0"/>
                  </a:lnTo>
                  <a:lnTo>
                    <a:pt x="95" y="9"/>
                  </a:lnTo>
                  <a:lnTo>
                    <a:pt x="85" y="9"/>
                  </a:lnTo>
                  <a:lnTo>
                    <a:pt x="76" y="9"/>
                  </a:lnTo>
                  <a:lnTo>
                    <a:pt x="85" y="19"/>
                  </a:lnTo>
                  <a:lnTo>
                    <a:pt x="66" y="19"/>
                  </a:lnTo>
                  <a:lnTo>
                    <a:pt x="76" y="38"/>
                  </a:lnTo>
                  <a:lnTo>
                    <a:pt x="85" y="38"/>
                  </a:lnTo>
                  <a:lnTo>
                    <a:pt x="85" y="47"/>
                  </a:lnTo>
                  <a:lnTo>
                    <a:pt x="76" y="38"/>
                  </a:lnTo>
                  <a:lnTo>
                    <a:pt x="66" y="47"/>
                  </a:lnTo>
                  <a:lnTo>
                    <a:pt x="66" y="57"/>
                  </a:lnTo>
                  <a:lnTo>
                    <a:pt x="76" y="57"/>
                  </a:lnTo>
                  <a:lnTo>
                    <a:pt x="76" y="66"/>
                  </a:lnTo>
                  <a:lnTo>
                    <a:pt x="66" y="66"/>
                  </a:lnTo>
                  <a:lnTo>
                    <a:pt x="66" y="57"/>
                  </a:lnTo>
                  <a:lnTo>
                    <a:pt x="57" y="47"/>
                  </a:lnTo>
                  <a:lnTo>
                    <a:pt x="57" y="28"/>
                  </a:lnTo>
                  <a:lnTo>
                    <a:pt x="47" y="28"/>
                  </a:lnTo>
                  <a:lnTo>
                    <a:pt x="66" y="9"/>
                  </a:lnTo>
                  <a:lnTo>
                    <a:pt x="76"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59" name="Freeform 340">
              <a:extLst>
                <a:ext uri="{FF2B5EF4-FFF2-40B4-BE49-F238E27FC236}">
                  <a16:creationId xmlns:a16="http://schemas.microsoft.com/office/drawing/2014/main" id="{1588EF32-C606-439E-8DC4-9A2F8E8991EA}"/>
                </a:ext>
              </a:extLst>
            </p:cNvPr>
            <p:cNvSpPr>
              <a:spLocks/>
            </p:cNvSpPr>
            <p:nvPr/>
          </p:nvSpPr>
          <p:spPr bwMode="gray">
            <a:xfrm>
              <a:off x="1369" y="1479"/>
              <a:ext cx="419" cy="324"/>
            </a:xfrm>
            <a:custGeom>
              <a:avLst/>
              <a:gdLst>
                <a:gd name="T0" fmla="*/ 47 w 419"/>
                <a:gd name="T1" fmla="*/ 0 h 324"/>
                <a:gd name="T2" fmla="*/ 9 w 419"/>
                <a:gd name="T3" fmla="*/ 28 h 324"/>
                <a:gd name="T4" fmla="*/ 0 w 419"/>
                <a:gd name="T5" fmla="*/ 47 h 324"/>
                <a:gd name="T6" fmla="*/ 28 w 419"/>
                <a:gd name="T7" fmla="*/ 66 h 324"/>
                <a:gd name="T8" fmla="*/ 28 w 419"/>
                <a:gd name="T9" fmla="*/ 76 h 324"/>
                <a:gd name="T10" fmla="*/ 19 w 419"/>
                <a:gd name="T11" fmla="*/ 85 h 324"/>
                <a:gd name="T12" fmla="*/ 47 w 419"/>
                <a:gd name="T13" fmla="*/ 85 h 324"/>
                <a:gd name="T14" fmla="*/ 76 w 419"/>
                <a:gd name="T15" fmla="*/ 95 h 324"/>
                <a:gd name="T16" fmla="*/ 104 w 419"/>
                <a:gd name="T17" fmla="*/ 105 h 324"/>
                <a:gd name="T18" fmla="*/ 104 w 419"/>
                <a:gd name="T19" fmla="*/ 95 h 324"/>
                <a:gd name="T20" fmla="*/ 133 w 419"/>
                <a:gd name="T21" fmla="*/ 105 h 324"/>
                <a:gd name="T22" fmla="*/ 152 w 419"/>
                <a:gd name="T23" fmla="*/ 105 h 324"/>
                <a:gd name="T24" fmla="*/ 152 w 419"/>
                <a:gd name="T25" fmla="*/ 85 h 324"/>
                <a:gd name="T26" fmla="*/ 181 w 419"/>
                <a:gd name="T27" fmla="*/ 95 h 324"/>
                <a:gd name="T28" fmla="*/ 209 w 419"/>
                <a:gd name="T29" fmla="*/ 114 h 324"/>
                <a:gd name="T30" fmla="*/ 200 w 419"/>
                <a:gd name="T31" fmla="*/ 133 h 324"/>
                <a:gd name="T32" fmla="*/ 219 w 419"/>
                <a:gd name="T33" fmla="*/ 124 h 324"/>
                <a:gd name="T34" fmla="*/ 247 w 419"/>
                <a:gd name="T35" fmla="*/ 143 h 324"/>
                <a:gd name="T36" fmla="*/ 257 w 419"/>
                <a:gd name="T37" fmla="*/ 171 h 324"/>
                <a:gd name="T38" fmla="*/ 228 w 419"/>
                <a:gd name="T39" fmla="*/ 200 h 324"/>
                <a:gd name="T40" fmla="*/ 219 w 419"/>
                <a:gd name="T41" fmla="*/ 219 h 324"/>
                <a:gd name="T42" fmla="*/ 181 w 419"/>
                <a:gd name="T43" fmla="*/ 219 h 324"/>
                <a:gd name="T44" fmla="*/ 181 w 419"/>
                <a:gd name="T45" fmla="*/ 248 h 324"/>
                <a:gd name="T46" fmla="*/ 219 w 419"/>
                <a:gd name="T47" fmla="*/ 248 h 324"/>
                <a:gd name="T48" fmla="*/ 228 w 419"/>
                <a:gd name="T49" fmla="*/ 248 h 324"/>
                <a:gd name="T50" fmla="*/ 267 w 419"/>
                <a:gd name="T51" fmla="*/ 267 h 324"/>
                <a:gd name="T52" fmla="*/ 267 w 419"/>
                <a:gd name="T53" fmla="*/ 286 h 324"/>
                <a:gd name="T54" fmla="*/ 295 w 419"/>
                <a:gd name="T55" fmla="*/ 305 h 324"/>
                <a:gd name="T56" fmla="*/ 352 w 419"/>
                <a:gd name="T57" fmla="*/ 324 h 324"/>
                <a:gd name="T58" fmla="*/ 305 w 419"/>
                <a:gd name="T59" fmla="*/ 267 h 324"/>
                <a:gd name="T60" fmla="*/ 324 w 419"/>
                <a:gd name="T61" fmla="*/ 276 h 324"/>
                <a:gd name="T62" fmla="*/ 362 w 419"/>
                <a:gd name="T63" fmla="*/ 305 h 324"/>
                <a:gd name="T64" fmla="*/ 362 w 419"/>
                <a:gd name="T65" fmla="*/ 276 h 324"/>
                <a:gd name="T66" fmla="*/ 362 w 419"/>
                <a:gd name="T67" fmla="*/ 257 h 324"/>
                <a:gd name="T68" fmla="*/ 352 w 419"/>
                <a:gd name="T69" fmla="*/ 238 h 324"/>
                <a:gd name="T70" fmla="*/ 324 w 419"/>
                <a:gd name="T71" fmla="*/ 210 h 324"/>
                <a:gd name="T72" fmla="*/ 333 w 419"/>
                <a:gd name="T73" fmla="*/ 200 h 324"/>
                <a:gd name="T74" fmla="*/ 343 w 419"/>
                <a:gd name="T75" fmla="*/ 190 h 324"/>
                <a:gd name="T76" fmla="*/ 352 w 419"/>
                <a:gd name="T77" fmla="*/ 210 h 324"/>
                <a:gd name="T78" fmla="*/ 381 w 419"/>
                <a:gd name="T79" fmla="*/ 229 h 324"/>
                <a:gd name="T80" fmla="*/ 390 w 419"/>
                <a:gd name="T81" fmla="*/ 210 h 324"/>
                <a:gd name="T82" fmla="*/ 419 w 419"/>
                <a:gd name="T83" fmla="*/ 171 h 324"/>
                <a:gd name="T84" fmla="*/ 390 w 419"/>
                <a:gd name="T85" fmla="*/ 171 h 324"/>
                <a:gd name="T86" fmla="*/ 371 w 419"/>
                <a:gd name="T87" fmla="*/ 162 h 324"/>
                <a:gd name="T88" fmla="*/ 362 w 419"/>
                <a:gd name="T89" fmla="*/ 143 h 324"/>
                <a:gd name="T90" fmla="*/ 314 w 419"/>
                <a:gd name="T91" fmla="*/ 133 h 324"/>
                <a:gd name="T92" fmla="*/ 324 w 419"/>
                <a:gd name="T93" fmla="*/ 124 h 324"/>
                <a:gd name="T94" fmla="*/ 314 w 419"/>
                <a:gd name="T95" fmla="*/ 114 h 324"/>
                <a:gd name="T96" fmla="*/ 314 w 419"/>
                <a:gd name="T97" fmla="*/ 95 h 32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19"/>
                <a:gd name="T148" fmla="*/ 0 h 324"/>
                <a:gd name="T149" fmla="*/ 419 w 419"/>
                <a:gd name="T150" fmla="*/ 324 h 32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19" h="324">
                  <a:moveTo>
                    <a:pt x="76" y="0"/>
                  </a:moveTo>
                  <a:lnTo>
                    <a:pt x="66" y="0"/>
                  </a:lnTo>
                  <a:lnTo>
                    <a:pt x="57" y="0"/>
                  </a:lnTo>
                  <a:lnTo>
                    <a:pt x="47" y="0"/>
                  </a:lnTo>
                  <a:lnTo>
                    <a:pt x="28" y="9"/>
                  </a:lnTo>
                  <a:lnTo>
                    <a:pt x="9" y="19"/>
                  </a:lnTo>
                  <a:lnTo>
                    <a:pt x="9" y="28"/>
                  </a:lnTo>
                  <a:lnTo>
                    <a:pt x="0" y="38"/>
                  </a:lnTo>
                  <a:lnTo>
                    <a:pt x="9" y="47"/>
                  </a:lnTo>
                  <a:lnTo>
                    <a:pt x="0" y="47"/>
                  </a:lnTo>
                  <a:lnTo>
                    <a:pt x="0" y="57"/>
                  </a:lnTo>
                  <a:lnTo>
                    <a:pt x="9" y="66"/>
                  </a:lnTo>
                  <a:lnTo>
                    <a:pt x="28" y="66"/>
                  </a:lnTo>
                  <a:lnTo>
                    <a:pt x="38" y="76"/>
                  </a:lnTo>
                  <a:lnTo>
                    <a:pt x="28" y="76"/>
                  </a:lnTo>
                  <a:lnTo>
                    <a:pt x="19" y="76"/>
                  </a:lnTo>
                  <a:lnTo>
                    <a:pt x="9" y="76"/>
                  </a:lnTo>
                  <a:lnTo>
                    <a:pt x="19" y="85"/>
                  </a:lnTo>
                  <a:lnTo>
                    <a:pt x="28" y="85"/>
                  </a:lnTo>
                  <a:lnTo>
                    <a:pt x="28" y="95"/>
                  </a:lnTo>
                  <a:lnTo>
                    <a:pt x="38" y="95"/>
                  </a:lnTo>
                  <a:lnTo>
                    <a:pt x="47" y="85"/>
                  </a:lnTo>
                  <a:lnTo>
                    <a:pt x="57" y="85"/>
                  </a:lnTo>
                  <a:lnTo>
                    <a:pt x="57" y="95"/>
                  </a:lnTo>
                  <a:lnTo>
                    <a:pt x="66" y="95"/>
                  </a:lnTo>
                  <a:lnTo>
                    <a:pt x="76" y="95"/>
                  </a:lnTo>
                  <a:lnTo>
                    <a:pt x="85" y="95"/>
                  </a:lnTo>
                  <a:lnTo>
                    <a:pt x="95" y="105"/>
                  </a:lnTo>
                  <a:lnTo>
                    <a:pt x="104" y="105"/>
                  </a:lnTo>
                  <a:lnTo>
                    <a:pt x="114" y="105"/>
                  </a:lnTo>
                  <a:lnTo>
                    <a:pt x="104" y="95"/>
                  </a:lnTo>
                  <a:lnTo>
                    <a:pt x="114" y="95"/>
                  </a:lnTo>
                  <a:lnTo>
                    <a:pt x="124" y="95"/>
                  </a:lnTo>
                  <a:lnTo>
                    <a:pt x="133" y="105"/>
                  </a:lnTo>
                  <a:lnTo>
                    <a:pt x="133" y="95"/>
                  </a:lnTo>
                  <a:lnTo>
                    <a:pt x="143" y="95"/>
                  </a:lnTo>
                  <a:lnTo>
                    <a:pt x="152" y="105"/>
                  </a:lnTo>
                  <a:lnTo>
                    <a:pt x="162" y="105"/>
                  </a:lnTo>
                  <a:lnTo>
                    <a:pt x="162" y="95"/>
                  </a:lnTo>
                  <a:lnTo>
                    <a:pt x="152" y="85"/>
                  </a:lnTo>
                  <a:lnTo>
                    <a:pt x="162" y="85"/>
                  </a:lnTo>
                  <a:lnTo>
                    <a:pt x="171" y="85"/>
                  </a:lnTo>
                  <a:lnTo>
                    <a:pt x="181" y="95"/>
                  </a:lnTo>
                  <a:lnTo>
                    <a:pt x="181" y="105"/>
                  </a:lnTo>
                  <a:lnTo>
                    <a:pt x="190" y="105"/>
                  </a:lnTo>
                  <a:lnTo>
                    <a:pt x="190" y="114"/>
                  </a:lnTo>
                  <a:lnTo>
                    <a:pt x="209" y="114"/>
                  </a:lnTo>
                  <a:lnTo>
                    <a:pt x="209" y="124"/>
                  </a:lnTo>
                  <a:lnTo>
                    <a:pt x="190" y="124"/>
                  </a:lnTo>
                  <a:lnTo>
                    <a:pt x="190" y="133"/>
                  </a:lnTo>
                  <a:lnTo>
                    <a:pt x="200" y="133"/>
                  </a:lnTo>
                  <a:lnTo>
                    <a:pt x="209" y="124"/>
                  </a:lnTo>
                  <a:lnTo>
                    <a:pt x="219" y="124"/>
                  </a:lnTo>
                  <a:lnTo>
                    <a:pt x="228" y="133"/>
                  </a:lnTo>
                  <a:lnTo>
                    <a:pt x="238" y="133"/>
                  </a:lnTo>
                  <a:lnTo>
                    <a:pt x="238" y="143"/>
                  </a:lnTo>
                  <a:lnTo>
                    <a:pt x="247" y="143"/>
                  </a:lnTo>
                  <a:lnTo>
                    <a:pt x="247" y="152"/>
                  </a:lnTo>
                  <a:lnTo>
                    <a:pt x="257" y="152"/>
                  </a:lnTo>
                  <a:lnTo>
                    <a:pt x="257" y="171"/>
                  </a:lnTo>
                  <a:lnTo>
                    <a:pt x="247" y="171"/>
                  </a:lnTo>
                  <a:lnTo>
                    <a:pt x="238" y="171"/>
                  </a:lnTo>
                  <a:lnTo>
                    <a:pt x="219" y="190"/>
                  </a:lnTo>
                  <a:lnTo>
                    <a:pt x="228" y="200"/>
                  </a:lnTo>
                  <a:lnTo>
                    <a:pt x="238" y="210"/>
                  </a:lnTo>
                  <a:lnTo>
                    <a:pt x="238" y="219"/>
                  </a:lnTo>
                  <a:lnTo>
                    <a:pt x="228" y="210"/>
                  </a:lnTo>
                  <a:lnTo>
                    <a:pt x="219" y="219"/>
                  </a:lnTo>
                  <a:lnTo>
                    <a:pt x="200" y="219"/>
                  </a:lnTo>
                  <a:lnTo>
                    <a:pt x="190" y="219"/>
                  </a:lnTo>
                  <a:lnTo>
                    <a:pt x="181" y="210"/>
                  </a:lnTo>
                  <a:lnTo>
                    <a:pt x="181" y="219"/>
                  </a:lnTo>
                  <a:lnTo>
                    <a:pt x="181" y="229"/>
                  </a:lnTo>
                  <a:lnTo>
                    <a:pt x="171" y="229"/>
                  </a:lnTo>
                  <a:lnTo>
                    <a:pt x="171" y="248"/>
                  </a:lnTo>
                  <a:lnTo>
                    <a:pt x="181" y="248"/>
                  </a:lnTo>
                  <a:lnTo>
                    <a:pt x="200" y="257"/>
                  </a:lnTo>
                  <a:lnTo>
                    <a:pt x="209" y="238"/>
                  </a:lnTo>
                  <a:lnTo>
                    <a:pt x="219" y="248"/>
                  </a:lnTo>
                  <a:lnTo>
                    <a:pt x="219" y="238"/>
                  </a:lnTo>
                  <a:lnTo>
                    <a:pt x="228" y="238"/>
                  </a:lnTo>
                  <a:lnTo>
                    <a:pt x="228" y="248"/>
                  </a:lnTo>
                  <a:lnTo>
                    <a:pt x="238" y="248"/>
                  </a:lnTo>
                  <a:lnTo>
                    <a:pt x="247" y="257"/>
                  </a:lnTo>
                  <a:lnTo>
                    <a:pt x="257" y="267"/>
                  </a:lnTo>
                  <a:lnTo>
                    <a:pt x="267" y="267"/>
                  </a:lnTo>
                  <a:lnTo>
                    <a:pt x="267" y="276"/>
                  </a:lnTo>
                  <a:lnTo>
                    <a:pt x="257" y="276"/>
                  </a:lnTo>
                  <a:lnTo>
                    <a:pt x="267" y="286"/>
                  </a:lnTo>
                  <a:lnTo>
                    <a:pt x="286" y="295"/>
                  </a:lnTo>
                  <a:lnTo>
                    <a:pt x="295" y="295"/>
                  </a:lnTo>
                  <a:lnTo>
                    <a:pt x="295" y="305"/>
                  </a:lnTo>
                  <a:lnTo>
                    <a:pt x="305" y="315"/>
                  </a:lnTo>
                  <a:lnTo>
                    <a:pt x="314" y="315"/>
                  </a:lnTo>
                  <a:lnTo>
                    <a:pt x="343" y="324"/>
                  </a:lnTo>
                  <a:lnTo>
                    <a:pt x="352" y="324"/>
                  </a:lnTo>
                  <a:lnTo>
                    <a:pt x="343" y="315"/>
                  </a:lnTo>
                  <a:lnTo>
                    <a:pt x="324" y="295"/>
                  </a:lnTo>
                  <a:lnTo>
                    <a:pt x="314" y="286"/>
                  </a:lnTo>
                  <a:lnTo>
                    <a:pt x="305" y="267"/>
                  </a:lnTo>
                  <a:lnTo>
                    <a:pt x="314" y="267"/>
                  </a:lnTo>
                  <a:lnTo>
                    <a:pt x="314" y="276"/>
                  </a:lnTo>
                  <a:lnTo>
                    <a:pt x="324" y="276"/>
                  </a:lnTo>
                  <a:lnTo>
                    <a:pt x="333" y="276"/>
                  </a:lnTo>
                  <a:lnTo>
                    <a:pt x="352" y="286"/>
                  </a:lnTo>
                  <a:lnTo>
                    <a:pt x="362" y="305"/>
                  </a:lnTo>
                  <a:lnTo>
                    <a:pt x="362" y="295"/>
                  </a:lnTo>
                  <a:lnTo>
                    <a:pt x="371" y="286"/>
                  </a:lnTo>
                  <a:lnTo>
                    <a:pt x="362" y="276"/>
                  </a:lnTo>
                  <a:lnTo>
                    <a:pt x="371" y="276"/>
                  </a:lnTo>
                  <a:lnTo>
                    <a:pt x="371" y="267"/>
                  </a:lnTo>
                  <a:lnTo>
                    <a:pt x="362" y="257"/>
                  </a:lnTo>
                  <a:lnTo>
                    <a:pt x="362" y="248"/>
                  </a:lnTo>
                  <a:lnTo>
                    <a:pt x="352" y="238"/>
                  </a:lnTo>
                  <a:lnTo>
                    <a:pt x="343" y="238"/>
                  </a:lnTo>
                  <a:lnTo>
                    <a:pt x="333" y="219"/>
                  </a:lnTo>
                  <a:lnTo>
                    <a:pt x="324" y="219"/>
                  </a:lnTo>
                  <a:lnTo>
                    <a:pt x="324" y="210"/>
                  </a:lnTo>
                  <a:lnTo>
                    <a:pt x="314" y="200"/>
                  </a:lnTo>
                  <a:lnTo>
                    <a:pt x="314" y="190"/>
                  </a:lnTo>
                  <a:lnTo>
                    <a:pt x="324" y="200"/>
                  </a:lnTo>
                  <a:lnTo>
                    <a:pt x="333" y="200"/>
                  </a:lnTo>
                  <a:lnTo>
                    <a:pt x="324" y="190"/>
                  </a:lnTo>
                  <a:lnTo>
                    <a:pt x="324" y="181"/>
                  </a:lnTo>
                  <a:lnTo>
                    <a:pt x="333" y="171"/>
                  </a:lnTo>
                  <a:lnTo>
                    <a:pt x="343" y="190"/>
                  </a:lnTo>
                  <a:lnTo>
                    <a:pt x="352" y="190"/>
                  </a:lnTo>
                  <a:lnTo>
                    <a:pt x="362" y="190"/>
                  </a:lnTo>
                  <a:lnTo>
                    <a:pt x="362" y="200"/>
                  </a:lnTo>
                  <a:lnTo>
                    <a:pt x="352" y="210"/>
                  </a:lnTo>
                  <a:lnTo>
                    <a:pt x="362" y="219"/>
                  </a:lnTo>
                  <a:lnTo>
                    <a:pt x="371" y="219"/>
                  </a:lnTo>
                  <a:lnTo>
                    <a:pt x="381" y="229"/>
                  </a:lnTo>
                  <a:lnTo>
                    <a:pt x="390" y="229"/>
                  </a:lnTo>
                  <a:lnTo>
                    <a:pt x="381" y="210"/>
                  </a:lnTo>
                  <a:lnTo>
                    <a:pt x="381" y="200"/>
                  </a:lnTo>
                  <a:lnTo>
                    <a:pt x="390" y="210"/>
                  </a:lnTo>
                  <a:lnTo>
                    <a:pt x="400" y="200"/>
                  </a:lnTo>
                  <a:lnTo>
                    <a:pt x="400" y="181"/>
                  </a:lnTo>
                  <a:lnTo>
                    <a:pt x="409" y="181"/>
                  </a:lnTo>
                  <a:lnTo>
                    <a:pt x="419" y="171"/>
                  </a:lnTo>
                  <a:lnTo>
                    <a:pt x="409" y="171"/>
                  </a:lnTo>
                  <a:lnTo>
                    <a:pt x="409" y="162"/>
                  </a:lnTo>
                  <a:lnTo>
                    <a:pt x="400" y="162"/>
                  </a:lnTo>
                  <a:lnTo>
                    <a:pt x="390" y="171"/>
                  </a:lnTo>
                  <a:lnTo>
                    <a:pt x="390" y="162"/>
                  </a:lnTo>
                  <a:lnTo>
                    <a:pt x="371" y="162"/>
                  </a:lnTo>
                  <a:lnTo>
                    <a:pt x="371" y="152"/>
                  </a:lnTo>
                  <a:lnTo>
                    <a:pt x="362" y="152"/>
                  </a:lnTo>
                  <a:lnTo>
                    <a:pt x="362" y="143"/>
                  </a:lnTo>
                  <a:lnTo>
                    <a:pt x="352" y="143"/>
                  </a:lnTo>
                  <a:lnTo>
                    <a:pt x="343" y="152"/>
                  </a:lnTo>
                  <a:lnTo>
                    <a:pt x="333" y="143"/>
                  </a:lnTo>
                  <a:lnTo>
                    <a:pt x="314" y="133"/>
                  </a:lnTo>
                  <a:lnTo>
                    <a:pt x="305" y="124"/>
                  </a:lnTo>
                  <a:lnTo>
                    <a:pt x="324" y="124"/>
                  </a:lnTo>
                  <a:lnTo>
                    <a:pt x="314" y="124"/>
                  </a:lnTo>
                  <a:lnTo>
                    <a:pt x="333" y="124"/>
                  </a:lnTo>
                  <a:lnTo>
                    <a:pt x="333" y="114"/>
                  </a:lnTo>
                  <a:lnTo>
                    <a:pt x="314" y="114"/>
                  </a:lnTo>
                  <a:lnTo>
                    <a:pt x="324" y="105"/>
                  </a:lnTo>
                  <a:lnTo>
                    <a:pt x="333" y="105"/>
                  </a:lnTo>
                  <a:lnTo>
                    <a:pt x="314" y="95"/>
                  </a:lnTo>
                  <a:lnTo>
                    <a:pt x="314" y="105"/>
                  </a:lnTo>
                  <a:lnTo>
                    <a:pt x="76"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60" name="Freeform 341">
              <a:extLst>
                <a:ext uri="{FF2B5EF4-FFF2-40B4-BE49-F238E27FC236}">
                  <a16:creationId xmlns:a16="http://schemas.microsoft.com/office/drawing/2014/main" id="{18F8423F-E170-4979-88C9-0D68E24DC4CB}"/>
                </a:ext>
              </a:extLst>
            </p:cNvPr>
            <p:cNvSpPr>
              <a:spLocks/>
            </p:cNvSpPr>
            <p:nvPr/>
          </p:nvSpPr>
          <p:spPr bwMode="gray">
            <a:xfrm>
              <a:off x="1416" y="1479"/>
              <a:ext cx="267" cy="105"/>
            </a:xfrm>
            <a:custGeom>
              <a:avLst/>
              <a:gdLst>
                <a:gd name="T0" fmla="*/ 258 w 267"/>
                <a:gd name="T1" fmla="*/ 105 h 105"/>
                <a:gd name="T2" fmla="*/ 239 w 267"/>
                <a:gd name="T3" fmla="*/ 95 h 105"/>
                <a:gd name="T4" fmla="*/ 267 w 267"/>
                <a:gd name="T5" fmla="*/ 85 h 105"/>
                <a:gd name="T6" fmla="*/ 239 w 267"/>
                <a:gd name="T7" fmla="*/ 85 h 105"/>
                <a:gd name="T8" fmla="*/ 220 w 267"/>
                <a:gd name="T9" fmla="*/ 85 h 105"/>
                <a:gd name="T10" fmla="*/ 229 w 267"/>
                <a:gd name="T11" fmla="*/ 85 h 105"/>
                <a:gd name="T12" fmla="*/ 220 w 267"/>
                <a:gd name="T13" fmla="*/ 85 h 105"/>
                <a:gd name="T14" fmla="*/ 229 w 267"/>
                <a:gd name="T15" fmla="*/ 76 h 105"/>
                <a:gd name="T16" fmla="*/ 220 w 267"/>
                <a:gd name="T17" fmla="*/ 57 h 105"/>
                <a:gd name="T18" fmla="*/ 200 w 267"/>
                <a:gd name="T19" fmla="*/ 66 h 105"/>
                <a:gd name="T20" fmla="*/ 191 w 267"/>
                <a:gd name="T21" fmla="*/ 66 h 105"/>
                <a:gd name="T22" fmla="*/ 181 w 267"/>
                <a:gd name="T23" fmla="*/ 66 h 105"/>
                <a:gd name="T24" fmla="*/ 181 w 267"/>
                <a:gd name="T25" fmla="*/ 57 h 105"/>
                <a:gd name="T26" fmla="*/ 172 w 267"/>
                <a:gd name="T27" fmla="*/ 66 h 105"/>
                <a:gd name="T28" fmla="*/ 181 w 267"/>
                <a:gd name="T29" fmla="*/ 47 h 105"/>
                <a:gd name="T30" fmla="*/ 172 w 267"/>
                <a:gd name="T31" fmla="*/ 47 h 105"/>
                <a:gd name="T32" fmla="*/ 172 w 267"/>
                <a:gd name="T33" fmla="*/ 38 h 105"/>
                <a:gd name="T34" fmla="*/ 153 w 267"/>
                <a:gd name="T35" fmla="*/ 38 h 105"/>
                <a:gd name="T36" fmla="*/ 124 w 267"/>
                <a:gd name="T37" fmla="*/ 28 h 105"/>
                <a:gd name="T38" fmla="*/ 134 w 267"/>
                <a:gd name="T39" fmla="*/ 38 h 105"/>
                <a:gd name="T40" fmla="*/ 124 w 267"/>
                <a:gd name="T41" fmla="*/ 47 h 105"/>
                <a:gd name="T42" fmla="*/ 115 w 267"/>
                <a:gd name="T43" fmla="*/ 47 h 105"/>
                <a:gd name="T44" fmla="*/ 105 w 267"/>
                <a:gd name="T45" fmla="*/ 38 h 105"/>
                <a:gd name="T46" fmla="*/ 96 w 267"/>
                <a:gd name="T47" fmla="*/ 47 h 105"/>
                <a:gd name="T48" fmla="*/ 86 w 267"/>
                <a:gd name="T49" fmla="*/ 47 h 105"/>
                <a:gd name="T50" fmla="*/ 96 w 267"/>
                <a:gd name="T51" fmla="*/ 28 h 105"/>
                <a:gd name="T52" fmla="*/ 86 w 267"/>
                <a:gd name="T53" fmla="*/ 19 h 105"/>
                <a:gd name="T54" fmla="*/ 77 w 267"/>
                <a:gd name="T55" fmla="*/ 9 h 105"/>
                <a:gd name="T56" fmla="*/ 77 w 267"/>
                <a:gd name="T57" fmla="*/ 0 h 105"/>
                <a:gd name="T58" fmla="*/ 48 w 267"/>
                <a:gd name="T59" fmla="*/ 9 h 105"/>
                <a:gd name="T60" fmla="*/ 38 w 267"/>
                <a:gd name="T61" fmla="*/ 9 h 105"/>
                <a:gd name="T62" fmla="*/ 38 w 267"/>
                <a:gd name="T63" fmla="*/ 19 h 105"/>
                <a:gd name="T64" fmla="*/ 29 w 267"/>
                <a:gd name="T65" fmla="*/ 38 h 105"/>
                <a:gd name="T66" fmla="*/ 38 w 267"/>
                <a:gd name="T67" fmla="*/ 47 h 105"/>
                <a:gd name="T68" fmla="*/ 19 w 267"/>
                <a:gd name="T69" fmla="*/ 47 h 105"/>
                <a:gd name="T70" fmla="*/ 29 w 267"/>
                <a:gd name="T71" fmla="*/ 57 h 105"/>
                <a:gd name="T72" fmla="*/ 19 w 267"/>
                <a:gd name="T73" fmla="*/ 66 h 105"/>
                <a:gd name="T74" fmla="*/ 10 w 267"/>
                <a:gd name="T75" fmla="*/ 47 h 105"/>
                <a:gd name="T76" fmla="*/ 0 w 267"/>
                <a:gd name="T77" fmla="*/ 28 h 105"/>
                <a:gd name="T78" fmla="*/ 19 w 267"/>
                <a:gd name="T79" fmla="*/ 9 h 105"/>
                <a:gd name="T80" fmla="*/ 29 w 267"/>
                <a:gd name="T81" fmla="*/ 0 h 10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7"/>
                <a:gd name="T124" fmla="*/ 0 h 105"/>
                <a:gd name="T125" fmla="*/ 267 w 267"/>
                <a:gd name="T126" fmla="*/ 105 h 10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7" h="105">
                  <a:moveTo>
                    <a:pt x="267" y="105"/>
                  </a:moveTo>
                  <a:lnTo>
                    <a:pt x="258" y="105"/>
                  </a:lnTo>
                  <a:lnTo>
                    <a:pt x="258" y="95"/>
                  </a:lnTo>
                  <a:lnTo>
                    <a:pt x="239" y="95"/>
                  </a:lnTo>
                  <a:lnTo>
                    <a:pt x="258" y="95"/>
                  </a:lnTo>
                  <a:lnTo>
                    <a:pt x="267" y="85"/>
                  </a:lnTo>
                  <a:lnTo>
                    <a:pt x="248" y="85"/>
                  </a:lnTo>
                  <a:lnTo>
                    <a:pt x="239" y="85"/>
                  </a:lnTo>
                  <a:lnTo>
                    <a:pt x="229" y="85"/>
                  </a:lnTo>
                  <a:lnTo>
                    <a:pt x="220" y="85"/>
                  </a:lnTo>
                  <a:lnTo>
                    <a:pt x="229" y="85"/>
                  </a:lnTo>
                  <a:lnTo>
                    <a:pt x="229" y="76"/>
                  </a:lnTo>
                  <a:lnTo>
                    <a:pt x="220" y="85"/>
                  </a:lnTo>
                  <a:lnTo>
                    <a:pt x="210" y="76"/>
                  </a:lnTo>
                  <a:lnTo>
                    <a:pt x="229" y="76"/>
                  </a:lnTo>
                  <a:lnTo>
                    <a:pt x="229" y="66"/>
                  </a:lnTo>
                  <a:lnTo>
                    <a:pt x="220" y="57"/>
                  </a:lnTo>
                  <a:lnTo>
                    <a:pt x="200" y="57"/>
                  </a:lnTo>
                  <a:lnTo>
                    <a:pt x="200" y="66"/>
                  </a:lnTo>
                  <a:lnTo>
                    <a:pt x="191" y="66"/>
                  </a:lnTo>
                  <a:lnTo>
                    <a:pt x="181" y="66"/>
                  </a:lnTo>
                  <a:lnTo>
                    <a:pt x="191" y="57"/>
                  </a:lnTo>
                  <a:lnTo>
                    <a:pt x="181" y="57"/>
                  </a:lnTo>
                  <a:lnTo>
                    <a:pt x="181" y="66"/>
                  </a:lnTo>
                  <a:lnTo>
                    <a:pt x="172" y="66"/>
                  </a:lnTo>
                  <a:lnTo>
                    <a:pt x="172" y="57"/>
                  </a:lnTo>
                  <a:lnTo>
                    <a:pt x="181" y="47"/>
                  </a:lnTo>
                  <a:lnTo>
                    <a:pt x="172" y="47"/>
                  </a:lnTo>
                  <a:lnTo>
                    <a:pt x="162" y="47"/>
                  </a:lnTo>
                  <a:lnTo>
                    <a:pt x="172" y="38"/>
                  </a:lnTo>
                  <a:lnTo>
                    <a:pt x="153" y="28"/>
                  </a:lnTo>
                  <a:lnTo>
                    <a:pt x="153" y="38"/>
                  </a:lnTo>
                  <a:lnTo>
                    <a:pt x="143" y="28"/>
                  </a:lnTo>
                  <a:lnTo>
                    <a:pt x="124" y="28"/>
                  </a:lnTo>
                  <a:lnTo>
                    <a:pt x="124" y="38"/>
                  </a:lnTo>
                  <a:lnTo>
                    <a:pt x="134" y="38"/>
                  </a:lnTo>
                  <a:lnTo>
                    <a:pt x="134" y="47"/>
                  </a:lnTo>
                  <a:lnTo>
                    <a:pt x="124" y="47"/>
                  </a:lnTo>
                  <a:lnTo>
                    <a:pt x="115" y="47"/>
                  </a:lnTo>
                  <a:lnTo>
                    <a:pt x="105" y="38"/>
                  </a:lnTo>
                  <a:lnTo>
                    <a:pt x="96" y="38"/>
                  </a:lnTo>
                  <a:lnTo>
                    <a:pt x="96" y="47"/>
                  </a:lnTo>
                  <a:lnTo>
                    <a:pt x="86" y="47"/>
                  </a:lnTo>
                  <a:lnTo>
                    <a:pt x="86" y="38"/>
                  </a:lnTo>
                  <a:lnTo>
                    <a:pt x="96" y="28"/>
                  </a:lnTo>
                  <a:lnTo>
                    <a:pt x="86" y="28"/>
                  </a:lnTo>
                  <a:lnTo>
                    <a:pt x="86" y="19"/>
                  </a:lnTo>
                  <a:lnTo>
                    <a:pt x="77" y="9"/>
                  </a:lnTo>
                  <a:lnTo>
                    <a:pt x="77" y="0"/>
                  </a:lnTo>
                  <a:lnTo>
                    <a:pt x="67" y="0"/>
                  </a:lnTo>
                  <a:lnTo>
                    <a:pt x="48" y="9"/>
                  </a:lnTo>
                  <a:lnTo>
                    <a:pt x="38" y="9"/>
                  </a:lnTo>
                  <a:lnTo>
                    <a:pt x="29" y="9"/>
                  </a:lnTo>
                  <a:lnTo>
                    <a:pt x="38" y="19"/>
                  </a:lnTo>
                  <a:lnTo>
                    <a:pt x="19" y="19"/>
                  </a:lnTo>
                  <a:lnTo>
                    <a:pt x="29" y="38"/>
                  </a:lnTo>
                  <a:lnTo>
                    <a:pt x="38" y="38"/>
                  </a:lnTo>
                  <a:lnTo>
                    <a:pt x="38" y="47"/>
                  </a:lnTo>
                  <a:lnTo>
                    <a:pt x="29" y="38"/>
                  </a:lnTo>
                  <a:lnTo>
                    <a:pt x="19" y="47"/>
                  </a:lnTo>
                  <a:lnTo>
                    <a:pt x="19" y="57"/>
                  </a:lnTo>
                  <a:lnTo>
                    <a:pt x="29" y="57"/>
                  </a:lnTo>
                  <a:lnTo>
                    <a:pt x="29" y="76"/>
                  </a:lnTo>
                  <a:lnTo>
                    <a:pt x="19" y="66"/>
                  </a:lnTo>
                  <a:lnTo>
                    <a:pt x="19" y="57"/>
                  </a:lnTo>
                  <a:lnTo>
                    <a:pt x="10" y="47"/>
                  </a:lnTo>
                  <a:lnTo>
                    <a:pt x="10" y="28"/>
                  </a:lnTo>
                  <a:lnTo>
                    <a:pt x="0" y="28"/>
                  </a:lnTo>
                  <a:lnTo>
                    <a:pt x="19" y="9"/>
                  </a:lnTo>
                  <a:lnTo>
                    <a:pt x="29" y="0"/>
                  </a:lnTo>
                  <a:lnTo>
                    <a:pt x="267" y="105"/>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61" name="Freeform 342">
              <a:extLst>
                <a:ext uri="{FF2B5EF4-FFF2-40B4-BE49-F238E27FC236}">
                  <a16:creationId xmlns:a16="http://schemas.microsoft.com/office/drawing/2014/main" id="{AF04937C-0F99-4D2E-BB7A-AED11AAC843A}"/>
                </a:ext>
              </a:extLst>
            </p:cNvPr>
            <p:cNvSpPr>
              <a:spLocks/>
            </p:cNvSpPr>
            <p:nvPr/>
          </p:nvSpPr>
          <p:spPr bwMode="gray">
            <a:xfrm>
              <a:off x="1502" y="1479"/>
              <a:ext cx="76" cy="28"/>
            </a:xfrm>
            <a:custGeom>
              <a:avLst/>
              <a:gdLst>
                <a:gd name="T0" fmla="*/ 0 w 76"/>
                <a:gd name="T1" fmla="*/ 9 h 28"/>
                <a:gd name="T2" fmla="*/ 10 w 76"/>
                <a:gd name="T3" fmla="*/ 9 h 28"/>
                <a:gd name="T4" fmla="*/ 10 w 76"/>
                <a:gd name="T5" fmla="*/ 19 h 28"/>
                <a:gd name="T6" fmla="*/ 10 w 76"/>
                <a:gd name="T7" fmla="*/ 28 h 28"/>
                <a:gd name="T8" fmla="*/ 19 w 76"/>
                <a:gd name="T9" fmla="*/ 28 h 28"/>
                <a:gd name="T10" fmla="*/ 29 w 76"/>
                <a:gd name="T11" fmla="*/ 28 h 28"/>
                <a:gd name="T12" fmla="*/ 29 w 76"/>
                <a:gd name="T13" fmla="*/ 28 h 28"/>
                <a:gd name="T14" fmla="*/ 48 w 76"/>
                <a:gd name="T15" fmla="*/ 28 h 28"/>
                <a:gd name="T16" fmla="*/ 67 w 76"/>
                <a:gd name="T17" fmla="*/ 28 h 28"/>
                <a:gd name="T18" fmla="*/ 76 w 76"/>
                <a:gd name="T19" fmla="*/ 28 h 28"/>
                <a:gd name="T20" fmla="*/ 67 w 76"/>
                <a:gd name="T21" fmla="*/ 19 h 28"/>
                <a:gd name="T22" fmla="*/ 67 w 76"/>
                <a:gd name="T23" fmla="*/ 19 h 28"/>
                <a:gd name="T24" fmla="*/ 57 w 76"/>
                <a:gd name="T25" fmla="*/ 9 h 28"/>
                <a:gd name="T26" fmla="*/ 48 w 76"/>
                <a:gd name="T27" fmla="*/ 9 h 28"/>
                <a:gd name="T28" fmla="*/ 38 w 76"/>
                <a:gd name="T29" fmla="*/ 0 h 28"/>
                <a:gd name="T30" fmla="*/ 19 w 76"/>
                <a:gd name="T31" fmla="*/ 9 h 28"/>
                <a:gd name="T32" fmla="*/ 10 w 76"/>
                <a:gd name="T33" fmla="*/ 0 h 28"/>
                <a:gd name="T34" fmla="*/ 0 w 76"/>
                <a:gd name="T35" fmla="*/ 9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6"/>
                <a:gd name="T55" fmla="*/ 0 h 28"/>
                <a:gd name="T56" fmla="*/ 76 w 76"/>
                <a:gd name="T57" fmla="*/ 28 h 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6" h="28">
                  <a:moveTo>
                    <a:pt x="0" y="9"/>
                  </a:moveTo>
                  <a:lnTo>
                    <a:pt x="10" y="9"/>
                  </a:lnTo>
                  <a:lnTo>
                    <a:pt x="10" y="19"/>
                  </a:lnTo>
                  <a:lnTo>
                    <a:pt x="10" y="28"/>
                  </a:lnTo>
                  <a:lnTo>
                    <a:pt x="19" y="28"/>
                  </a:lnTo>
                  <a:lnTo>
                    <a:pt x="29" y="28"/>
                  </a:lnTo>
                  <a:lnTo>
                    <a:pt x="48" y="28"/>
                  </a:lnTo>
                  <a:lnTo>
                    <a:pt x="67" y="28"/>
                  </a:lnTo>
                  <a:lnTo>
                    <a:pt x="76" y="28"/>
                  </a:lnTo>
                  <a:lnTo>
                    <a:pt x="67" y="19"/>
                  </a:lnTo>
                  <a:lnTo>
                    <a:pt x="57" y="9"/>
                  </a:lnTo>
                  <a:lnTo>
                    <a:pt x="48" y="9"/>
                  </a:lnTo>
                  <a:lnTo>
                    <a:pt x="38" y="0"/>
                  </a:lnTo>
                  <a:lnTo>
                    <a:pt x="19" y="9"/>
                  </a:lnTo>
                  <a:lnTo>
                    <a:pt x="10" y="0"/>
                  </a:lnTo>
                  <a:lnTo>
                    <a:pt x="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62" name="Freeform 343">
              <a:extLst>
                <a:ext uri="{FF2B5EF4-FFF2-40B4-BE49-F238E27FC236}">
                  <a16:creationId xmlns:a16="http://schemas.microsoft.com/office/drawing/2014/main" id="{654057A9-B2F8-434F-B48B-AD8857CBB2F8}"/>
                </a:ext>
              </a:extLst>
            </p:cNvPr>
            <p:cNvSpPr>
              <a:spLocks/>
            </p:cNvSpPr>
            <p:nvPr/>
          </p:nvSpPr>
          <p:spPr bwMode="gray">
            <a:xfrm>
              <a:off x="1369" y="1479"/>
              <a:ext cx="419" cy="324"/>
            </a:xfrm>
            <a:custGeom>
              <a:avLst/>
              <a:gdLst>
                <a:gd name="T0" fmla="*/ 28 w 419"/>
                <a:gd name="T1" fmla="*/ 9 h 324"/>
                <a:gd name="T2" fmla="*/ 0 w 419"/>
                <a:gd name="T3" fmla="*/ 38 h 324"/>
                <a:gd name="T4" fmla="*/ 9 w 419"/>
                <a:gd name="T5" fmla="*/ 66 h 324"/>
                <a:gd name="T6" fmla="*/ 28 w 419"/>
                <a:gd name="T7" fmla="*/ 76 h 324"/>
                <a:gd name="T8" fmla="*/ 28 w 419"/>
                <a:gd name="T9" fmla="*/ 85 h 324"/>
                <a:gd name="T10" fmla="*/ 57 w 419"/>
                <a:gd name="T11" fmla="*/ 95 h 324"/>
                <a:gd name="T12" fmla="*/ 95 w 419"/>
                <a:gd name="T13" fmla="*/ 105 h 324"/>
                <a:gd name="T14" fmla="*/ 104 w 419"/>
                <a:gd name="T15" fmla="*/ 95 h 324"/>
                <a:gd name="T16" fmla="*/ 133 w 419"/>
                <a:gd name="T17" fmla="*/ 105 h 324"/>
                <a:gd name="T18" fmla="*/ 162 w 419"/>
                <a:gd name="T19" fmla="*/ 95 h 324"/>
                <a:gd name="T20" fmla="*/ 171 w 419"/>
                <a:gd name="T21" fmla="*/ 85 h 324"/>
                <a:gd name="T22" fmla="*/ 209 w 419"/>
                <a:gd name="T23" fmla="*/ 114 h 324"/>
                <a:gd name="T24" fmla="*/ 209 w 419"/>
                <a:gd name="T25" fmla="*/ 124 h 324"/>
                <a:gd name="T26" fmla="*/ 238 w 419"/>
                <a:gd name="T27" fmla="*/ 133 h 324"/>
                <a:gd name="T28" fmla="*/ 257 w 419"/>
                <a:gd name="T29" fmla="*/ 152 h 324"/>
                <a:gd name="T30" fmla="*/ 228 w 419"/>
                <a:gd name="T31" fmla="*/ 200 h 324"/>
                <a:gd name="T32" fmla="*/ 200 w 419"/>
                <a:gd name="T33" fmla="*/ 219 h 324"/>
                <a:gd name="T34" fmla="*/ 171 w 419"/>
                <a:gd name="T35" fmla="*/ 229 h 324"/>
                <a:gd name="T36" fmla="*/ 209 w 419"/>
                <a:gd name="T37" fmla="*/ 238 h 324"/>
                <a:gd name="T38" fmla="*/ 228 w 419"/>
                <a:gd name="T39" fmla="*/ 248 h 324"/>
                <a:gd name="T40" fmla="*/ 267 w 419"/>
                <a:gd name="T41" fmla="*/ 276 h 324"/>
                <a:gd name="T42" fmla="*/ 286 w 419"/>
                <a:gd name="T43" fmla="*/ 295 h 324"/>
                <a:gd name="T44" fmla="*/ 343 w 419"/>
                <a:gd name="T45" fmla="*/ 324 h 324"/>
                <a:gd name="T46" fmla="*/ 305 w 419"/>
                <a:gd name="T47" fmla="*/ 267 h 324"/>
                <a:gd name="T48" fmla="*/ 333 w 419"/>
                <a:gd name="T49" fmla="*/ 276 h 324"/>
                <a:gd name="T50" fmla="*/ 362 w 419"/>
                <a:gd name="T51" fmla="*/ 295 h 324"/>
                <a:gd name="T52" fmla="*/ 371 w 419"/>
                <a:gd name="T53" fmla="*/ 267 h 324"/>
                <a:gd name="T54" fmla="*/ 352 w 419"/>
                <a:gd name="T55" fmla="*/ 238 h 324"/>
                <a:gd name="T56" fmla="*/ 314 w 419"/>
                <a:gd name="T57" fmla="*/ 200 h 324"/>
                <a:gd name="T58" fmla="*/ 324 w 419"/>
                <a:gd name="T59" fmla="*/ 181 h 324"/>
                <a:gd name="T60" fmla="*/ 362 w 419"/>
                <a:gd name="T61" fmla="*/ 200 h 324"/>
                <a:gd name="T62" fmla="*/ 381 w 419"/>
                <a:gd name="T63" fmla="*/ 229 h 324"/>
                <a:gd name="T64" fmla="*/ 400 w 419"/>
                <a:gd name="T65" fmla="*/ 200 h 324"/>
                <a:gd name="T66" fmla="*/ 409 w 419"/>
                <a:gd name="T67" fmla="*/ 162 h 324"/>
                <a:gd name="T68" fmla="*/ 390 w 419"/>
                <a:gd name="T69" fmla="*/ 162 h 324"/>
                <a:gd name="T70" fmla="*/ 362 w 419"/>
                <a:gd name="T71" fmla="*/ 143 h 324"/>
                <a:gd name="T72" fmla="*/ 305 w 419"/>
                <a:gd name="T73" fmla="*/ 124 h 324"/>
                <a:gd name="T74" fmla="*/ 333 w 419"/>
                <a:gd name="T75" fmla="*/ 124 h 324"/>
                <a:gd name="T76" fmla="*/ 333 w 419"/>
                <a:gd name="T77" fmla="*/ 105 h 324"/>
                <a:gd name="T78" fmla="*/ 286 w 419"/>
                <a:gd name="T79" fmla="*/ 95 h 324"/>
                <a:gd name="T80" fmla="*/ 276 w 419"/>
                <a:gd name="T81" fmla="*/ 85 h 324"/>
                <a:gd name="T82" fmla="*/ 267 w 419"/>
                <a:gd name="T83" fmla="*/ 85 h 324"/>
                <a:gd name="T84" fmla="*/ 247 w 419"/>
                <a:gd name="T85" fmla="*/ 57 h 324"/>
                <a:gd name="T86" fmla="*/ 228 w 419"/>
                <a:gd name="T87" fmla="*/ 66 h 324"/>
                <a:gd name="T88" fmla="*/ 219 w 419"/>
                <a:gd name="T89" fmla="*/ 57 h 324"/>
                <a:gd name="T90" fmla="*/ 219 w 419"/>
                <a:gd name="T91" fmla="*/ 38 h 324"/>
                <a:gd name="T92" fmla="*/ 171 w 419"/>
                <a:gd name="T93" fmla="*/ 38 h 324"/>
                <a:gd name="T94" fmla="*/ 162 w 419"/>
                <a:gd name="T95" fmla="*/ 47 h 324"/>
                <a:gd name="T96" fmla="*/ 133 w 419"/>
                <a:gd name="T97" fmla="*/ 47 h 324"/>
                <a:gd name="T98" fmla="*/ 133 w 419"/>
                <a:gd name="T99" fmla="*/ 19 h 324"/>
                <a:gd name="T100" fmla="*/ 114 w 419"/>
                <a:gd name="T101" fmla="*/ 0 h 324"/>
                <a:gd name="T102" fmla="*/ 85 w 419"/>
                <a:gd name="T103" fmla="*/ 19 h 324"/>
                <a:gd name="T104" fmla="*/ 76 w 419"/>
                <a:gd name="T105" fmla="*/ 38 h 324"/>
                <a:gd name="T106" fmla="*/ 66 w 419"/>
                <a:gd name="T107" fmla="*/ 66 h 324"/>
                <a:gd name="T108" fmla="*/ 66 w 419"/>
                <a:gd name="T109" fmla="*/ 9 h 3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19"/>
                <a:gd name="T166" fmla="*/ 0 h 324"/>
                <a:gd name="T167" fmla="*/ 419 w 419"/>
                <a:gd name="T168" fmla="*/ 324 h 3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19" h="324">
                  <a:moveTo>
                    <a:pt x="76" y="0"/>
                  </a:moveTo>
                  <a:lnTo>
                    <a:pt x="66" y="0"/>
                  </a:lnTo>
                  <a:lnTo>
                    <a:pt x="57" y="0"/>
                  </a:lnTo>
                  <a:lnTo>
                    <a:pt x="47" y="0"/>
                  </a:lnTo>
                  <a:lnTo>
                    <a:pt x="28" y="9"/>
                  </a:lnTo>
                  <a:lnTo>
                    <a:pt x="9" y="19"/>
                  </a:lnTo>
                  <a:lnTo>
                    <a:pt x="9" y="28"/>
                  </a:lnTo>
                  <a:lnTo>
                    <a:pt x="0" y="38"/>
                  </a:lnTo>
                  <a:lnTo>
                    <a:pt x="9" y="47"/>
                  </a:lnTo>
                  <a:lnTo>
                    <a:pt x="0" y="47"/>
                  </a:lnTo>
                  <a:lnTo>
                    <a:pt x="0" y="57"/>
                  </a:lnTo>
                  <a:lnTo>
                    <a:pt x="9" y="66"/>
                  </a:lnTo>
                  <a:lnTo>
                    <a:pt x="28" y="66"/>
                  </a:lnTo>
                  <a:lnTo>
                    <a:pt x="38" y="76"/>
                  </a:lnTo>
                  <a:lnTo>
                    <a:pt x="28" y="76"/>
                  </a:lnTo>
                  <a:lnTo>
                    <a:pt x="19" y="76"/>
                  </a:lnTo>
                  <a:lnTo>
                    <a:pt x="9" y="76"/>
                  </a:lnTo>
                  <a:lnTo>
                    <a:pt x="19" y="85"/>
                  </a:lnTo>
                  <a:lnTo>
                    <a:pt x="28" y="85"/>
                  </a:lnTo>
                  <a:lnTo>
                    <a:pt x="28" y="95"/>
                  </a:lnTo>
                  <a:lnTo>
                    <a:pt x="38" y="95"/>
                  </a:lnTo>
                  <a:lnTo>
                    <a:pt x="47" y="85"/>
                  </a:lnTo>
                  <a:lnTo>
                    <a:pt x="57" y="85"/>
                  </a:lnTo>
                  <a:lnTo>
                    <a:pt x="57" y="95"/>
                  </a:lnTo>
                  <a:lnTo>
                    <a:pt x="66" y="95"/>
                  </a:lnTo>
                  <a:lnTo>
                    <a:pt x="76" y="95"/>
                  </a:lnTo>
                  <a:lnTo>
                    <a:pt x="85" y="95"/>
                  </a:lnTo>
                  <a:lnTo>
                    <a:pt x="95" y="105"/>
                  </a:lnTo>
                  <a:lnTo>
                    <a:pt x="104" y="105"/>
                  </a:lnTo>
                  <a:lnTo>
                    <a:pt x="114" y="105"/>
                  </a:lnTo>
                  <a:lnTo>
                    <a:pt x="104" y="95"/>
                  </a:lnTo>
                  <a:lnTo>
                    <a:pt x="114" y="95"/>
                  </a:lnTo>
                  <a:lnTo>
                    <a:pt x="124" y="95"/>
                  </a:lnTo>
                  <a:lnTo>
                    <a:pt x="133" y="105"/>
                  </a:lnTo>
                  <a:lnTo>
                    <a:pt x="133" y="95"/>
                  </a:lnTo>
                  <a:lnTo>
                    <a:pt x="143" y="95"/>
                  </a:lnTo>
                  <a:lnTo>
                    <a:pt x="152" y="105"/>
                  </a:lnTo>
                  <a:lnTo>
                    <a:pt x="162" y="105"/>
                  </a:lnTo>
                  <a:lnTo>
                    <a:pt x="162" y="95"/>
                  </a:lnTo>
                  <a:lnTo>
                    <a:pt x="152" y="85"/>
                  </a:lnTo>
                  <a:lnTo>
                    <a:pt x="162" y="85"/>
                  </a:lnTo>
                  <a:lnTo>
                    <a:pt x="171" y="85"/>
                  </a:lnTo>
                  <a:lnTo>
                    <a:pt x="181" y="95"/>
                  </a:lnTo>
                  <a:lnTo>
                    <a:pt x="181" y="105"/>
                  </a:lnTo>
                  <a:lnTo>
                    <a:pt x="190" y="105"/>
                  </a:lnTo>
                  <a:lnTo>
                    <a:pt x="190" y="114"/>
                  </a:lnTo>
                  <a:lnTo>
                    <a:pt x="209" y="114"/>
                  </a:lnTo>
                  <a:lnTo>
                    <a:pt x="209" y="124"/>
                  </a:lnTo>
                  <a:lnTo>
                    <a:pt x="190" y="124"/>
                  </a:lnTo>
                  <a:lnTo>
                    <a:pt x="190" y="133"/>
                  </a:lnTo>
                  <a:lnTo>
                    <a:pt x="200" y="133"/>
                  </a:lnTo>
                  <a:lnTo>
                    <a:pt x="209" y="124"/>
                  </a:lnTo>
                  <a:lnTo>
                    <a:pt x="219" y="124"/>
                  </a:lnTo>
                  <a:lnTo>
                    <a:pt x="228" y="133"/>
                  </a:lnTo>
                  <a:lnTo>
                    <a:pt x="238" y="133"/>
                  </a:lnTo>
                  <a:lnTo>
                    <a:pt x="238" y="143"/>
                  </a:lnTo>
                  <a:lnTo>
                    <a:pt x="247" y="143"/>
                  </a:lnTo>
                  <a:lnTo>
                    <a:pt x="247" y="152"/>
                  </a:lnTo>
                  <a:lnTo>
                    <a:pt x="257" y="152"/>
                  </a:lnTo>
                  <a:lnTo>
                    <a:pt x="257" y="171"/>
                  </a:lnTo>
                  <a:lnTo>
                    <a:pt x="247" y="171"/>
                  </a:lnTo>
                  <a:lnTo>
                    <a:pt x="238" y="171"/>
                  </a:lnTo>
                  <a:lnTo>
                    <a:pt x="219" y="190"/>
                  </a:lnTo>
                  <a:lnTo>
                    <a:pt x="228" y="200"/>
                  </a:lnTo>
                  <a:lnTo>
                    <a:pt x="238" y="210"/>
                  </a:lnTo>
                  <a:lnTo>
                    <a:pt x="238" y="219"/>
                  </a:lnTo>
                  <a:lnTo>
                    <a:pt x="228" y="210"/>
                  </a:lnTo>
                  <a:lnTo>
                    <a:pt x="219" y="219"/>
                  </a:lnTo>
                  <a:lnTo>
                    <a:pt x="200" y="219"/>
                  </a:lnTo>
                  <a:lnTo>
                    <a:pt x="190" y="219"/>
                  </a:lnTo>
                  <a:lnTo>
                    <a:pt x="181" y="210"/>
                  </a:lnTo>
                  <a:lnTo>
                    <a:pt x="181" y="219"/>
                  </a:lnTo>
                  <a:lnTo>
                    <a:pt x="181" y="229"/>
                  </a:lnTo>
                  <a:lnTo>
                    <a:pt x="171" y="229"/>
                  </a:lnTo>
                  <a:lnTo>
                    <a:pt x="171" y="248"/>
                  </a:lnTo>
                  <a:lnTo>
                    <a:pt x="181" y="248"/>
                  </a:lnTo>
                  <a:lnTo>
                    <a:pt x="200" y="257"/>
                  </a:lnTo>
                  <a:lnTo>
                    <a:pt x="209" y="238"/>
                  </a:lnTo>
                  <a:lnTo>
                    <a:pt x="219" y="248"/>
                  </a:lnTo>
                  <a:lnTo>
                    <a:pt x="219" y="238"/>
                  </a:lnTo>
                  <a:lnTo>
                    <a:pt x="228" y="238"/>
                  </a:lnTo>
                  <a:lnTo>
                    <a:pt x="228" y="248"/>
                  </a:lnTo>
                  <a:lnTo>
                    <a:pt x="238" y="248"/>
                  </a:lnTo>
                  <a:lnTo>
                    <a:pt x="247" y="257"/>
                  </a:lnTo>
                  <a:lnTo>
                    <a:pt x="257" y="267"/>
                  </a:lnTo>
                  <a:lnTo>
                    <a:pt x="267" y="267"/>
                  </a:lnTo>
                  <a:lnTo>
                    <a:pt x="267" y="276"/>
                  </a:lnTo>
                  <a:lnTo>
                    <a:pt x="257" y="276"/>
                  </a:lnTo>
                  <a:lnTo>
                    <a:pt x="267" y="286"/>
                  </a:lnTo>
                  <a:lnTo>
                    <a:pt x="286" y="295"/>
                  </a:lnTo>
                  <a:lnTo>
                    <a:pt x="295" y="295"/>
                  </a:lnTo>
                  <a:lnTo>
                    <a:pt x="295" y="305"/>
                  </a:lnTo>
                  <a:lnTo>
                    <a:pt x="305" y="315"/>
                  </a:lnTo>
                  <a:lnTo>
                    <a:pt x="314" y="315"/>
                  </a:lnTo>
                  <a:lnTo>
                    <a:pt x="343" y="324"/>
                  </a:lnTo>
                  <a:lnTo>
                    <a:pt x="352" y="324"/>
                  </a:lnTo>
                  <a:lnTo>
                    <a:pt x="343" y="315"/>
                  </a:lnTo>
                  <a:lnTo>
                    <a:pt x="324" y="295"/>
                  </a:lnTo>
                  <a:lnTo>
                    <a:pt x="314" y="286"/>
                  </a:lnTo>
                  <a:lnTo>
                    <a:pt x="305" y="267"/>
                  </a:lnTo>
                  <a:lnTo>
                    <a:pt x="314" y="267"/>
                  </a:lnTo>
                  <a:lnTo>
                    <a:pt x="314" y="276"/>
                  </a:lnTo>
                  <a:lnTo>
                    <a:pt x="324" y="276"/>
                  </a:lnTo>
                  <a:lnTo>
                    <a:pt x="333" y="276"/>
                  </a:lnTo>
                  <a:lnTo>
                    <a:pt x="352" y="286"/>
                  </a:lnTo>
                  <a:lnTo>
                    <a:pt x="362" y="305"/>
                  </a:lnTo>
                  <a:lnTo>
                    <a:pt x="362" y="295"/>
                  </a:lnTo>
                  <a:lnTo>
                    <a:pt x="371" y="286"/>
                  </a:lnTo>
                  <a:lnTo>
                    <a:pt x="362" y="276"/>
                  </a:lnTo>
                  <a:lnTo>
                    <a:pt x="371" y="276"/>
                  </a:lnTo>
                  <a:lnTo>
                    <a:pt x="371" y="267"/>
                  </a:lnTo>
                  <a:lnTo>
                    <a:pt x="362" y="257"/>
                  </a:lnTo>
                  <a:lnTo>
                    <a:pt x="362" y="248"/>
                  </a:lnTo>
                  <a:lnTo>
                    <a:pt x="352" y="238"/>
                  </a:lnTo>
                  <a:lnTo>
                    <a:pt x="343" y="238"/>
                  </a:lnTo>
                  <a:lnTo>
                    <a:pt x="333" y="219"/>
                  </a:lnTo>
                  <a:lnTo>
                    <a:pt x="324" y="219"/>
                  </a:lnTo>
                  <a:lnTo>
                    <a:pt x="324" y="210"/>
                  </a:lnTo>
                  <a:lnTo>
                    <a:pt x="314" y="200"/>
                  </a:lnTo>
                  <a:lnTo>
                    <a:pt x="314" y="190"/>
                  </a:lnTo>
                  <a:lnTo>
                    <a:pt x="324" y="200"/>
                  </a:lnTo>
                  <a:lnTo>
                    <a:pt x="333" y="200"/>
                  </a:lnTo>
                  <a:lnTo>
                    <a:pt x="324" y="190"/>
                  </a:lnTo>
                  <a:lnTo>
                    <a:pt x="324" y="181"/>
                  </a:lnTo>
                  <a:lnTo>
                    <a:pt x="333" y="171"/>
                  </a:lnTo>
                  <a:lnTo>
                    <a:pt x="343" y="190"/>
                  </a:lnTo>
                  <a:lnTo>
                    <a:pt x="352" y="190"/>
                  </a:lnTo>
                  <a:lnTo>
                    <a:pt x="362" y="190"/>
                  </a:lnTo>
                  <a:lnTo>
                    <a:pt x="362" y="200"/>
                  </a:lnTo>
                  <a:lnTo>
                    <a:pt x="352" y="210"/>
                  </a:lnTo>
                  <a:lnTo>
                    <a:pt x="362" y="219"/>
                  </a:lnTo>
                  <a:lnTo>
                    <a:pt x="371" y="219"/>
                  </a:lnTo>
                  <a:lnTo>
                    <a:pt x="381" y="229"/>
                  </a:lnTo>
                  <a:lnTo>
                    <a:pt x="390" y="229"/>
                  </a:lnTo>
                  <a:lnTo>
                    <a:pt x="381" y="210"/>
                  </a:lnTo>
                  <a:lnTo>
                    <a:pt x="381" y="200"/>
                  </a:lnTo>
                  <a:lnTo>
                    <a:pt x="390" y="210"/>
                  </a:lnTo>
                  <a:lnTo>
                    <a:pt x="400" y="200"/>
                  </a:lnTo>
                  <a:lnTo>
                    <a:pt x="400" y="181"/>
                  </a:lnTo>
                  <a:lnTo>
                    <a:pt x="409" y="181"/>
                  </a:lnTo>
                  <a:lnTo>
                    <a:pt x="419" y="171"/>
                  </a:lnTo>
                  <a:lnTo>
                    <a:pt x="409" y="171"/>
                  </a:lnTo>
                  <a:lnTo>
                    <a:pt x="409" y="162"/>
                  </a:lnTo>
                  <a:lnTo>
                    <a:pt x="400" y="162"/>
                  </a:lnTo>
                  <a:lnTo>
                    <a:pt x="390" y="171"/>
                  </a:lnTo>
                  <a:lnTo>
                    <a:pt x="390" y="162"/>
                  </a:lnTo>
                  <a:lnTo>
                    <a:pt x="371" y="162"/>
                  </a:lnTo>
                  <a:lnTo>
                    <a:pt x="371" y="152"/>
                  </a:lnTo>
                  <a:lnTo>
                    <a:pt x="362" y="152"/>
                  </a:lnTo>
                  <a:lnTo>
                    <a:pt x="362" y="143"/>
                  </a:lnTo>
                  <a:lnTo>
                    <a:pt x="352" y="143"/>
                  </a:lnTo>
                  <a:lnTo>
                    <a:pt x="343" y="152"/>
                  </a:lnTo>
                  <a:lnTo>
                    <a:pt x="333" y="143"/>
                  </a:lnTo>
                  <a:lnTo>
                    <a:pt x="314" y="133"/>
                  </a:lnTo>
                  <a:lnTo>
                    <a:pt x="305" y="124"/>
                  </a:lnTo>
                  <a:lnTo>
                    <a:pt x="324" y="124"/>
                  </a:lnTo>
                  <a:lnTo>
                    <a:pt x="314" y="124"/>
                  </a:lnTo>
                  <a:lnTo>
                    <a:pt x="333" y="124"/>
                  </a:lnTo>
                  <a:lnTo>
                    <a:pt x="333" y="114"/>
                  </a:lnTo>
                  <a:lnTo>
                    <a:pt x="314" y="114"/>
                  </a:lnTo>
                  <a:lnTo>
                    <a:pt x="324" y="105"/>
                  </a:lnTo>
                  <a:lnTo>
                    <a:pt x="333" y="105"/>
                  </a:lnTo>
                  <a:lnTo>
                    <a:pt x="314" y="95"/>
                  </a:lnTo>
                  <a:lnTo>
                    <a:pt x="314" y="105"/>
                  </a:lnTo>
                  <a:lnTo>
                    <a:pt x="305" y="105"/>
                  </a:lnTo>
                  <a:lnTo>
                    <a:pt x="305" y="95"/>
                  </a:lnTo>
                  <a:lnTo>
                    <a:pt x="286" y="95"/>
                  </a:lnTo>
                  <a:lnTo>
                    <a:pt x="305" y="95"/>
                  </a:lnTo>
                  <a:lnTo>
                    <a:pt x="314" y="85"/>
                  </a:lnTo>
                  <a:lnTo>
                    <a:pt x="295" y="85"/>
                  </a:lnTo>
                  <a:lnTo>
                    <a:pt x="286" y="85"/>
                  </a:lnTo>
                  <a:lnTo>
                    <a:pt x="276" y="85"/>
                  </a:lnTo>
                  <a:lnTo>
                    <a:pt x="267" y="85"/>
                  </a:lnTo>
                  <a:lnTo>
                    <a:pt x="276" y="85"/>
                  </a:lnTo>
                  <a:lnTo>
                    <a:pt x="276" y="76"/>
                  </a:lnTo>
                  <a:lnTo>
                    <a:pt x="267" y="85"/>
                  </a:lnTo>
                  <a:lnTo>
                    <a:pt x="257" y="76"/>
                  </a:lnTo>
                  <a:lnTo>
                    <a:pt x="276" y="76"/>
                  </a:lnTo>
                  <a:lnTo>
                    <a:pt x="276" y="66"/>
                  </a:lnTo>
                  <a:lnTo>
                    <a:pt x="267" y="57"/>
                  </a:lnTo>
                  <a:lnTo>
                    <a:pt x="247" y="57"/>
                  </a:lnTo>
                  <a:lnTo>
                    <a:pt x="247" y="66"/>
                  </a:lnTo>
                  <a:lnTo>
                    <a:pt x="238" y="66"/>
                  </a:lnTo>
                  <a:lnTo>
                    <a:pt x="228" y="66"/>
                  </a:lnTo>
                  <a:lnTo>
                    <a:pt x="238" y="57"/>
                  </a:lnTo>
                  <a:lnTo>
                    <a:pt x="228" y="57"/>
                  </a:lnTo>
                  <a:lnTo>
                    <a:pt x="228" y="66"/>
                  </a:lnTo>
                  <a:lnTo>
                    <a:pt x="219" y="66"/>
                  </a:lnTo>
                  <a:lnTo>
                    <a:pt x="219" y="57"/>
                  </a:lnTo>
                  <a:lnTo>
                    <a:pt x="228" y="47"/>
                  </a:lnTo>
                  <a:lnTo>
                    <a:pt x="219" y="47"/>
                  </a:lnTo>
                  <a:lnTo>
                    <a:pt x="209" y="47"/>
                  </a:lnTo>
                  <a:lnTo>
                    <a:pt x="219" y="38"/>
                  </a:lnTo>
                  <a:lnTo>
                    <a:pt x="200" y="28"/>
                  </a:lnTo>
                  <a:lnTo>
                    <a:pt x="200" y="38"/>
                  </a:lnTo>
                  <a:lnTo>
                    <a:pt x="190" y="28"/>
                  </a:lnTo>
                  <a:lnTo>
                    <a:pt x="171" y="28"/>
                  </a:lnTo>
                  <a:lnTo>
                    <a:pt x="171" y="38"/>
                  </a:lnTo>
                  <a:lnTo>
                    <a:pt x="181" y="38"/>
                  </a:lnTo>
                  <a:lnTo>
                    <a:pt x="181" y="47"/>
                  </a:lnTo>
                  <a:lnTo>
                    <a:pt x="171" y="47"/>
                  </a:lnTo>
                  <a:lnTo>
                    <a:pt x="162" y="47"/>
                  </a:lnTo>
                  <a:lnTo>
                    <a:pt x="152" y="38"/>
                  </a:lnTo>
                  <a:lnTo>
                    <a:pt x="143" y="38"/>
                  </a:lnTo>
                  <a:lnTo>
                    <a:pt x="143" y="47"/>
                  </a:lnTo>
                  <a:lnTo>
                    <a:pt x="133" y="47"/>
                  </a:lnTo>
                  <a:lnTo>
                    <a:pt x="133" y="38"/>
                  </a:lnTo>
                  <a:lnTo>
                    <a:pt x="143" y="28"/>
                  </a:lnTo>
                  <a:lnTo>
                    <a:pt x="133" y="28"/>
                  </a:lnTo>
                  <a:lnTo>
                    <a:pt x="133" y="19"/>
                  </a:lnTo>
                  <a:lnTo>
                    <a:pt x="124" y="9"/>
                  </a:lnTo>
                  <a:lnTo>
                    <a:pt x="124" y="0"/>
                  </a:lnTo>
                  <a:lnTo>
                    <a:pt x="114" y="0"/>
                  </a:lnTo>
                  <a:lnTo>
                    <a:pt x="95" y="9"/>
                  </a:lnTo>
                  <a:lnTo>
                    <a:pt x="85" y="9"/>
                  </a:lnTo>
                  <a:lnTo>
                    <a:pt x="76" y="9"/>
                  </a:lnTo>
                  <a:lnTo>
                    <a:pt x="85" y="19"/>
                  </a:lnTo>
                  <a:lnTo>
                    <a:pt x="66" y="19"/>
                  </a:lnTo>
                  <a:lnTo>
                    <a:pt x="76" y="38"/>
                  </a:lnTo>
                  <a:lnTo>
                    <a:pt x="85" y="38"/>
                  </a:lnTo>
                  <a:lnTo>
                    <a:pt x="85" y="47"/>
                  </a:lnTo>
                  <a:lnTo>
                    <a:pt x="76" y="38"/>
                  </a:lnTo>
                  <a:lnTo>
                    <a:pt x="66" y="47"/>
                  </a:lnTo>
                  <a:lnTo>
                    <a:pt x="66" y="57"/>
                  </a:lnTo>
                  <a:lnTo>
                    <a:pt x="76" y="57"/>
                  </a:lnTo>
                  <a:lnTo>
                    <a:pt x="76" y="76"/>
                  </a:lnTo>
                  <a:lnTo>
                    <a:pt x="66" y="66"/>
                  </a:lnTo>
                  <a:lnTo>
                    <a:pt x="66" y="57"/>
                  </a:lnTo>
                  <a:lnTo>
                    <a:pt x="57" y="47"/>
                  </a:lnTo>
                  <a:lnTo>
                    <a:pt x="57" y="28"/>
                  </a:lnTo>
                  <a:lnTo>
                    <a:pt x="47" y="28"/>
                  </a:lnTo>
                  <a:lnTo>
                    <a:pt x="66" y="9"/>
                  </a:lnTo>
                  <a:lnTo>
                    <a:pt x="76"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63" name="Freeform 344">
              <a:extLst>
                <a:ext uri="{FF2B5EF4-FFF2-40B4-BE49-F238E27FC236}">
                  <a16:creationId xmlns:a16="http://schemas.microsoft.com/office/drawing/2014/main" id="{DF6DABE4-3EBD-4112-ABC2-0E0D30C0A7A1}"/>
                </a:ext>
              </a:extLst>
            </p:cNvPr>
            <p:cNvSpPr>
              <a:spLocks/>
            </p:cNvSpPr>
            <p:nvPr/>
          </p:nvSpPr>
          <p:spPr bwMode="gray">
            <a:xfrm>
              <a:off x="1502" y="1479"/>
              <a:ext cx="76" cy="28"/>
            </a:xfrm>
            <a:custGeom>
              <a:avLst/>
              <a:gdLst>
                <a:gd name="T0" fmla="*/ 0 w 76"/>
                <a:gd name="T1" fmla="*/ 9 h 28"/>
                <a:gd name="T2" fmla="*/ 10 w 76"/>
                <a:gd name="T3" fmla="*/ 9 h 28"/>
                <a:gd name="T4" fmla="*/ 10 w 76"/>
                <a:gd name="T5" fmla="*/ 19 h 28"/>
                <a:gd name="T6" fmla="*/ 10 w 76"/>
                <a:gd name="T7" fmla="*/ 28 h 28"/>
                <a:gd name="T8" fmla="*/ 19 w 76"/>
                <a:gd name="T9" fmla="*/ 28 h 28"/>
                <a:gd name="T10" fmla="*/ 29 w 76"/>
                <a:gd name="T11" fmla="*/ 28 h 28"/>
                <a:gd name="T12" fmla="*/ 29 w 76"/>
                <a:gd name="T13" fmla="*/ 28 h 28"/>
                <a:gd name="T14" fmla="*/ 48 w 76"/>
                <a:gd name="T15" fmla="*/ 28 h 28"/>
                <a:gd name="T16" fmla="*/ 67 w 76"/>
                <a:gd name="T17" fmla="*/ 28 h 28"/>
                <a:gd name="T18" fmla="*/ 76 w 76"/>
                <a:gd name="T19" fmla="*/ 28 h 28"/>
                <a:gd name="T20" fmla="*/ 67 w 76"/>
                <a:gd name="T21" fmla="*/ 19 h 28"/>
                <a:gd name="T22" fmla="*/ 67 w 76"/>
                <a:gd name="T23" fmla="*/ 19 h 28"/>
                <a:gd name="T24" fmla="*/ 57 w 76"/>
                <a:gd name="T25" fmla="*/ 9 h 28"/>
                <a:gd name="T26" fmla="*/ 48 w 76"/>
                <a:gd name="T27" fmla="*/ 9 h 28"/>
                <a:gd name="T28" fmla="*/ 38 w 76"/>
                <a:gd name="T29" fmla="*/ 0 h 28"/>
                <a:gd name="T30" fmla="*/ 19 w 76"/>
                <a:gd name="T31" fmla="*/ 9 h 28"/>
                <a:gd name="T32" fmla="*/ 10 w 76"/>
                <a:gd name="T33" fmla="*/ 0 h 28"/>
                <a:gd name="T34" fmla="*/ 0 w 76"/>
                <a:gd name="T35" fmla="*/ 9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6"/>
                <a:gd name="T55" fmla="*/ 0 h 28"/>
                <a:gd name="T56" fmla="*/ 76 w 76"/>
                <a:gd name="T57" fmla="*/ 28 h 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6" h="28">
                  <a:moveTo>
                    <a:pt x="0" y="9"/>
                  </a:moveTo>
                  <a:lnTo>
                    <a:pt x="10" y="9"/>
                  </a:lnTo>
                  <a:lnTo>
                    <a:pt x="10" y="19"/>
                  </a:lnTo>
                  <a:lnTo>
                    <a:pt x="10" y="28"/>
                  </a:lnTo>
                  <a:lnTo>
                    <a:pt x="19" y="28"/>
                  </a:lnTo>
                  <a:lnTo>
                    <a:pt x="29" y="28"/>
                  </a:lnTo>
                  <a:lnTo>
                    <a:pt x="48" y="28"/>
                  </a:lnTo>
                  <a:lnTo>
                    <a:pt x="67" y="28"/>
                  </a:lnTo>
                  <a:lnTo>
                    <a:pt x="76" y="28"/>
                  </a:lnTo>
                  <a:lnTo>
                    <a:pt x="67" y="19"/>
                  </a:lnTo>
                  <a:lnTo>
                    <a:pt x="57" y="9"/>
                  </a:lnTo>
                  <a:lnTo>
                    <a:pt x="48" y="9"/>
                  </a:lnTo>
                  <a:lnTo>
                    <a:pt x="38" y="0"/>
                  </a:lnTo>
                  <a:lnTo>
                    <a:pt x="19" y="9"/>
                  </a:lnTo>
                  <a:lnTo>
                    <a:pt x="10" y="0"/>
                  </a:lnTo>
                  <a:lnTo>
                    <a:pt x="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64" name="Freeform 345">
              <a:extLst>
                <a:ext uri="{FF2B5EF4-FFF2-40B4-BE49-F238E27FC236}">
                  <a16:creationId xmlns:a16="http://schemas.microsoft.com/office/drawing/2014/main" id="{33EDA866-8585-433E-BA3A-74C660D64CCE}"/>
                </a:ext>
              </a:extLst>
            </p:cNvPr>
            <p:cNvSpPr>
              <a:spLocks/>
            </p:cNvSpPr>
            <p:nvPr/>
          </p:nvSpPr>
          <p:spPr bwMode="gray">
            <a:xfrm>
              <a:off x="1502" y="1479"/>
              <a:ext cx="76" cy="28"/>
            </a:xfrm>
            <a:custGeom>
              <a:avLst/>
              <a:gdLst>
                <a:gd name="T0" fmla="*/ 0 w 76"/>
                <a:gd name="T1" fmla="*/ 9 h 28"/>
                <a:gd name="T2" fmla="*/ 10 w 76"/>
                <a:gd name="T3" fmla="*/ 9 h 28"/>
                <a:gd name="T4" fmla="*/ 10 w 76"/>
                <a:gd name="T5" fmla="*/ 19 h 28"/>
                <a:gd name="T6" fmla="*/ 10 w 76"/>
                <a:gd name="T7" fmla="*/ 28 h 28"/>
                <a:gd name="T8" fmla="*/ 19 w 76"/>
                <a:gd name="T9" fmla="*/ 28 h 28"/>
                <a:gd name="T10" fmla="*/ 29 w 76"/>
                <a:gd name="T11" fmla="*/ 28 h 28"/>
                <a:gd name="T12" fmla="*/ 29 w 76"/>
                <a:gd name="T13" fmla="*/ 28 h 28"/>
                <a:gd name="T14" fmla="*/ 48 w 76"/>
                <a:gd name="T15" fmla="*/ 28 h 28"/>
                <a:gd name="T16" fmla="*/ 67 w 76"/>
                <a:gd name="T17" fmla="*/ 28 h 28"/>
                <a:gd name="T18" fmla="*/ 76 w 76"/>
                <a:gd name="T19" fmla="*/ 28 h 28"/>
                <a:gd name="T20" fmla="*/ 67 w 76"/>
                <a:gd name="T21" fmla="*/ 19 h 28"/>
                <a:gd name="T22" fmla="*/ 67 w 76"/>
                <a:gd name="T23" fmla="*/ 19 h 28"/>
                <a:gd name="T24" fmla="*/ 57 w 76"/>
                <a:gd name="T25" fmla="*/ 9 h 28"/>
                <a:gd name="T26" fmla="*/ 48 w 76"/>
                <a:gd name="T27" fmla="*/ 9 h 28"/>
                <a:gd name="T28" fmla="*/ 38 w 76"/>
                <a:gd name="T29" fmla="*/ 0 h 28"/>
                <a:gd name="T30" fmla="*/ 19 w 76"/>
                <a:gd name="T31" fmla="*/ 9 h 28"/>
                <a:gd name="T32" fmla="*/ 10 w 76"/>
                <a:gd name="T33" fmla="*/ 0 h 28"/>
                <a:gd name="T34" fmla="*/ 0 w 76"/>
                <a:gd name="T35" fmla="*/ 9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6"/>
                <a:gd name="T55" fmla="*/ 0 h 28"/>
                <a:gd name="T56" fmla="*/ 76 w 76"/>
                <a:gd name="T57" fmla="*/ 28 h 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6" h="28">
                  <a:moveTo>
                    <a:pt x="0" y="9"/>
                  </a:moveTo>
                  <a:lnTo>
                    <a:pt x="10" y="9"/>
                  </a:lnTo>
                  <a:lnTo>
                    <a:pt x="10" y="19"/>
                  </a:lnTo>
                  <a:lnTo>
                    <a:pt x="10" y="28"/>
                  </a:lnTo>
                  <a:lnTo>
                    <a:pt x="19" y="28"/>
                  </a:lnTo>
                  <a:lnTo>
                    <a:pt x="29" y="28"/>
                  </a:lnTo>
                  <a:lnTo>
                    <a:pt x="48" y="28"/>
                  </a:lnTo>
                  <a:lnTo>
                    <a:pt x="67" y="28"/>
                  </a:lnTo>
                  <a:lnTo>
                    <a:pt x="76" y="28"/>
                  </a:lnTo>
                  <a:lnTo>
                    <a:pt x="67" y="19"/>
                  </a:lnTo>
                  <a:lnTo>
                    <a:pt x="57" y="9"/>
                  </a:lnTo>
                  <a:lnTo>
                    <a:pt x="48" y="9"/>
                  </a:lnTo>
                  <a:lnTo>
                    <a:pt x="38" y="0"/>
                  </a:lnTo>
                  <a:lnTo>
                    <a:pt x="19" y="9"/>
                  </a:lnTo>
                  <a:lnTo>
                    <a:pt x="10" y="0"/>
                  </a:lnTo>
                  <a:lnTo>
                    <a:pt x="0"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65" name="Freeform 346">
              <a:extLst>
                <a:ext uri="{FF2B5EF4-FFF2-40B4-BE49-F238E27FC236}">
                  <a16:creationId xmlns:a16="http://schemas.microsoft.com/office/drawing/2014/main" id="{E6BAD3B1-6568-4DED-9272-EBC74778C357}"/>
                </a:ext>
              </a:extLst>
            </p:cNvPr>
            <p:cNvSpPr>
              <a:spLocks/>
            </p:cNvSpPr>
            <p:nvPr/>
          </p:nvSpPr>
          <p:spPr bwMode="gray">
            <a:xfrm>
              <a:off x="1550" y="1622"/>
              <a:ext cx="38" cy="19"/>
            </a:xfrm>
            <a:custGeom>
              <a:avLst/>
              <a:gdLst>
                <a:gd name="T0" fmla="*/ 19 w 38"/>
                <a:gd name="T1" fmla="*/ 0 h 19"/>
                <a:gd name="T2" fmla="*/ 0 w 38"/>
                <a:gd name="T3" fmla="*/ 9 h 19"/>
                <a:gd name="T4" fmla="*/ 9 w 38"/>
                <a:gd name="T5" fmla="*/ 19 h 19"/>
                <a:gd name="T6" fmla="*/ 9 w 38"/>
                <a:gd name="T7" fmla="*/ 19 h 19"/>
                <a:gd name="T8" fmla="*/ 19 w 38"/>
                <a:gd name="T9" fmla="*/ 19 h 19"/>
                <a:gd name="T10" fmla="*/ 38 w 38"/>
                <a:gd name="T11" fmla="*/ 9 h 19"/>
                <a:gd name="T12" fmla="*/ 38 w 38"/>
                <a:gd name="T13" fmla="*/ 9 h 19"/>
                <a:gd name="T14" fmla="*/ 28 w 38"/>
                <a:gd name="T15" fmla="*/ 9 h 19"/>
                <a:gd name="T16" fmla="*/ 28 w 38"/>
                <a:gd name="T17" fmla="*/ 0 h 19"/>
                <a:gd name="T18" fmla="*/ 19 w 38"/>
                <a:gd name="T19" fmla="*/ 0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19"/>
                <a:gd name="T32" fmla="*/ 38 w 38"/>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19">
                  <a:moveTo>
                    <a:pt x="19" y="0"/>
                  </a:moveTo>
                  <a:lnTo>
                    <a:pt x="0" y="9"/>
                  </a:lnTo>
                  <a:lnTo>
                    <a:pt x="9" y="19"/>
                  </a:lnTo>
                  <a:lnTo>
                    <a:pt x="19" y="19"/>
                  </a:lnTo>
                  <a:lnTo>
                    <a:pt x="38" y="9"/>
                  </a:lnTo>
                  <a:lnTo>
                    <a:pt x="28" y="9"/>
                  </a:lnTo>
                  <a:lnTo>
                    <a:pt x="28" y="0"/>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66" name="Freeform 347">
              <a:extLst>
                <a:ext uri="{FF2B5EF4-FFF2-40B4-BE49-F238E27FC236}">
                  <a16:creationId xmlns:a16="http://schemas.microsoft.com/office/drawing/2014/main" id="{735B9ED9-F9AE-46AF-83F6-2DF81A5D8412}"/>
                </a:ext>
              </a:extLst>
            </p:cNvPr>
            <p:cNvSpPr>
              <a:spLocks/>
            </p:cNvSpPr>
            <p:nvPr/>
          </p:nvSpPr>
          <p:spPr bwMode="gray">
            <a:xfrm>
              <a:off x="1550" y="1622"/>
              <a:ext cx="38" cy="19"/>
            </a:xfrm>
            <a:custGeom>
              <a:avLst/>
              <a:gdLst>
                <a:gd name="T0" fmla="*/ 19 w 38"/>
                <a:gd name="T1" fmla="*/ 0 h 19"/>
                <a:gd name="T2" fmla="*/ 0 w 38"/>
                <a:gd name="T3" fmla="*/ 9 h 19"/>
                <a:gd name="T4" fmla="*/ 9 w 38"/>
                <a:gd name="T5" fmla="*/ 19 h 19"/>
                <a:gd name="T6" fmla="*/ 9 w 38"/>
                <a:gd name="T7" fmla="*/ 19 h 19"/>
                <a:gd name="T8" fmla="*/ 19 w 38"/>
                <a:gd name="T9" fmla="*/ 19 h 19"/>
                <a:gd name="T10" fmla="*/ 38 w 38"/>
                <a:gd name="T11" fmla="*/ 9 h 19"/>
                <a:gd name="T12" fmla="*/ 38 w 38"/>
                <a:gd name="T13" fmla="*/ 9 h 19"/>
                <a:gd name="T14" fmla="*/ 28 w 38"/>
                <a:gd name="T15" fmla="*/ 9 h 19"/>
                <a:gd name="T16" fmla="*/ 28 w 38"/>
                <a:gd name="T17" fmla="*/ 0 h 19"/>
                <a:gd name="T18" fmla="*/ 19 w 38"/>
                <a:gd name="T19" fmla="*/ 0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19"/>
                <a:gd name="T32" fmla="*/ 38 w 38"/>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19">
                  <a:moveTo>
                    <a:pt x="19" y="0"/>
                  </a:moveTo>
                  <a:lnTo>
                    <a:pt x="0" y="9"/>
                  </a:lnTo>
                  <a:lnTo>
                    <a:pt x="9" y="19"/>
                  </a:lnTo>
                  <a:lnTo>
                    <a:pt x="19" y="19"/>
                  </a:lnTo>
                  <a:lnTo>
                    <a:pt x="38" y="9"/>
                  </a:lnTo>
                  <a:lnTo>
                    <a:pt x="28" y="9"/>
                  </a:lnTo>
                  <a:lnTo>
                    <a:pt x="28" y="0"/>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67" name="Freeform 348">
              <a:extLst>
                <a:ext uri="{FF2B5EF4-FFF2-40B4-BE49-F238E27FC236}">
                  <a16:creationId xmlns:a16="http://schemas.microsoft.com/office/drawing/2014/main" id="{8DD05930-26D9-4113-8AE6-A724E45C4FB8}"/>
                </a:ext>
              </a:extLst>
            </p:cNvPr>
            <p:cNvSpPr>
              <a:spLocks/>
            </p:cNvSpPr>
            <p:nvPr/>
          </p:nvSpPr>
          <p:spPr bwMode="gray">
            <a:xfrm>
              <a:off x="1416" y="1679"/>
              <a:ext cx="96" cy="86"/>
            </a:xfrm>
            <a:custGeom>
              <a:avLst/>
              <a:gdLst>
                <a:gd name="T0" fmla="*/ 10 w 96"/>
                <a:gd name="T1" fmla="*/ 10 h 86"/>
                <a:gd name="T2" fmla="*/ 19 w 96"/>
                <a:gd name="T3" fmla="*/ 0 h 86"/>
                <a:gd name="T4" fmla="*/ 19 w 96"/>
                <a:gd name="T5" fmla="*/ 0 h 86"/>
                <a:gd name="T6" fmla="*/ 19 w 96"/>
                <a:gd name="T7" fmla="*/ 10 h 86"/>
                <a:gd name="T8" fmla="*/ 29 w 96"/>
                <a:gd name="T9" fmla="*/ 19 h 86"/>
                <a:gd name="T10" fmla="*/ 38 w 96"/>
                <a:gd name="T11" fmla="*/ 19 h 86"/>
                <a:gd name="T12" fmla="*/ 48 w 96"/>
                <a:gd name="T13" fmla="*/ 19 h 86"/>
                <a:gd name="T14" fmla="*/ 57 w 96"/>
                <a:gd name="T15" fmla="*/ 29 h 86"/>
                <a:gd name="T16" fmla="*/ 67 w 96"/>
                <a:gd name="T17" fmla="*/ 38 h 86"/>
                <a:gd name="T18" fmla="*/ 77 w 96"/>
                <a:gd name="T19" fmla="*/ 48 h 86"/>
                <a:gd name="T20" fmla="*/ 67 w 96"/>
                <a:gd name="T21" fmla="*/ 57 h 86"/>
                <a:gd name="T22" fmla="*/ 86 w 96"/>
                <a:gd name="T23" fmla="*/ 57 h 86"/>
                <a:gd name="T24" fmla="*/ 96 w 96"/>
                <a:gd name="T25" fmla="*/ 67 h 86"/>
                <a:gd name="T26" fmla="*/ 86 w 96"/>
                <a:gd name="T27" fmla="*/ 76 h 86"/>
                <a:gd name="T28" fmla="*/ 67 w 96"/>
                <a:gd name="T29" fmla="*/ 76 h 86"/>
                <a:gd name="T30" fmla="*/ 67 w 96"/>
                <a:gd name="T31" fmla="*/ 67 h 86"/>
                <a:gd name="T32" fmla="*/ 57 w 96"/>
                <a:gd name="T33" fmla="*/ 57 h 86"/>
                <a:gd name="T34" fmla="*/ 57 w 96"/>
                <a:gd name="T35" fmla="*/ 57 h 86"/>
                <a:gd name="T36" fmla="*/ 48 w 96"/>
                <a:gd name="T37" fmla="*/ 57 h 86"/>
                <a:gd name="T38" fmla="*/ 48 w 96"/>
                <a:gd name="T39" fmla="*/ 67 h 86"/>
                <a:gd name="T40" fmla="*/ 38 w 96"/>
                <a:gd name="T41" fmla="*/ 67 h 86"/>
                <a:gd name="T42" fmla="*/ 29 w 96"/>
                <a:gd name="T43" fmla="*/ 86 h 86"/>
                <a:gd name="T44" fmla="*/ 19 w 96"/>
                <a:gd name="T45" fmla="*/ 86 h 86"/>
                <a:gd name="T46" fmla="*/ 19 w 96"/>
                <a:gd name="T47" fmla="*/ 67 h 86"/>
                <a:gd name="T48" fmla="*/ 0 w 96"/>
                <a:gd name="T49" fmla="*/ 67 h 86"/>
                <a:gd name="T50" fmla="*/ 0 w 96"/>
                <a:gd name="T51" fmla="*/ 67 h 86"/>
                <a:gd name="T52" fmla="*/ 10 w 96"/>
                <a:gd name="T53" fmla="*/ 38 h 86"/>
                <a:gd name="T54" fmla="*/ 10 w 96"/>
                <a:gd name="T55" fmla="*/ 10 h 86"/>
                <a:gd name="T56" fmla="*/ 10 w 96"/>
                <a:gd name="T57" fmla="*/ 1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6"/>
                <a:gd name="T88" fmla="*/ 0 h 86"/>
                <a:gd name="T89" fmla="*/ 96 w 96"/>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6" h="86">
                  <a:moveTo>
                    <a:pt x="10" y="10"/>
                  </a:moveTo>
                  <a:lnTo>
                    <a:pt x="19" y="0"/>
                  </a:lnTo>
                  <a:lnTo>
                    <a:pt x="19" y="10"/>
                  </a:lnTo>
                  <a:lnTo>
                    <a:pt x="29" y="19"/>
                  </a:lnTo>
                  <a:lnTo>
                    <a:pt x="38" y="19"/>
                  </a:lnTo>
                  <a:lnTo>
                    <a:pt x="48" y="19"/>
                  </a:lnTo>
                  <a:lnTo>
                    <a:pt x="57" y="29"/>
                  </a:lnTo>
                  <a:lnTo>
                    <a:pt x="67" y="38"/>
                  </a:lnTo>
                  <a:lnTo>
                    <a:pt x="77" y="48"/>
                  </a:lnTo>
                  <a:lnTo>
                    <a:pt x="67" y="57"/>
                  </a:lnTo>
                  <a:lnTo>
                    <a:pt x="86" y="57"/>
                  </a:lnTo>
                  <a:lnTo>
                    <a:pt x="96" y="67"/>
                  </a:lnTo>
                  <a:lnTo>
                    <a:pt x="86" y="76"/>
                  </a:lnTo>
                  <a:lnTo>
                    <a:pt x="67" y="76"/>
                  </a:lnTo>
                  <a:lnTo>
                    <a:pt x="67" y="67"/>
                  </a:lnTo>
                  <a:lnTo>
                    <a:pt x="57" y="57"/>
                  </a:lnTo>
                  <a:lnTo>
                    <a:pt x="48" y="57"/>
                  </a:lnTo>
                  <a:lnTo>
                    <a:pt x="48" y="67"/>
                  </a:lnTo>
                  <a:lnTo>
                    <a:pt x="38" y="67"/>
                  </a:lnTo>
                  <a:lnTo>
                    <a:pt x="29" y="86"/>
                  </a:lnTo>
                  <a:lnTo>
                    <a:pt x="19" y="86"/>
                  </a:lnTo>
                  <a:lnTo>
                    <a:pt x="19" y="67"/>
                  </a:lnTo>
                  <a:lnTo>
                    <a:pt x="0" y="67"/>
                  </a:lnTo>
                  <a:lnTo>
                    <a:pt x="10" y="38"/>
                  </a:lnTo>
                  <a:lnTo>
                    <a:pt x="1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68" name="Freeform 349">
              <a:extLst>
                <a:ext uri="{FF2B5EF4-FFF2-40B4-BE49-F238E27FC236}">
                  <a16:creationId xmlns:a16="http://schemas.microsoft.com/office/drawing/2014/main" id="{33557025-4499-4A9D-A05F-C4BC7190905C}"/>
                </a:ext>
              </a:extLst>
            </p:cNvPr>
            <p:cNvSpPr>
              <a:spLocks/>
            </p:cNvSpPr>
            <p:nvPr/>
          </p:nvSpPr>
          <p:spPr bwMode="gray">
            <a:xfrm>
              <a:off x="1416" y="1679"/>
              <a:ext cx="96" cy="86"/>
            </a:xfrm>
            <a:custGeom>
              <a:avLst/>
              <a:gdLst>
                <a:gd name="T0" fmla="*/ 10 w 96"/>
                <a:gd name="T1" fmla="*/ 10 h 86"/>
                <a:gd name="T2" fmla="*/ 19 w 96"/>
                <a:gd name="T3" fmla="*/ 0 h 86"/>
                <a:gd name="T4" fmla="*/ 19 w 96"/>
                <a:gd name="T5" fmla="*/ 0 h 86"/>
                <a:gd name="T6" fmla="*/ 19 w 96"/>
                <a:gd name="T7" fmla="*/ 10 h 86"/>
                <a:gd name="T8" fmla="*/ 29 w 96"/>
                <a:gd name="T9" fmla="*/ 19 h 86"/>
                <a:gd name="T10" fmla="*/ 38 w 96"/>
                <a:gd name="T11" fmla="*/ 19 h 86"/>
                <a:gd name="T12" fmla="*/ 48 w 96"/>
                <a:gd name="T13" fmla="*/ 19 h 86"/>
                <a:gd name="T14" fmla="*/ 57 w 96"/>
                <a:gd name="T15" fmla="*/ 29 h 86"/>
                <a:gd name="T16" fmla="*/ 67 w 96"/>
                <a:gd name="T17" fmla="*/ 38 h 86"/>
                <a:gd name="T18" fmla="*/ 77 w 96"/>
                <a:gd name="T19" fmla="*/ 48 h 86"/>
                <a:gd name="T20" fmla="*/ 67 w 96"/>
                <a:gd name="T21" fmla="*/ 57 h 86"/>
                <a:gd name="T22" fmla="*/ 86 w 96"/>
                <a:gd name="T23" fmla="*/ 57 h 86"/>
                <a:gd name="T24" fmla="*/ 96 w 96"/>
                <a:gd name="T25" fmla="*/ 67 h 86"/>
                <a:gd name="T26" fmla="*/ 86 w 96"/>
                <a:gd name="T27" fmla="*/ 76 h 86"/>
                <a:gd name="T28" fmla="*/ 67 w 96"/>
                <a:gd name="T29" fmla="*/ 76 h 86"/>
                <a:gd name="T30" fmla="*/ 67 w 96"/>
                <a:gd name="T31" fmla="*/ 67 h 86"/>
                <a:gd name="T32" fmla="*/ 57 w 96"/>
                <a:gd name="T33" fmla="*/ 57 h 86"/>
                <a:gd name="T34" fmla="*/ 57 w 96"/>
                <a:gd name="T35" fmla="*/ 57 h 86"/>
                <a:gd name="T36" fmla="*/ 48 w 96"/>
                <a:gd name="T37" fmla="*/ 57 h 86"/>
                <a:gd name="T38" fmla="*/ 48 w 96"/>
                <a:gd name="T39" fmla="*/ 67 h 86"/>
                <a:gd name="T40" fmla="*/ 38 w 96"/>
                <a:gd name="T41" fmla="*/ 67 h 86"/>
                <a:gd name="T42" fmla="*/ 29 w 96"/>
                <a:gd name="T43" fmla="*/ 86 h 86"/>
                <a:gd name="T44" fmla="*/ 19 w 96"/>
                <a:gd name="T45" fmla="*/ 86 h 86"/>
                <a:gd name="T46" fmla="*/ 19 w 96"/>
                <a:gd name="T47" fmla="*/ 67 h 86"/>
                <a:gd name="T48" fmla="*/ 0 w 96"/>
                <a:gd name="T49" fmla="*/ 67 h 86"/>
                <a:gd name="T50" fmla="*/ 0 w 96"/>
                <a:gd name="T51" fmla="*/ 67 h 86"/>
                <a:gd name="T52" fmla="*/ 10 w 96"/>
                <a:gd name="T53" fmla="*/ 38 h 86"/>
                <a:gd name="T54" fmla="*/ 10 w 96"/>
                <a:gd name="T55" fmla="*/ 10 h 86"/>
                <a:gd name="T56" fmla="*/ 10 w 96"/>
                <a:gd name="T57" fmla="*/ 1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6"/>
                <a:gd name="T88" fmla="*/ 0 h 86"/>
                <a:gd name="T89" fmla="*/ 96 w 96"/>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6" h="86">
                  <a:moveTo>
                    <a:pt x="10" y="10"/>
                  </a:moveTo>
                  <a:lnTo>
                    <a:pt x="19" y="0"/>
                  </a:lnTo>
                  <a:lnTo>
                    <a:pt x="19" y="10"/>
                  </a:lnTo>
                  <a:lnTo>
                    <a:pt x="29" y="19"/>
                  </a:lnTo>
                  <a:lnTo>
                    <a:pt x="38" y="19"/>
                  </a:lnTo>
                  <a:lnTo>
                    <a:pt x="48" y="19"/>
                  </a:lnTo>
                  <a:lnTo>
                    <a:pt x="57" y="29"/>
                  </a:lnTo>
                  <a:lnTo>
                    <a:pt x="67" y="38"/>
                  </a:lnTo>
                  <a:lnTo>
                    <a:pt x="77" y="48"/>
                  </a:lnTo>
                  <a:lnTo>
                    <a:pt x="67" y="57"/>
                  </a:lnTo>
                  <a:lnTo>
                    <a:pt x="86" y="57"/>
                  </a:lnTo>
                  <a:lnTo>
                    <a:pt x="96" y="67"/>
                  </a:lnTo>
                  <a:lnTo>
                    <a:pt x="86" y="76"/>
                  </a:lnTo>
                  <a:lnTo>
                    <a:pt x="67" y="76"/>
                  </a:lnTo>
                  <a:lnTo>
                    <a:pt x="67" y="67"/>
                  </a:lnTo>
                  <a:lnTo>
                    <a:pt x="57" y="57"/>
                  </a:lnTo>
                  <a:lnTo>
                    <a:pt x="48" y="57"/>
                  </a:lnTo>
                  <a:lnTo>
                    <a:pt x="48" y="67"/>
                  </a:lnTo>
                  <a:lnTo>
                    <a:pt x="38" y="67"/>
                  </a:lnTo>
                  <a:lnTo>
                    <a:pt x="29" y="86"/>
                  </a:lnTo>
                  <a:lnTo>
                    <a:pt x="19" y="86"/>
                  </a:lnTo>
                  <a:lnTo>
                    <a:pt x="19" y="67"/>
                  </a:lnTo>
                  <a:lnTo>
                    <a:pt x="0" y="67"/>
                  </a:lnTo>
                  <a:lnTo>
                    <a:pt x="10" y="38"/>
                  </a:lnTo>
                  <a:lnTo>
                    <a:pt x="1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69" name="Freeform 350">
              <a:extLst>
                <a:ext uri="{FF2B5EF4-FFF2-40B4-BE49-F238E27FC236}">
                  <a16:creationId xmlns:a16="http://schemas.microsoft.com/office/drawing/2014/main" id="{871CB1A2-E777-4807-8686-246049558D27}"/>
                </a:ext>
              </a:extLst>
            </p:cNvPr>
            <p:cNvSpPr>
              <a:spLocks/>
            </p:cNvSpPr>
            <p:nvPr/>
          </p:nvSpPr>
          <p:spPr bwMode="gray">
            <a:xfrm>
              <a:off x="1464" y="1765"/>
              <a:ext cx="19" cy="19"/>
            </a:xfrm>
            <a:custGeom>
              <a:avLst/>
              <a:gdLst>
                <a:gd name="T0" fmla="*/ 19 w 19"/>
                <a:gd name="T1" fmla="*/ 0 h 19"/>
                <a:gd name="T2" fmla="*/ 9 w 19"/>
                <a:gd name="T3" fmla="*/ 0 h 19"/>
                <a:gd name="T4" fmla="*/ 0 w 19"/>
                <a:gd name="T5" fmla="*/ 9 h 19"/>
                <a:gd name="T6" fmla="*/ 0 w 19"/>
                <a:gd name="T7" fmla="*/ 19 h 19"/>
                <a:gd name="T8" fmla="*/ 9 w 19"/>
                <a:gd name="T9" fmla="*/ 19 h 19"/>
                <a:gd name="T10" fmla="*/ 19 w 19"/>
                <a:gd name="T11" fmla="*/ 9 h 19"/>
                <a:gd name="T12" fmla="*/ 19 w 19"/>
                <a:gd name="T13" fmla="*/ 0 h 19"/>
                <a:gd name="T14" fmla="*/ 0 60000 65536"/>
                <a:gd name="T15" fmla="*/ 0 60000 65536"/>
                <a:gd name="T16" fmla="*/ 0 60000 65536"/>
                <a:gd name="T17" fmla="*/ 0 60000 65536"/>
                <a:gd name="T18" fmla="*/ 0 60000 65536"/>
                <a:gd name="T19" fmla="*/ 0 60000 65536"/>
                <a:gd name="T20" fmla="*/ 0 60000 65536"/>
                <a:gd name="T21" fmla="*/ 0 w 19"/>
                <a:gd name="T22" fmla="*/ 0 h 19"/>
                <a:gd name="T23" fmla="*/ 19 w 1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9">
                  <a:moveTo>
                    <a:pt x="19" y="0"/>
                  </a:moveTo>
                  <a:lnTo>
                    <a:pt x="9" y="0"/>
                  </a:lnTo>
                  <a:lnTo>
                    <a:pt x="0" y="9"/>
                  </a:lnTo>
                  <a:lnTo>
                    <a:pt x="0" y="19"/>
                  </a:lnTo>
                  <a:lnTo>
                    <a:pt x="9" y="19"/>
                  </a:lnTo>
                  <a:lnTo>
                    <a:pt x="19" y="9"/>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70" name="Freeform 351">
              <a:extLst>
                <a:ext uri="{FF2B5EF4-FFF2-40B4-BE49-F238E27FC236}">
                  <a16:creationId xmlns:a16="http://schemas.microsoft.com/office/drawing/2014/main" id="{F9ECDDE4-BE3B-42F4-8DB7-B6E7DDBCCAB4}"/>
                </a:ext>
              </a:extLst>
            </p:cNvPr>
            <p:cNvSpPr>
              <a:spLocks/>
            </p:cNvSpPr>
            <p:nvPr/>
          </p:nvSpPr>
          <p:spPr bwMode="gray">
            <a:xfrm>
              <a:off x="1464" y="1765"/>
              <a:ext cx="19" cy="19"/>
            </a:xfrm>
            <a:custGeom>
              <a:avLst/>
              <a:gdLst>
                <a:gd name="T0" fmla="*/ 19 w 19"/>
                <a:gd name="T1" fmla="*/ 0 h 19"/>
                <a:gd name="T2" fmla="*/ 9 w 19"/>
                <a:gd name="T3" fmla="*/ 0 h 19"/>
                <a:gd name="T4" fmla="*/ 0 w 19"/>
                <a:gd name="T5" fmla="*/ 9 h 19"/>
                <a:gd name="T6" fmla="*/ 0 w 19"/>
                <a:gd name="T7" fmla="*/ 19 h 19"/>
                <a:gd name="T8" fmla="*/ 9 w 19"/>
                <a:gd name="T9" fmla="*/ 19 h 19"/>
                <a:gd name="T10" fmla="*/ 19 w 19"/>
                <a:gd name="T11" fmla="*/ 9 h 19"/>
                <a:gd name="T12" fmla="*/ 19 w 19"/>
                <a:gd name="T13" fmla="*/ 0 h 19"/>
                <a:gd name="T14" fmla="*/ 0 60000 65536"/>
                <a:gd name="T15" fmla="*/ 0 60000 65536"/>
                <a:gd name="T16" fmla="*/ 0 60000 65536"/>
                <a:gd name="T17" fmla="*/ 0 60000 65536"/>
                <a:gd name="T18" fmla="*/ 0 60000 65536"/>
                <a:gd name="T19" fmla="*/ 0 60000 65536"/>
                <a:gd name="T20" fmla="*/ 0 60000 65536"/>
                <a:gd name="T21" fmla="*/ 0 w 19"/>
                <a:gd name="T22" fmla="*/ 0 h 19"/>
                <a:gd name="T23" fmla="*/ 19 w 1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9">
                  <a:moveTo>
                    <a:pt x="19" y="0"/>
                  </a:moveTo>
                  <a:lnTo>
                    <a:pt x="9" y="0"/>
                  </a:lnTo>
                  <a:lnTo>
                    <a:pt x="0" y="9"/>
                  </a:lnTo>
                  <a:lnTo>
                    <a:pt x="0" y="19"/>
                  </a:lnTo>
                  <a:lnTo>
                    <a:pt x="9" y="19"/>
                  </a:lnTo>
                  <a:lnTo>
                    <a:pt x="19" y="9"/>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71" name="Freeform 352">
              <a:extLst>
                <a:ext uri="{FF2B5EF4-FFF2-40B4-BE49-F238E27FC236}">
                  <a16:creationId xmlns:a16="http://schemas.microsoft.com/office/drawing/2014/main" id="{79E55604-91C1-4189-BAFD-E8F96DEA523E}"/>
                </a:ext>
              </a:extLst>
            </p:cNvPr>
            <p:cNvSpPr>
              <a:spLocks/>
            </p:cNvSpPr>
            <p:nvPr/>
          </p:nvSpPr>
          <p:spPr bwMode="gray">
            <a:xfrm>
              <a:off x="1512" y="1784"/>
              <a:ext cx="19" cy="29"/>
            </a:xfrm>
            <a:custGeom>
              <a:avLst/>
              <a:gdLst>
                <a:gd name="T0" fmla="*/ 9 w 19"/>
                <a:gd name="T1" fmla="*/ 0 h 29"/>
                <a:gd name="T2" fmla="*/ 9 w 19"/>
                <a:gd name="T3" fmla="*/ 0 h 29"/>
                <a:gd name="T4" fmla="*/ 0 w 19"/>
                <a:gd name="T5" fmla="*/ 10 h 29"/>
                <a:gd name="T6" fmla="*/ 0 w 19"/>
                <a:gd name="T7" fmla="*/ 19 h 29"/>
                <a:gd name="T8" fmla="*/ 9 w 19"/>
                <a:gd name="T9" fmla="*/ 29 h 29"/>
                <a:gd name="T10" fmla="*/ 9 w 19"/>
                <a:gd name="T11" fmla="*/ 19 h 29"/>
                <a:gd name="T12" fmla="*/ 19 w 19"/>
                <a:gd name="T13" fmla="*/ 10 h 29"/>
                <a:gd name="T14" fmla="*/ 9 w 19"/>
                <a:gd name="T15" fmla="*/ 0 h 29"/>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29"/>
                <a:gd name="T26" fmla="*/ 19 w 19"/>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29">
                  <a:moveTo>
                    <a:pt x="9" y="0"/>
                  </a:moveTo>
                  <a:lnTo>
                    <a:pt x="9" y="0"/>
                  </a:lnTo>
                  <a:lnTo>
                    <a:pt x="0" y="10"/>
                  </a:lnTo>
                  <a:lnTo>
                    <a:pt x="0" y="19"/>
                  </a:lnTo>
                  <a:lnTo>
                    <a:pt x="9" y="29"/>
                  </a:lnTo>
                  <a:lnTo>
                    <a:pt x="9" y="19"/>
                  </a:lnTo>
                  <a:lnTo>
                    <a:pt x="19" y="10"/>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72" name="Freeform 353">
              <a:extLst>
                <a:ext uri="{FF2B5EF4-FFF2-40B4-BE49-F238E27FC236}">
                  <a16:creationId xmlns:a16="http://schemas.microsoft.com/office/drawing/2014/main" id="{8102B672-1447-4083-B113-C2502FCDF724}"/>
                </a:ext>
              </a:extLst>
            </p:cNvPr>
            <p:cNvSpPr>
              <a:spLocks/>
            </p:cNvSpPr>
            <p:nvPr/>
          </p:nvSpPr>
          <p:spPr bwMode="gray">
            <a:xfrm>
              <a:off x="1512" y="1784"/>
              <a:ext cx="19" cy="29"/>
            </a:xfrm>
            <a:custGeom>
              <a:avLst/>
              <a:gdLst>
                <a:gd name="T0" fmla="*/ 9 w 19"/>
                <a:gd name="T1" fmla="*/ 0 h 29"/>
                <a:gd name="T2" fmla="*/ 9 w 19"/>
                <a:gd name="T3" fmla="*/ 0 h 29"/>
                <a:gd name="T4" fmla="*/ 0 w 19"/>
                <a:gd name="T5" fmla="*/ 10 h 29"/>
                <a:gd name="T6" fmla="*/ 0 w 19"/>
                <a:gd name="T7" fmla="*/ 19 h 29"/>
                <a:gd name="T8" fmla="*/ 9 w 19"/>
                <a:gd name="T9" fmla="*/ 29 h 29"/>
                <a:gd name="T10" fmla="*/ 9 w 19"/>
                <a:gd name="T11" fmla="*/ 19 h 29"/>
                <a:gd name="T12" fmla="*/ 19 w 19"/>
                <a:gd name="T13" fmla="*/ 10 h 29"/>
                <a:gd name="T14" fmla="*/ 9 w 19"/>
                <a:gd name="T15" fmla="*/ 0 h 29"/>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29"/>
                <a:gd name="T26" fmla="*/ 19 w 19"/>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29">
                  <a:moveTo>
                    <a:pt x="9" y="0"/>
                  </a:moveTo>
                  <a:lnTo>
                    <a:pt x="9" y="0"/>
                  </a:lnTo>
                  <a:lnTo>
                    <a:pt x="0" y="10"/>
                  </a:lnTo>
                  <a:lnTo>
                    <a:pt x="0" y="19"/>
                  </a:lnTo>
                  <a:lnTo>
                    <a:pt x="9" y="29"/>
                  </a:lnTo>
                  <a:lnTo>
                    <a:pt x="9" y="19"/>
                  </a:lnTo>
                  <a:lnTo>
                    <a:pt x="19" y="10"/>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73" name="Freeform 354">
              <a:extLst>
                <a:ext uri="{FF2B5EF4-FFF2-40B4-BE49-F238E27FC236}">
                  <a16:creationId xmlns:a16="http://schemas.microsoft.com/office/drawing/2014/main" id="{3FA5AE6A-A0C5-4A6C-8BC2-AA94FEE86227}"/>
                </a:ext>
              </a:extLst>
            </p:cNvPr>
            <p:cNvSpPr>
              <a:spLocks/>
            </p:cNvSpPr>
            <p:nvPr/>
          </p:nvSpPr>
          <p:spPr bwMode="gray">
            <a:xfrm>
              <a:off x="1540" y="1755"/>
              <a:ext cx="10" cy="10"/>
            </a:xfrm>
            <a:custGeom>
              <a:avLst/>
              <a:gdLst>
                <a:gd name="T0" fmla="*/ 0 w 10"/>
                <a:gd name="T1" fmla="*/ 0 h 10"/>
                <a:gd name="T2" fmla="*/ 0 w 10"/>
                <a:gd name="T3" fmla="*/ 0 h 10"/>
                <a:gd name="T4" fmla="*/ 10 w 10"/>
                <a:gd name="T5" fmla="*/ 10 h 10"/>
                <a:gd name="T6" fmla="*/ 0 w 10"/>
                <a:gd name="T7" fmla="*/ 10 h 10"/>
                <a:gd name="T8" fmla="*/ 0 w 10"/>
                <a:gd name="T9" fmla="*/ 10 h 10"/>
                <a:gd name="T10" fmla="*/ 0 w 10"/>
                <a:gd name="T11" fmla="*/ 0 h 10"/>
                <a:gd name="T12" fmla="*/ 0 60000 65536"/>
                <a:gd name="T13" fmla="*/ 0 60000 65536"/>
                <a:gd name="T14" fmla="*/ 0 60000 65536"/>
                <a:gd name="T15" fmla="*/ 0 60000 65536"/>
                <a:gd name="T16" fmla="*/ 0 60000 65536"/>
                <a:gd name="T17" fmla="*/ 0 60000 65536"/>
                <a:gd name="T18" fmla="*/ 0 w 10"/>
                <a:gd name="T19" fmla="*/ 0 h 10"/>
                <a:gd name="T20" fmla="*/ 10 w 10"/>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0" h="10">
                  <a:moveTo>
                    <a:pt x="0" y="0"/>
                  </a:moveTo>
                  <a:lnTo>
                    <a:pt x="0" y="0"/>
                  </a:lnTo>
                  <a:lnTo>
                    <a:pt x="10" y="10"/>
                  </a:lnTo>
                  <a:lnTo>
                    <a:pt x="0"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74" name="Freeform 355">
              <a:extLst>
                <a:ext uri="{FF2B5EF4-FFF2-40B4-BE49-F238E27FC236}">
                  <a16:creationId xmlns:a16="http://schemas.microsoft.com/office/drawing/2014/main" id="{08E8653B-88CD-432B-9826-31FB501D4BC1}"/>
                </a:ext>
              </a:extLst>
            </p:cNvPr>
            <p:cNvSpPr>
              <a:spLocks/>
            </p:cNvSpPr>
            <p:nvPr/>
          </p:nvSpPr>
          <p:spPr bwMode="gray">
            <a:xfrm>
              <a:off x="1540" y="1755"/>
              <a:ext cx="10" cy="10"/>
            </a:xfrm>
            <a:custGeom>
              <a:avLst/>
              <a:gdLst>
                <a:gd name="T0" fmla="*/ 0 w 10"/>
                <a:gd name="T1" fmla="*/ 0 h 10"/>
                <a:gd name="T2" fmla="*/ 0 w 10"/>
                <a:gd name="T3" fmla="*/ 0 h 10"/>
                <a:gd name="T4" fmla="*/ 10 w 10"/>
                <a:gd name="T5" fmla="*/ 10 h 10"/>
                <a:gd name="T6" fmla="*/ 0 w 10"/>
                <a:gd name="T7" fmla="*/ 10 h 10"/>
                <a:gd name="T8" fmla="*/ 0 w 10"/>
                <a:gd name="T9" fmla="*/ 10 h 10"/>
                <a:gd name="T10" fmla="*/ 0 w 10"/>
                <a:gd name="T11" fmla="*/ 0 h 10"/>
                <a:gd name="T12" fmla="*/ 0 60000 65536"/>
                <a:gd name="T13" fmla="*/ 0 60000 65536"/>
                <a:gd name="T14" fmla="*/ 0 60000 65536"/>
                <a:gd name="T15" fmla="*/ 0 60000 65536"/>
                <a:gd name="T16" fmla="*/ 0 60000 65536"/>
                <a:gd name="T17" fmla="*/ 0 60000 65536"/>
                <a:gd name="T18" fmla="*/ 0 w 10"/>
                <a:gd name="T19" fmla="*/ 0 h 10"/>
                <a:gd name="T20" fmla="*/ 10 w 10"/>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0" h="10">
                  <a:moveTo>
                    <a:pt x="0" y="0"/>
                  </a:moveTo>
                  <a:lnTo>
                    <a:pt x="0" y="0"/>
                  </a:lnTo>
                  <a:lnTo>
                    <a:pt x="10" y="10"/>
                  </a:lnTo>
                  <a:lnTo>
                    <a:pt x="0"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75" name="Freeform 356">
              <a:extLst>
                <a:ext uri="{FF2B5EF4-FFF2-40B4-BE49-F238E27FC236}">
                  <a16:creationId xmlns:a16="http://schemas.microsoft.com/office/drawing/2014/main" id="{813B3485-A33A-4216-87C8-385271486640}"/>
                </a:ext>
              </a:extLst>
            </p:cNvPr>
            <p:cNvSpPr>
              <a:spLocks/>
            </p:cNvSpPr>
            <p:nvPr/>
          </p:nvSpPr>
          <p:spPr bwMode="gray">
            <a:xfrm>
              <a:off x="952" y="1383"/>
              <a:ext cx="105" cy="38"/>
            </a:xfrm>
            <a:custGeom>
              <a:avLst/>
              <a:gdLst>
                <a:gd name="T0" fmla="*/ 20 w 105"/>
                <a:gd name="T1" fmla="*/ 38 h 38"/>
                <a:gd name="T2" fmla="*/ 10 w 105"/>
                <a:gd name="T3" fmla="*/ 38 h 38"/>
                <a:gd name="T4" fmla="*/ 10 w 105"/>
                <a:gd name="T5" fmla="*/ 38 h 38"/>
                <a:gd name="T6" fmla="*/ 0 w 105"/>
                <a:gd name="T7" fmla="*/ 38 h 38"/>
                <a:gd name="T8" fmla="*/ 0 w 105"/>
                <a:gd name="T9" fmla="*/ 29 h 38"/>
                <a:gd name="T10" fmla="*/ 0 w 105"/>
                <a:gd name="T11" fmla="*/ 29 h 38"/>
                <a:gd name="T12" fmla="*/ 0 w 105"/>
                <a:gd name="T13" fmla="*/ 29 h 38"/>
                <a:gd name="T14" fmla="*/ 10 w 105"/>
                <a:gd name="T15" fmla="*/ 29 h 38"/>
                <a:gd name="T16" fmla="*/ 20 w 105"/>
                <a:gd name="T17" fmla="*/ 29 h 38"/>
                <a:gd name="T18" fmla="*/ 20 w 105"/>
                <a:gd name="T19" fmla="*/ 19 h 38"/>
                <a:gd name="T20" fmla="*/ 29 w 105"/>
                <a:gd name="T21" fmla="*/ 19 h 38"/>
                <a:gd name="T22" fmla="*/ 29 w 105"/>
                <a:gd name="T23" fmla="*/ 19 h 38"/>
                <a:gd name="T24" fmla="*/ 48 w 105"/>
                <a:gd name="T25" fmla="*/ 10 h 38"/>
                <a:gd name="T26" fmla="*/ 48 w 105"/>
                <a:gd name="T27" fmla="*/ 10 h 38"/>
                <a:gd name="T28" fmla="*/ 58 w 105"/>
                <a:gd name="T29" fmla="*/ 0 h 38"/>
                <a:gd name="T30" fmla="*/ 77 w 105"/>
                <a:gd name="T31" fmla="*/ 0 h 38"/>
                <a:gd name="T32" fmla="*/ 77 w 105"/>
                <a:gd name="T33" fmla="*/ 0 h 38"/>
                <a:gd name="T34" fmla="*/ 86 w 105"/>
                <a:gd name="T35" fmla="*/ 0 h 38"/>
                <a:gd name="T36" fmla="*/ 86 w 105"/>
                <a:gd name="T37" fmla="*/ 0 h 38"/>
                <a:gd name="T38" fmla="*/ 86 w 105"/>
                <a:gd name="T39" fmla="*/ 0 h 38"/>
                <a:gd name="T40" fmla="*/ 86 w 105"/>
                <a:gd name="T41" fmla="*/ 0 h 38"/>
                <a:gd name="T42" fmla="*/ 96 w 105"/>
                <a:gd name="T43" fmla="*/ 0 h 38"/>
                <a:gd name="T44" fmla="*/ 105 w 105"/>
                <a:gd name="T45" fmla="*/ 0 h 38"/>
                <a:gd name="T46" fmla="*/ 105 w 105"/>
                <a:gd name="T47" fmla="*/ 0 h 38"/>
                <a:gd name="T48" fmla="*/ 96 w 105"/>
                <a:gd name="T49" fmla="*/ 0 h 38"/>
                <a:gd name="T50" fmla="*/ 96 w 105"/>
                <a:gd name="T51" fmla="*/ 10 h 38"/>
                <a:gd name="T52" fmla="*/ 105 w 105"/>
                <a:gd name="T53" fmla="*/ 10 h 38"/>
                <a:gd name="T54" fmla="*/ 96 w 105"/>
                <a:gd name="T55" fmla="*/ 10 h 38"/>
                <a:gd name="T56" fmla="*/ 96 w 105"/>
                <a:gd name="T57" fmla="*/ 19 h 38"/>
                <a:gd name="T58" fmla="*/ 86 w 105"/>
                <a:gd name="T59" fmla="*/ 19 h 38"/>
                <a:gd name="T60" fmla="*/ 86 w 105"/>
                <a:gd name="T61" fmla="*/ 29 h 38"/>
                <a:gd name="T62" fmla="*/ 67 w 105"/>
                <a:gd name="T63" fmla="*/ 29 h 38"/>
                <a:gd name="T64" fmla="*/ 77 w 105"/>
                <a:gd name="T65" fmla="*/ 19 h 38"/>
                <a:gd name="T66" fmla="*/ 67 w 105"/>
                <a:gd name="T67" fmla="*/ 19 h 38"/>
                <a:gd name="T68" fmla="*/ 58 w 105"/>
                <a:gd name="T69" fmla="*/ 29 h 38"/>
                <a:gd name="T70" fmla="*/ 58 w 105"/>
                <a:gd name="T71" fmla="*/ 29 h 38"/>
                <a:gd name="T72" fmla="*/ 48 w 105"/>
                <a:gd name="T73" fmla="*/ 29 h 38"/>
                <a:gd name="T74" fmla="*/ 48 w 105"/>
                <a:gd name="T75" fmla="*/ 29 h 38"/>
                <a:gd name="T76" fmla="*/ 48 w 105"/>
                <a:gd name="T77" fmla="*/ 38 h 38"/>
                <a:gd name="T78" fmla="*/ 39 w 105"/>
                <a:gd name="T79" fmla="*/ 38 h 38"/>
                <a:gd name="T80" fmla="*/ 39 w 105"/>
                <a:gd name="T81" fmla="*/ 38 h 38"/>
                <a:gd name="T82" fmla="*/ 29 w 105"/>
                <a:gd name="T83" fmla="*/ 38 h 38"/>
                <a:gd name="T84" fmla="*/ 29 w 105"/>
                <a:gd name="T85" fmla="*/ 38 h 38"/>
                <a:gd name="T86" fmla="*/ 29 w 105"/>
                <a:gd name="T87" fmla="*/ 38 h 38"/>
                <a:gd name="T88" fmla="*/ 20 w 105"/>
                <a:gd name="T89" fmla="*/ 38 h 3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5"/>
                <a:gd name="T136" fmla="*/ 0 h 38"/>
                <a:gd name="T137" fmla="*/ 105 w 105"/>
                <a:gd name="T138" fmla="*/ 38 h 3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5" h="38">
                  <a:moveTo>
                    <a:pt x="20" y="38"/>
                  </a:moveTo>
                  <a:lnTo>
                    <a:pt x="10" y="38"/>
                  </a:lnTo>
                  <a:lnTo>
                    <a:pt x="0" y="38"/>
                  </a:lnTo>
                  <a:lnTo>
                    <a:pt x="0" y="29"/>
                  </a:lnTo>
                  <a:lnTo>
                    <a:pt x="10" y="29"/>
                  </a:lnTo>
                  <a:lnTo>
                    <a:pt x="20" y="29"/>
                  </a:lnTo>
                  <a:lnTo>
                    <a:pt x="20" y="19"/>
                  </a:lnTo>
                  <a:lnTo>
                    <a:pt x="29" y="19"/>
                  </a:lnTo>
                  <a:lnTo>
                    <a:pt x="48" y="10"/>
                  </a:lnTo>
                  <a:lnTo>
                    <a:pt x="58" y="0"/>
                  </a:lnTo>
                  <a:lnTo>
                    <a:pt x="77" y="0"/>
                  </a:lnTo>
                  <a:lnTo>
                    <a:pt x="86" y="0"/>
                  </a:lnTo>
                  <a:lnTo>
                    <a:pt x="96" y="0"/>
                  </a:lnTo>
                  <a:lnTo>
                    <a:pt x="105" y="0"/>
                  </a:lnTo>
                  <a:lnTo>
                    <a:pt x="96" y="0"/>
                  </a:lnTo>
                  <a:lnTo>
                    <a:pt x="96" y="10"/>
                  </a:lnTo>
                  <a:lnTo>
                    <a:pt x="105" y="10"/>
                  </a:lnTo>
                  <a:lnTo>
                    <a:pt x="96" y="10"/>
                  </a:lnTo>
                  <a:lnTo>
                    <a:pt x="96" y="19"/>
                  </a:lnTo>
                  <a:lnTo>
                    <a:pt x="86" y="19"/>
                  </a:lnTo>
                  <a:lnTo>
                    <a:pt x="86" y="29"/>
                  </a:lnTo>
                  <a:lnTo>
                    <a:pt x="67" y="29"/>
                  </a:lnTo>
                  <a:lnTo>
                    <a:pt x="77" y="19"/>
                  </a:lnTo>
                  <a:lnTo>
                    <a:pt x="67" y="19"/>
                  </a:lnTo>
                  <a:lnTo>
                    <a:pt x="58" y="29"/>
                  </a:lnTo>
                  <a:lnTo>
                    <a:pt x="48" y="29"/>
                  </a:lnTo>
                  <a:lnTo>
                    <a:pt x="48" y="38"/>
                  </a:lnTo>
                  <a:lnTo>
                    <a:pt x="39" y="38"/>
                  </a:lnTo>
                  <a:lnTo>
                    <a:pt x="29" y="38"/>
                  </a:lnTo>
                  <a:lnTo>
                    <a:pt x="20"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76" name="Freeform 357">
              <a:extLst>
                <a:ext uri="{FF2B5EF4-FFF2-40B4-BE49-F238E27FC236}">
                  <a16:creationId xmlns:a16="http://schemas.microsoft.com/office/drawing/2014/main" id="{4EF626C8-F4AD-49D0-BCEB-BE101FA1D9B3}"/>
                </a:ext>
              </a:extLst>
            </p:cNvPr>
            <p:cNvSpPr>
              <a:spLocks/>
            </p:cNvSpPr>
            <p:nvPr/>
          </p:nvSpPr>
          <p:spPr bwMode="gray">
            <a:xfrm>
              <a:off x="952" y="1383"/>
              <a:ext cx="105" cy="38"/>
            </a:xfrm>
            <a:custGeom>
              <a:avLst/>
              <a:gdLst>
                <a:gd name="T0" fmla="*/ 20 w 105"/>
                <a:gd name="T1" fmla="*/ 38 h 38"/>
                <a:gd name="T2" fmla="*/ 10 w 105"/>
                <a:gd name="T3" fmla="*/ 38 h 38"/>
                <a:gd name="T4" fmla="*/ 10 w 105"/>
                <a:gd name="T5" fmla="*/ 38 h 38"/>
                <a:gd name="T6" fmla="*/ 0 w 105"/>
                <a:gd name="T7" fmla="*/ 38 h 38"/>
                <a:gd name="T8" fmla="*/ 0 w 105"/>
                <a:gd name="T9" fmla="*/ 29 h 38"/>
                <a:gd name="T10" fmla="*/ 0 w 105"/>
                <a:gd name="T11" fmla="*/ 29 h 38"/>
                <a:gd name="T12" fmla="*/ 0 w 105"/>
                <a:gd name="T13" fmla="*/ 29 h 38"/>
                <a:gd name="T14" fmla="*/ 10 w 105"/>
                <a:gd name="T15" fmla="*/ 29 h 38"/>
                <a:gd name="T16" fmla="*/ 20 w 105"/>
                <a:gd name="T17" fmla="*/ 29 h 38"/>
                <a:gd name="T18" fmla="*/ 20 w 105"/>
                <a:gd name="T19" fmla="*/ 19 h 38"/>
                <a:gd name="T20" fmla="*/ 29 w 105"/>
                <a:gd name="T21" fmla="*/ 19 h 38"/>
                <a:gd name="T22" fmla="*/ 29 w 105"/>
                <a:gd name="T23" fmla="*/ 19 h 38"/>
                <a:gd name="T24" fmla="*/ 48 w 105"/>
                <a:gd name="T25" fmla="*/ 10 h 38"/>
                <a:gd name="T26" fmla="*/ 48 w 105"/>
                <a:gd name="T27" fmla="*/ 10 h 38"/>
                <a:gd name="T28" fmla="*/ 58 w 105"/>
                <a:gd name="T29" fmla="*/ 0 h 38"/>
                <a:gd name="T30" fmla="*/ 77 w 105"/>
                <a:gd name="T31" fmla="*/ 0 h 38"/>
                <a:gd name="T32" fmla="*/ 77 w 105"/>
                <a:gd name="T33" fmla="*/ 0 h 38"/>
                <a:gd name="T34" fmla="*/ 86 w 105"/>
                <a:gd name="T35" fmla="*/ 0 h 38"/>
                <a:gd name="T36" fmla="*/ 86 w 105"/>
                <a:gd name="T37" fmla="*/ 0 h 38"/>
                <a:gd name="T38" fmla="*/ 86 w 105"/>
                <a:gd name="T39" fmla="*/ 0 h 38"/>
                <a:gd name="T40" fmla="*/ 86 w 105"/>
                <a:gd name="T41" fmla="*/ 0 h 38"/>
                <a:gd name="T42" fmla="*/ 96 w 105"/>
                <a:gd name="T43" fmla="*/ 0 h 38"/>
                <a:gd name="T44" fmla="*/ 105 w 105"/>
                <a:gd name="T45" fmla="*/ 0 h 38"/>
                <a:gd name="T46" fmla="*/ 105 w 105"/>
                <a:gd name="T47" fmla="*/ 0 h 38"/>
                <a:gd name="T48" fmla="*/ 96 w 105"/>
                <a:gd name="T49" fmla="*/ 0 h 38"/>
                <a:gd name="T50" fmla="*/ 96 w 105"/>
                <a:gd name="T51" fmla="*/ 10 h 38"/>
                <a:gd name="T52" fmla="*/ 105 w 105"/>
                <a:gd name="T53" fmla="*/ 10 h 38"/>
                <a:gd name="T54" fmla="*/ 96 w 105"/>
                <a:gd name="T55" fmla="*/ 10 h 38"/>
                <a:gd name="T56" fmla="*/ 96 w 105"/>
                <a:gd name="T57" fmla="*/ 19 h 38"/>
                <a:gd name="T58" fmla="*/ 86 w 105"/>
                <a:gd name="T59" fmla="*/ 19 h 38"/>
                <a:gd name="T60" fmla="*/ 86 w 105"/>
                <a:gd name="T61" fmla="*/ 29 h 38"/>
                <a:gd name="T62" fmla="*/ 67 w 105"/>
                <a:gd name="T63" fmla="*/ 29 h 38"/>
                <a:gd name="T64" fmla="*/ 77 w 105"/>
                <a:gd name="T65" fmla="*/ 19 h 38"/>
                <a:gd name="T66" fmla="*/ 67 w 105"/>
                <a:gd name="T67" fmla="*/ 19 h 38"/>
                <a:gd name="T68" fmla="*/ 58 w 105"/>
                <a:gd name="T69" fmla="*/ 29 h 38"/>
                <a:gd name="T70" fmla="*/ 58 w 105"/>
                <a:gd name="T71" fmla="*/ 29 h 38"/>
                <a:gd name="T72" fmla="*/ 48 w 105"/>
                <a:gd name="T73" fmla="*/ 29 h 38"/>
                <a:gd name="T74" fmla="*/ 48 w 105"/>
                <a:gd name="T75" fmla="*/ 29 h 38"/>
                <a:gd name="T76" fmla="*/ 48 w 105"/>
                <a:gd name="T77" fmla="*/ 38 h 38"/>
                <a:gd name="T78" fmla="*/ 39 w 105"/>
                <a:gd name="T79" fmla="*/ 38 h 38"/>
                <a:gd name="T80" fmla="*/ 39 w 105"/>
                <a:gd name="T81" fmla="*/ 38 h 38"/>
                <a:gd name="T82" fmla="*/ 29 w 105"/>
                <a:gd name="T83" fmla="*/ 38 h 38"/>
                <a:gd name="T84" fmla="*/ 29 w 105"/>
                <a:gd name="T85" fmla="*/ 38 h 38"/>
                <a:gd name="T86" fmla="*/ 29 w 105"/>
                <a:gd name="T87" fmla="*/ 38 h 38"/>
                <a:gd name="T88" fmla="*/ 20 w 105"/>
                <a:gd name="T89" fmla="*/ 38 h 3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5"/>
                <a:gd name="T136" fmla="*/ 0 h 38"/>
                <a:gd name="T137" fmla="*/ 105 w 105"/>
                <a:gd name="T138" fmla="*/ 38 h 3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5" h="38">
                  <a:moveTo>
                    <a:pt x="20" y="38"/>
                  </a:moveTo>
                  <a:lnTo>
                    <a:pt x="10" y="38"/>
                  </a:lnTo>
                  <a:lnTo>
                    <a:pt x="0" y="38"/>
                  </a:lnTo>
                  <a:lnTo>
                    <a:pt x="0" y="29"/>
                  </a:lnTo>
                  <a:lnTo>
                    <a:pt x="10" y="29"/>
                  </a:lnTo>
                  <a:lnTo>
                    <a:pt x="20" y="29"/>
                  </a:lnTo>
                  <a:lnTo>
                    <a:pt x="20" y="19"/>
                  </a:lnTo>
                  <a:lnTo>
                    <a:pt x="29" y="19"/>
                  </a:lnTo>
                  <a:lnTo>
                    <a:pt x="48" y="10"/>
                  </a:lnTo>
                  <a:lnTo>
                    <a:pt x="58" y="0"/>
                  </a:lnTo>
                  <a:lnTo>
                    <a:pt x="77" y="0"/>
                  </a:lnTo>
                  <a:lnTo>
                    <a:pt x="86" y="0"/>
                  </a:lnTo>
                  <a:lnTo>
                    <a:pt x="96" y="0"/>
                  </a:lnTo>
                  <a:lnTo>
                    <a:pt x="105" y="0"/>
                  </a:lnTo>
                  <a:lnTo>
                    <a:pt x="96" y="0"/>
                  </a:lnTo>
                  <a:lnTo>
                    <a:pt x="96" y="10"/>
                  </a:lnTo>
                  <a:lnTo>
                    <a:pt x="105" y="10"/>
                  </a:lnTo>
                  <a:lnTo>
                    <a:pt x="96" y="10"/>
                  </a:lnTo>
                  <a:lnTo>
                    <a:pt x="96" y="19"/>
                  </a:lnTo>
                  <a:lnTo>
                    <a:pt x="86" y="19"/>
                  </a:lnTo>
                  <a:lnTo>
                    <a:pt x="86" y="29"/>
                  </a:lnTo>
                  <a:lnTo>
                    <a:pt x="67" y="29"/>
                  </a:lnTo>
                  <a:lnTo>
                    <a:pt x="77" y="19"/>
                  </a:lnTo>
                  <a:lnTo>
                    <a:pt x="67" y="19"/>
                  </a:lnTo>
                  <a:lnTo>
                    <a:pt x="58" y="29"/>
                  </a:lnTo>
                  <a:lnTo>
                    <a:pt x="48" y="29"/>
                  </a:lnTo>
                  <a:lnTo>
                    <a:pt x="48" y="38"/>
                  </a:lnTo>
                  <a:lnTo>
                    <a:pt x="39" y="38"/>
                  </a:lnTo>
                  <a:lnTo>
                    <a:pt x="29" y="38"/>
                  </a:lnTo>
                  <a:lnTo>
                    <a:pt x="20"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77" name="Freeform 358">
              <a:extLst>
                <a:ext uri="{FF2B5EF4-FFF2-40B4-BE49-F238E27FC236}">
                  <a16:creationId xmlns:a16="http://schemas.microsoft.com/office/drawing/2014/main" id="{433FB531-0D2C-40C5-B787-77A89C3E816A}"/>
                </a:ext>
              </a:extLst>
            </p:cNvPr>
            <p:cNvSpPr>
              <a:spLocks/>
            </p:cNvSpPr>
            <p:nvPr/>
          </p:nvSpPr>
          <p:spPr bwMode="gray">
            <a:xfrm>
              <a:off x="1095" y="1345"/>
              <a:ext cx="48" cy="19"/>
            </a:xfrm>
            <a:custGeom>
              <a:avLst/>
              <a:gdLst>
                <a:gd name="T0" fmla="*/ 39 w 48"/>
                <a:gd name="T1" fmla="*/ 0 h 19"/>
                <a:gd name="T2" fmla="*/ 48 w 48"/>
                <a:gd name="T3" fmla="*/ 10 h 19"/>
                <a:gd name="T4" fmla="*/ 48 w 48"/>
                <a:gd name="T5" fmla="*/ 10 h 19"/>
                <a:gd name="T6" fmla="*/ 48 w 48"/>
                <a:gd name="T7" fmla="*/ 10 h 19"/>
                <a:gd name="T8" fmla="*/ 39 w 48"/>
                <a:gd name="T9" fmla="*/ 19 h 19"/>
                <a:gd name="T10" fmla="*/ 29 w 48"/>
                <a:gd name="T11" fmla="*/ 10 h 19"/>
                <a:gd name="T12" fmla="*/ 29 w 48"/>
                <a:gd name="T13" fmla="*/ 10 h 19"/>
                <a:gd name="T14" fmla="*/ 20 w 48"/>
                <a:gd name="T15" fmla="*/ 10 h 19"/>
                <a:gd name="T16" fmla="*/ 10 w 48"/>
                <a:gd name="T17" fmla="*/ 10 h 19"/>
                <a:gd name="T18" fmla="*/ 0 w 48"/>
                <a:gd name="T19" fmla="*/ 10 h 19"/>
                <a:gd name="T20" fmla="*/ 0 w 48"/>
                <a:gd name="T21" fmla="*/ 10 h 19"/>
                <a:gd name="T22" fmla="*/ 0 w 48"/>
                <a:gd name="T23" fmla="*/ 10 h 19"/>
                <a:gd name="T24" fmla="*/ 0 w 48"/>
                <a:gd name="T25" fmla="*/ 10 h 19"/>
                <a:gd name="T26" fmla="*/ 20 w 48"/>
                <a:gd name="T27" fmla="*/ 10 h 19"/>
                <a:gd name="T28" fmla="*/ 29 w 48"/>
                <a:gd name="T29" fmla="*/ 0 h 19"/>
                <a:gd name="T30" fmla="*/ 39 w 48"/>
                <a:gd name="T31" fmla="*/ 0 h 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19"/>
                <a:gd name="T50" fmla="*/ 48 w 48"/>
                <a:gd name="T51" fmla="*/ 19 h 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19">
                  <a:moveTo>
                    <a:pt x="39" y="0"/>
                  </a:moveTo>
                  <a:lnTo>
                    <a:pt x="48" y="10"/>
                  </a:lnTo>
                  <a:lnTo>
                    <a:pt x="39" y="19"/>
                  </a:lnTo>
                  <a:lnTo>
                    <a:pt x="29" y="10"/>
                  </a:lnTo>
                  <a:lnTo>
                    <a:pt x="20" y="10"/>
                  </a:lnTo>
                  <a:lnTo>
                    <a:pt x="10" y="10"/>
                  </a:lnTo>
                  <a:lnTo>
                    <a:pt x="0" y="10"/>
                  </a:lnTo>
                  <a:lnTo>
                    <a:pt x="20" y="10"/>
                  </a:lnTo>
                  <a:lnTo>
                    <a:pt x="29" y="0"/>
                  </a:lnTo>
                  <a:lnTo>
                    <a:pt x="3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78" name="Freeform 359">
              <a:extLst>
                <a:ext uri="{FF2B5EF4-FFF2-40B4-BE49-F238E27FC236}">
                  <a16:creationId xmlns:a16="http://schemas.microsoft.com/office/drawing/2014/main" id="{E45B84B3-4757-48BD-8EE9-98EA998DC81B}"/>
                </a:ext>
              </a:extLst>
            </p:cNvPr>
            <p:cNvSpPr>
              <a:spLocks/>
            </p:cNvSpPr>
            <p:nvPr/>
          </p:nvSpPr>
          <p:spPr bwMode="gray">
            <a:xfrm>
              <a:off x="1095" y="1345"/>
              <a:ext cx="48" cy="19"/>
            </a:xfrm>
            <a:custGeom>
              <a:avLst/>
              <a:gdLst>
                <a:gd name="T0" fmla="*/ 39 w 48"/>
                <a:gd name="T1" fmla="*/ 0 h 19"/>
                <a:gd name="T2" fmla="*/ 48 w 48"/>
                <a:gd name="T3" fmla="*/ 10 h 19"/>
                <a:gd name="T4" fmla="*/ 48 w 48"/>
                <a:gd name="T5" fmla="*/ 10 h 19"/>
                <a:gd name="T6" fmla="*/ 48 w 48"/>
                <a:gd name="T7" fmla="*/ 10 h 19"/>
                <a:gd name="T8" fmla="*/ 39 w 48"/>
                <a:gd name="T9" fmla="*/ 19 h 19"/>
                <a:gd name="T10" fmla="*/ 29 w 48"/>
                <a:gd name="T11" fmla="*/ 10 h 19"/>
                <a:gd name="T12" fmla="*/ 29 w 48"/>
                <a:gd name="T13" fmla="*/ 10 h 19"/>
                <a:gd name="T14" fmla="*/ 20 w 48"/>
                <a:gd name="T15" fmla="*/ 10 h 19"/>
                <a:gd name="T16" fmla="*/ 10 w 48"/>
                <a:gd name="T17" fmla="*/ 10 h 19"/>
                <a:gd name="T18" fmla="*/ 0 w 48"/>
                <a:gd name="T19" fmla="*/ 10 h 19"/>
                <a:gd name="T20" fmla="*/ 0 w 48"/>
                <a:gd name="T21" fmla="*/ 10 h 19"/>
                <a:gd name="T22" fmla="*/ 0 w 48"/>
                <a:gd name="T23" fmla="*/ 10 h 19"/>
                <a:gd name="T24" fmla="*/ 0 w 48"/>
                <a:gd name="T25" fmla="*/ 10 h 19"/>
                <a:gd name="T26" fmla="*/ 20 w 48"/>
                <a:gd name="T27" fmla="*/ 10 h 19"/>
                <a:gd name="T28" fmla="*/ 29 w 48"/>
                <a:gd name="T29" fmla="*/ 0 h 19"/>
                <a:gd name="T30" fmla="*/ 39 w 48"/>
                <a:gd name="T31" fmla="*/ 0 h 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19"/>
                <a:gd name="T50" fmla="*/ 48 w 48"/>
                <a:gd name="T51" fmla="*/ 19 h 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19">
                  <a:moveTo>
                    <a:pt x="39" y="0"/>
                  </a:moveTo>
                  <a:lnTo>
                    <a:pt x="48" y="10"/>
                  </a:lnTo>
                  <a:lnTo>
                    <a:pt x="39" y="19"/>
                  </a:lnTo>
                  <a:lnTo>
                    <a:pt x="29" y="10"/>
                  </a:lnTo>
                  <a:lnTo>
                    <a:pt x="20" y="10"/>
                  </a:lnTo>
                  <a:lnTo>
                    <a:pt x="10" y="10"/>
                  </a:lnTo>
                  <a:lnTo>
                    <a:pt x="0" y="10"/>
                  </a:lnTo>
                  <a:lnTo>
                    <a:pt x="20" y="10"/>
                  </a:lnTo>
                  <a:lnTo>
                    <a:pt x="29" y="0"/>
                  </a:lnTo>
                  <a:lnTo>
                    <a:pt x="3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79" name="Freeform 360">
              <a:extLst>
                <a:ext uri="{FF2B5EF4-FFF2-40B4-BE49-F238E27FC236}">
                  <a16:creationId xmlns:a16="http://schemas.microsoft.com/office/drawing/2014/main" id="{1DF619B3-7DF4-472A-9CCB-74DDDBAB45E7}"/>
                </a:ext>
              </a:extLst>
            </p:cNvPr>
            <p:cNvSpPr>
              <a:spLocks/>
            </p:cNvSpPr>
            <p:nvPr/>
          </p:nvSpPr>
          <p:spPr bwMode="gray">
            <a:xfrm>
              <a:off x="1200" y="1326"/>
              <a:ext cx="105" cy="48"/>
            </a:xfrm>
            <a:custGeom>
              <a:avLst/>
              <a:gdLst>
                <a:gd name="T0" fmla="*/ 0 w 105"/>
                <a:gd name="T1" fmla="*/ 0 h 48"/>
                <a:gd name="T2" fmla="*/ 19 w 105"/>
                <a:gd name="T3" fmla="*/ 0 h 48"/>
                <a:gd name="T4" fmla="*/ 29 w 105"/>
                <a:gd name="T5" fmla="*/ 0 h 48"/>
                <a:gd name="T6" fmla="*/ 48 w 105"/>
                <a:gd name="T7" fmla="*/ 9 h 48"/>
                <a:gd name="T8" fmla="*/ 48 w 105"/>
                <a:gd name="T9" fmla="*/ 9 h 48"/>
                <a:gd name="T10" fmla="*/ 48 w 105"/>
                <a:gd name="T11" fmla="*/ 9 h 48"/>
                <a:gd name="T12" fmla="*/ 48 w 105"/>
                <a:gd name="T13" fmla="*/ 9 h 48"/>
                <a:gd name="T14" fmla="*/ 67 w 105"/>
                <a:gd name="T15" fmla="*/ 9 h 48"/>
                <a:gd name="T16" fmla="*/ 77 w 105"/>
                <a:gd name="T17" fmla="*/ 9 h 48"/>
                <a:gd name="T18" fmla="*/ 67 w 105"/>
                <a:gd name="T19" fmla="*/ 19 h 48"/>
                <a:gd name="T20" fmla="*/ 86 w 105"/>
                <a:gd name="T21" fmla="*/ 19 h 48"/>
                <a:gd name="T22" fmla="*/ 86 w 105"/>
                <a:gd name="T23" fmla="*/ 29 h 48"/>
                <a:gd name="T24" fmla="*/ 105 w 105"/>
                <a:gd name="T25" fmla="*/ 38 h 48"/>
                <a:gd name="T26" fmla="*/ 96 w 105"/>
                <a:gd name="T27" fmla="*/ 48 h 48"/>
                <a:gd name="T28" fmla="*/ 86 w 105"/>
                <a:gd name="T29" fmla="*/ 48 h 48"/>
                <a:gd name="T30" fmla="*/ 77 w 105"/>
                <a:gd name="T31" fmla="*/ 38 h 48"/>
                <a:gd name="T32" fmla="*/ 77 w 105"/>
                <a:gd name="T33" fmla="*/ 38 h 48"/>
                <a:gd name="T34" fmla="*/ 67 w 105"/>
                <a:gd name="T35" fmla="*/ 38 h 48"/>
                <a:gd name="T36" fmla="*/ 58 w 105"/>
                <a:gd name="T37" fmla="*/ 29 h 48"/>
                <a:gd name="T38" fmla="*/ 48 w 105"/>
                <a:gd name="T39" fmla="*/ 29 h 48"/>
                <a:gd name="T40" fmla="*/ 38 w 105"/>
                <a:gd name="T41" fmla="*/ 29 h 48"/>
                <a:gd name="T42" fmla="*/ 19 w 105"/>
                <a:gd name="T43" fmla="*/ 29 h 48"/>
                <a:gd name="T44" fmla="*/ 19 w 105"/>
                <a:gd name="T45" fmla="*/ 29 h 48"/>
                <a:gd name="T46" fmla="*/ 19 w 105"/>
                <a:gd name="T47" fmla="*/ 19 h 48"/>
                <a:gd name="T48" fmla="*/ 38 w 105"/>
                <a:gd name="T49" fmla="*/ 29 h 48"/>
                <a:gd name="T50" fmla="*/ 29 w 105"/>
                <a:gd name="T51" fmla="*/ 19 h 48"/>
                <a:gd name="T52" fmla="*/ 29 w 105"/>
                <a:gd name="T53" fmla="*/ 19 h 48"/>
                <a:gd name="T54" fmla="*/ 29 w 105"/>
                <a:gd name="T55" fmla="*/ 19 h 48"/>
                <a:gd name="T56" fmla="*/ 29 w 105"/>
                <a:gd name="T57" fmla="*/ 9 h 48"/>
                <a:gd name="T58" fmla="*/ 19 w 105"/>
                <a:gd name="T59" fmla="*/ 9 h 48"/>
                <a:gd name="T60" fmla="*/ 19 w 105"/>
                <a:gd name="T61" fmla="*/ 19 h 48"/>
                <a:gd name="T62" fmla="*/ 19 w 105"/>
                <a:gd name="T63" fmla="*/ 19 h 48"/>
                <a:gd name="T64" fmla="*/ 10 w 105"/>
                <a:gd name="T65" fmla="*/ 9 h 48"/>
                <a:gd name="T66" fmla="*/ 0 w 105"/>
                <a:gd name="T67" fmla="*/ 9 h 48"/>
                <a:gd name="T68" fmla="*/ 0 w 105"/>
                <a:gd name="T69" fmla="*/ 0 h 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5"/>
                <a:gd name="T106" fmla="*/ 0 h 48"/>
                <a:gd name="T107" fmla="*/ 105 w 105"/>
                <a:gd name="T108" fmla="*/ 48 h 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5" h="48">
                  <a:moveTo>
                    <a:pt x="0" y="0"/>
                  </a:moveTo>
                  <a:lnTo>
                    <a:pt x="19" y="0"/>
                  </a:lnTo>
                  <a:lnTo>
                    <a:pt x="29" y="0"/>
                  </a:lnTo>
                  <a:lnTo>
                    <a:pt x="48" y="9"/>
                  </a:lnTo>
                  <a:lnTo>
                    <a:pt x="67" y="9"/>
                  </a:lnTo>
                  <a:lnTo>
                    <a:pt x="77" y="9"/>
                  </a:lnTo>
                  <a:lnTo>
                    <a:pt x="67" y="19"/>
                  </a:lnTo>
                  <a:lnTo>
                    <a:pt x="86" y="19"/>
                  </a:lnTo>
                  <a:lnTo>
                    <a:pt x="86" y="29"/>
                  </a:lnTo>
                  <a:lnTo>
                    <a:pt x="105" y="38"/>
                  </a:lnTo>
                  <a:lnTo>
                    <a:pt x="96" y="48"/>
                  </a:lnTo>
                  <a:lnTo>
                    <a:pt x="86" y="48"/>
                  </a:lnTo>
                  <a:lnTo>
                    <a:pt x="77" y="38"/>
                  </a:lnTo>
                  <a:lnTo>
                    <a:pt x="67" y="38"/>
                  </a:lnTo>
                  <a:lnTo>
                    <a:pt x="58" y="29"/>
                  </a:lnTo>
                  <a:lnTo>
                    <a:pt x="48" y="29"/>
                  </a:lnTo>
                  <a:lnTo>
                    <a:pt x="38" y="29"/>
                  </a:lnTo>
                  <a:lnTo>
                    <a:pt x="19" y="29"/>
                  </a:lnTo>
                  <a:lnTo>
                    <a:pt x="19" y="19"/>
                  </a:lnTo>
                  <a:lnTo>
                    <a:pt x="38" y="29"/>
                  </a:lnTo>
                  <a:lnTo>
                    <a:pt x="29" y="19"/>
                  </a:lnTo>
                  <a:lnTo>
                    <a:pt x="29" y="9"/>
                  </a:lnTo>
                  <a:lnTo>
                    <a:pt x="19" y="9"/>
                  </a:lnTo>
                  <a:lnTo>
                    <a:pt x="19" y="19"/>
                  </a:lnTo>
                  <a:lnTo>
                    <a:pt x="10" y="9"/>
                  </a:lnTo>
                  <a:lnTo>
                    <a:pt x="0"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80" name="Freeform 361">
              <a:extLst>
                <a:ext uri="{FF2B5EF4-FFF2-40B4-BE49-F238E27FC236}">
                  <a16:creationId xmlns:a16="http://schemas.microsoft.com/office/drawing/2014/main" id="{6AD423CB-6C0B-4AE8-AF92-12DE017B326B}"/>
                </a:ext>
              </a:extLst>
            </p:cNvPr>
            <p:cNvSpPr>
              <a:spLocks/>
            </p:cNvSpPr>
            <p:nvPr/>
          </p:nvSpPr>
          <p:spPr bwMode="gray">
            <a:xfrm>
              <a:off x="1200" y="1326"/>
              <a:ext cx="105" cy="48"/>
            </a:xfrm>
            <a:custGeom>
              <a:avLst/>
              <a:gdLst>
                <a:gd name="T0" fmla="*/ 0 w 105"/>
                <a:gd name="T1" fmla="*/ 0 h 48"/>
                <a:gd name="T2" fmla="*/ 19 w 105"/>
                <a:gd name="T3" fmla="*/ 0 h 48"/>
                <a:gd name="T4" fmla="*/ 29 w 105"/>
                <a:gd name="T5" fmla="*/ 0 h 48"/>
                <a:gd name="T6" fmla="*/ 48 w 105"/>
                <a:gd name="T7" fmla="*/ 9 h 48"/>
                <a:gd name="T8" fmla="*/ 48 w 105"/>
                <a:gd name="T9" fmla="*/ 9 h 48"/>
                <a:gd name="T10" fmla="*/ 48 w 105"/>
                <a:gd name="T11" fmla="*/ 9 h 48"/>
                <a:gd name="T12" fmla="*/ 48 w 105"/>
                <a:gd name="T13" fmla="*/ 9 h 48"/>
                <a:gd name="T14" fmla="*/ 67 w 105"/>
                <a:gd name="T15" fmla="*/ 9 h 48"/>
                <a:gd name="T16" fmla="*/ 77 w 105"/>
                <a:gd name="T17" fmla="*/ 9 h 48"/>
                <a:gd name="T18" fmla="*/ 67 w 105"/>
                <a:gd name="T19" fmla="*/ 19 h 48"/>
                <a:gd name="T20" fmla="*/ 86 w 105"/>
                <a:gd name="T21" fmla="*/ 19 h 48"/>
                <a:gd name="T22" fmla="*/ 86 w 105"/>
                <a:gd name="T23" fmla="*/ 29 h 48"/>
                <a:gd name="T24" fmla="*/ 105 w 105"/>
                <a:gd name="T25" fmla="*/ 38 h 48"/>
                <a:gd name="T26" fmla="*/ 96 w 105"/>
                <a:gd name="T27" fmla="*/ 48 h 48"/>
                <a:gd name="T28" fmla="*/ 86 w 105"/>
                <a:gd name="T29" fmla="*/ 48 h 48"/>
                <a:gd name="T30" fmla="*/ 77 w 105"/>
                <a:gd name="T31" fmla="*/ 38 h 48"/>
                <a:gd name="T32" fmla="*/ 77 w 105"/>
                <a:gd name="T33" fmla="*/ 38 h 48"/>
                <a:gd name="T34" fmla="*/ 67 w 105"/>
                <a:gd name="T35" fmla="*/ 38 h 48"/>
                <a:gd name="T36" fmla="*/ 58 w 105"/>
                <a:gd name="T37" fmla="*/ 29 h 48"/>
                <a:gd name="T38" fmla="*/ 48 w 105"/>
                <a:gd name="T39" fmla="*/ 29 h 48"/>
                <a:gd name="T40" fmla="*/ 38 w 105"/>
                <a:gd name="T41" fmla="*/ 29 h 48"/>
                <a:gd name="T42" fmla="*/ 19 w 105"/>
                <a:gd name="T43" fmla="*/ 29 h 48"/>
                <a:gd name="T44" fmla="*/ 19 w 105"/>
                <a:gd name="T45" fmla="*/ 29 h 48"/>
                <a:gd name="T46" fmla="*/ 19 w 105"/>
                <a:gd name="T47" fmla="*/ 19 h 48"/>
                <a:gd name="T48" fmla="*/ 38 w 105"/>
                <a:gd name="T49" fmla="*/ 29 h 48"/>
                <a:gd name="T50" fmla="*/ 29 w 105"/>
                <a:gd name="T51" fmla="*/ 19 h 48"/>
                <a:gd name="T52" fmla="*/ 29 w 105"/>
                <a:gd name="T53" fmla="*/ 19 h 48"/>
                <a:gd name="T54" fmla="*/ 29 w 105"/>
                <a:gd name="T55" fmla="*/ 19 h 48"/>
                <a:gd name="T56" fmla="*/ 29 w 105"/>
                <a:gd name="T57" fmla="*/ 9 h 48"/>
                <a:gd name="T58" fmla="*/ 19 w 105"/>
                <a:gd name="T59" fmla="*/ 9 h 48"/>
                <a:gd name="T60" fmla="*/ 19 w 105"/>
                <a:gd name="T61" fmla="*/ 19 h 48"/>
                <a:gd name="T62" fmla="*/ 19 w 105"/>
                <a:gd name="T63" fmla="*/ 19 h 48"/>
                <a:gd name="T64" fmla="*/ 10 w 105"/>
                <a:gd name="T65" fmla="*/ 9 h 48"/>
                <a:gd name="T66" fmla="*/ 0 w 105"/>
                <a:gd name="T67" fmla="*/ 9 h 48"/>
                <a:gd name="T68" fmla="*/ 0 w 105"/>
                <a:gd name="T69" fmla="*/ 0 h 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5"/>
                <a:gd name="T106" fmla="*/ 0 h 48"/>
                <a:gd name="T107" fmla="*/ 105 w 105"/>
                <a:gd name="T108" fmla="*/ 48 h 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5" h="48">
                  <a:moveTo>
                    <a:pt x="0" y="0"/>
                  </a:moveTo>
                  <a:lnTo>
                    <a:pt x="19" y="0"/>
                  </a:lnTo>
                  <a:lnTo>
                    <a:pt x="29" y="0"/>
                  </a:lnTo>
                  <a:lnTo>
                    <a:pt x="48" y="9"/>
                  </a:lnTo>
                  <a:lnTo>
                    <a:pt x="67" y="9"/>
                  </a:lnTo>
                  <a:lnTo>
                    <a:pt x="77" y="9"/>
                  </a:lnTo>
                  <a:lnTo>
                    <a:pt x="67" y="19"/>
                  </a:lnTo>
                  <a:lnTo>
                    <a:pt x="86" y="19"/>
                  </a:lnTo>
                  <a:lnTo>
                    <a:pt x="86" y="29"/>
                  </a:lnTo>
                  <a:lnTo>
                    <a:pt x="105" y="38"/>
                  </a:lnTo>
                  <a:lnTo>
                    <a:pt x="96" y="48"/>
                  </a:lnTo>
                  <a:lnTo>
                    <a:pt x="86" y="48"/>
                  </a:lnTo>
                  <a:lnTo>
                    <a:pt x="77" y="38"/>
                  </a:lnTo>
                  <a:lnTo>
                    <a:pt x="67" y="38"/>
                  </a:lnTo>
                  <a:lnTo>
                    <a:pt x="58" y="29"/>
                  </a:lnTo>
                  <a:lnTo>
                    <a:pt x="48" y="29"/>
                  </a:lnTo>
                  <a:lnTo>
                    <a:pt x="38" y="29"/>
                  </a:lnTo>
                  <a:lnTo>
                    <a:pt x="19" y="29"/>
                  </a:lnTo>
                  <a:lnTo>
                    <a:pt x="19" y="19"/>
                  </a:lnTo>
                  <a:lnTo>
                    <a:pt x="38" y="29"/>
                  </a:lnTo>
                  <a:lnTo>
                    <a:pt x="29" y="19"/>
                  </a:lnTo>
                  <a:lnTo>
                    <a:pt x="29" y="9"/>
                  </a:lnTo>
                  <a:lnTo>
                    <a:pt x="19" y="9"/>
                  </a:lnTo>
                  <a:lnTo>
                    <a:pt x="19" y="19"/>
                  </a:lnTo>
                  <a:lnTo>
                    <a:pt x="10" y="9"/>
                  </a:lnTo>
                  <a:lnTo>
                    <a:pt x="0"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81" name="Freeform 362">
              <a:extLst>
                <a:ext uri="{FF2B5EF4-FFF2-40B4-BE49-F238E27FC236}">
                  <a16:creationId xmlns:a16="http://schemas.microsoft.com/office/drawing/2014/main" id="{E793010A-DB24-47AF-9D58-85803D2A0167}"/>
                </a:ext>
              </a:extLst>
            </p:cNvPr>
            <p:cNvSpPr>
              <a:spLocks/>
            </p:cNvSpPr>
            <p:nvPr/>
          </p:nvSpPr>
          <p:spPr bwMode="gray">
            <a:xfrm>
              <a:off x="1200" y="1374"/>
              <a:ext cx="29" cy="19"/>
            </a:xfrm>
            <a:custGeom>
              <a:avLst/>
              <a:gdLst>
                <a:gd name="T0" fmla="*/ 0 w 29"/>
                <a:gd name="T1" fmla="*/ 0 h 19"/>
                <a:gd name="T2" fmla="*/ 10 w 29"/>
                <a:gd name="T3" fmla="*/ 0 h 19"/>
                <a:gd name="T4" fmla="*/ 19 w 29"/>
                <a:gd name="T5" fmla="*/ 9 h 19"/>
                <a:gd name="T6" fmla="*/ 29 w 29"/>
                <a:gd name="T7" fmla="*/ 19 h 19"/>
                <a:gd name="T8" fmla="*/ 10 w 29"/>
                <a:gd name="T9" fmla="*/ 19 h 19"/>
                <a:gd name="T10" fmla="*/ 0 w 29"/>
                <a:gd name="T11" fmla="*/ 9 h 19"/>
                <a:gd name="T12" fmla="*/ 0 w 29"/>
                <a:gd name="T13" fmla="*/ 0 h 19"/>
                <a:gd name="T14" fmla="*/ 0 60000 65536"/>
                <a:gd name="T15" fmla="*/ 0 60000 65536"/>
                <a:gd name="T16" fmla="*/ 0 60000 65536"/>
                <a:gd name="T17" fmla="*/ 0 60000 65536"/>
                <a:gd name="T18" fmla="*/ 0 60000 65536"/>
                <a:gd name="T19" fmla="*/ 0 60000 65536"/>
                <a:gd name="T20" fmla="*/ 0 60000 65536"/>
                <a:gd name="T21" fmla="*/ 0 w 29"/>
                <a:gd name="T22" fmla="*/ 0 h 19"/>
                <a:gd name="T23" fmla="*/ 29 w 2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19">
                  <a:moveTo>
                    <a:pt x="0" y="0"/>
                  </a:moveTo>
                  <a:lnTo>
                    <a:pt x="10" y="0"/>
                  </a:lnTo>
                  <a:lnTo>
                    <a:pt x="19" y="9"/>
                  </a:lnTo>
                  <a:lnTo>
                    <a:pt x="29" y="19"/>
                  </a:lnTo>
                  <a:lnTo>
                    <a:pt x="10" y="19"/>
                  </a:lnTo>
                  <a:lnTo>
                    <a:pt x="0"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82" name="Freeform 363">
              <a:extLst>
                <a:ext uri="{FF2B5EF4-FFF2-40B4-BE49-F238E27FC236}">
                  <a16:creationId xmlns:a16="http://schemas.microsoft.com/office/drawing/2014/main" id="{FC229536-5B65-43E2-9B96-5D5BC34F134B}"/>
                </a:ext>
              </a:extLst>
            </p:cNvPr>
            <p:cNvSpPr>
              <a:spLocks/>
            </p:cNvSpPr>
            <p:nvPr/>
          </p:nvSpPr>
          <p:spPr bwMode="gray">
            <a:xfrm>
              <a:off x="1200" y="1374"/>
              <a:ext cx="29" cy="19"/>
            </a:xfrm>
            <a:custGeom>
              <a:avLst/>
              <a:gdLst>
                <a:gd name="T0" fmla="*/ 0 w 29"/>
                <a:gd name="T1" fmla="*/ 0 h 19"/>
                <a:gd name="T2" fmla="*/ 10 w 29"/>
                <a:gd name="T3" fmla="*/ 0 h 19"/>
                <a:gd name="T4" fmla="*/ 19 w 29"/>
                <a:gd name="T5" fmla="*/ 9 h 19"/>
                <a:gd name="T6" fmla="*/ 29 w 29"/>
                <a:gd name="T7" fmla="*/ 19 h 19"/>
                <a:gd name="T8" fmla="*/ 10 w 29"/>
                <a:gd name="T9" fmla="*/ 19 h 19"/>
                <a:gd name="T10" fmla="*/ 0 w 29"/>
                <a:gd name="T11" fmla="*/ 9 h 19"/>
                <a:gd name="T12" fmla="*/ 0 w 29"/>
                <a:gd name="T13" fmla="*/ 0 h 19"/>
                <a:gd name="T14" fmla="*/ 0 60000 65536"/>
                <a:gd name="T15" fmla="*/ 0 60000 65536"/>
                <a:gd name="T16" fmla="*/ 0 60000 65536"/>
                <a:gd name="T17" fmla="*/ 0 60000 65536"/>
                <a:gd name="T18" fmla="*/ 0 60000 65536"/>
                <a:gd name="T19" fmla="*/ 0 60000 65536"/>
                <a:gd name="T20" fmla="*/ 0 60000 65536"/>
                <a:gd name="T21" fmla="*/ 0 w 29"/>
                <a:gd name="T22" fmla="*/ 0 h 19"/>
                <a:gd name="T23" fmla="*/ 29 w 2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19">
                  <a:moveTo>
                    <a:pt x="0" y="0"/>
                  </a:moveTo>
                  <a:lnTo>
                    <a:pt x="10" y="0"/>
                  </a:lnTo>
                  <a:lnTo>
                    <a:pt x="19" y="9"/>
                  </a:lnTo>
                  <a:lnTo>
                    <a:pt x="29" y="19"/>
                  </a:lnTo>
                  <a:lnTo>
                    <a:pt x="10" y="19"/>
                  </a:lnTo>
                  <a:lnTo>
                    <a:pt x="0"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83" name="Freeform 364">
              <a:extLst>
                <a:ext uri="{FF2B5EF4-FFF2-40B4-BE49-F238E27FC236}">
                  <a16:creationId xmlns:a16="http://schemas.microsoft.com/office/drawing/2014/main" id="{64873B62-4591-40FB-86FB-B030FD6101A3}"/>
                </a:ext>
              </a:extLst>
            </p:cNvPr>
            <p:cNvSpPr>
              <a:spLocks/>
            </p:cNvSpPr>
            <p:nvPr/>
          </p:nvSpPr>
          <p:spPr bwMode="gray">
            <a:xfrm>
              <a:off x="1095" y="1364"/>
              <a:ext cx="48" cy="19"/>
            </a:xfrm>
            <a:custGeom>
              <a:avLst/>
              <a:gdLst>
                <a:gd name="T0" fmla="*/ 48 w 48"/>
                <a:gd name="T1" fmla="*/ 0 h 19"/>
                <a:gd name="T2" fmla="*/ 39 w 48"/>
                <a:gd name="T3" fmla="*/ 0 h 19"/>
                <a:gd name="T4" fmla="*/ 20 w 48"/>
                <a:gd name="T5" fmla="*/ 0 h 19"/>
                <a:gd name="T6" fmla="*/ 0 w 48"/>
                <a:gd name="T7" fmla="*/ 10 h 19"/>
                <a:gd name="T8" fmla="*/ 0 w 48"/>
                <a:gd name="T9" fmla="*/ 19 h 19"/>
                <a:gd name="T10" fmla="*/ 10 w 48"/>
                <a:gd name="T11" fmla="*/ 19 h 19"/>
                <a:gd name="T12" fmla="*/ 39 w 48"/>
                <a:gd name="T13" fmla="*/ 19 h 19"/>
                <a:gd name="T14" fmla="*/ 48 w 48"/>
                <a:gd name="T15" fmla="*/ 19 h 19"/>
                <a:gd name="T16" fmla="*/ 39 w 48"/>
                <a:gd name="T17" fmla="*/ 10 h 19"/>
                <a:gd name="T18" fmla="*/ 29 w 48"/>
                <a:gd name="T19" fmla="*/ 10 h 19"/>
                <a:gd name="T20" fmla="*/ 29 w 48"/>
                <a:gd name="T21" fmla="*/ 10 h 19"/>
                <a:gd name="T22" fmla="*/ 48 w 48"/>
                <a:gd name="T23" fmla="*/ 0 h 19"/>
                <a:gd name="T24" fmla="*/ 48 w 48"/>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
                <a:gd name="T40" fmla="*/ 0 h 19"/>
                <a:gd name="T41" fmla="*/ 48 w 4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 h="19">
                  <a:moveTo>
                    <a:pt x="48" y="0"/>
                  </a:moveTo>
                  <a:lnTo>
                    <a:pt x="39" y="0"/>
                  </a:lnTo>
                  <a:lnTo>
                    <a:pt x="20" y="0"/>
                  </a:lnTo>
                  <a:lnTo>
                    <a:pt x="0" y="10"/>
                  </a:lnTo>
                  <a:lnTo>
                    <a:pt x="0" y="19"/>
                  </a:lnTo>
                  <a:lnTo>
                    <a:pt x="10" y="19"/>
                  </a:lnTo>
                  <a:lnTo>
                    <a:pt x="39" y="19"/>
                  </a:lnTo>
                  <a:lnTo>
                    <a:pt x="48" y="19"/>
                  </a:lnTo>
                  <a:lnTo>
                    <a:pt x="39" y="10"/>
                  </a:lnTo>
                  <a:lnTo>
                    <a:pt x="29" y="10"/>
                  </a:lnTo>
                  <a:lnTo>
                    <a:pt x="48"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84" name="Freeform 365">
              <a:extLst>
                <a:ext uri="{FF2B5EF4-FFF2-40B4-BE49-F238E27FC236}">
                  <a16:creationId xmlns:a16="http://schemas.microsoft.com/office/drawing/2014/main" id="{F9B1D3CE-C6B6-4ABC-8F27-6CD5DB57E1AB}"/>
                </a:ext>
              </a:extLst>
            </p:cNvPr>
            <p:cNvSpPr>
              <a:spLocks/>
            </p:cNvSpPr>
            <p:nvPr/>
          </p:nvSpPr>
          <p:spPr bwMode="gray">
            <a:xfrm>
              <a:off x="1095" y="1364"/>
              <a:ext cx="48" cy="19"/>
            </a:xfrm>
            <a:custGeom>
              <a:avLst/>
              <a:gdLst>
                <a:gd name="T0" fmla="*/ 48 w 48"/>
                <a:gd name="T1" fmla="*/ 0 h 19"/>
                <a:gd name="T2" fmla="*/ 39 w 48"/>
                <a:gd name="T3" fmla="*/ 0 h 19"/>
                <a:gd name="T4" fmla="*/ 20 w 48"/>
                <a:gd name="T5" fmla="*/ 0 h 19"/>
                <a:gd name="T6" fmla="*/ 0 w 48"/>
                <a:gd name="T7" fmla="*/ 10 h 19"/>
                <a:gd name="T8" fmla="*/ 0 w 48"/>
                <a:gd name="T9" fmla="*/ 19 h 19"/>
                <a:gd name="T10" fmla="*/ 10 w 48"/>
                <a:gd name="T11" fmla="*/ 19 h 19"/>
                <a:gd name="T12" fmla="*/ 39 w 48"/>
                <a:gd name="T13" fmla="*/ 19 h 19"/>
                <a:gd name="T14" fmla="*/ 48 w 48"/>
                <a:gd name="T15" fmla="*/ 19 h 19"/>
                <a:gd name="T16" fmla="*/ 39 w 48"/>
                <a:gd name="T17" fmla="*/ 10 h 19"/>
                <a:gd name="T18" fmla="*/ 29 w 48"/>
                <a:gd name="T19" fmla="*/ 10 h 19"/>
                <a:gd name="T20" fmla="*/ 29 w 48"/>
                <a:gd name="T21" fmla="*/ 10 h 19"/>
                <a:gd name="T22" fmla="*/ 48 w 48"/>
                <a:gd name="T23" fmla="*/ 0 h 19"/>
                <a:gd name="T24" fmla="*/ 48 w 48"/>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
                <a:gd name="T40" fmla="*/ 0 h 19"/>
                <a:gd name="T41" fmla="*/ 48 w 4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 h="19">
                  <a:moveTo>
                    <a:pt x="48" y="0"/>
                  </a:moveTo>
                  <a:lnTo>
                    <a:pt x="39" y="0"/>
                  </a:lnTo>
                  <a:lnTo>
                    <a:pt x="20" y="0"/>
                  </a:lnTo>
                  <a:lnTo>
                    <a:pt x="0" y="10"/>
                  </a:lnTo>
                  <a:lnTo>
                    <a:pt x="0" y="19"/>
                  </a:lnTo>
                  <a:lnTo>
                    <a:pt x="10" y="19"/>
                  </a:lnTo>
                  <a:lnTo>
                    <a:pt x="39" y="19"/>
                  </a:lnTo>
                  <a:lnTo>
                    <a:pt x="48" y="19"/>
                  </a:lnTo>
                  <a:lnTo>
                    <a:pt x="39" y="10"/>
                  </a:lnTo>
                  <a:lnTo>
                    <a:pt x="29" y="10"/>
                  </a:lnTo>
                  <a:lnTo>
                    <a:pt x="48"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85" name="Freeform 366">
              <a:extLst>
                <a:ext uri="{FF2B5EF4-FFF2-40B4-BE49-F238E27FC236}">
                  <a16:creationId xmlns:a16="http://schemas.microsoft.com/office/drawing/2014/main" id="{9F2A3A92-2AD9-41D0-814D-7D1CDE1A7EB3}"/>
                </a:ext>
              </a:extLst>
            </p:cNvPr>
            <p:cNvSpPr>
              <a:spLocks/>
            </p:cNvSpPr>
            <p:nvPr/>
          </p:nvSpPr>
          <p:spPr bwMode="gray">
            <a:xfrm>
              <a:off x="1029" y="1402"/>
              <a:ext cx="181" cy="57"/>
            </a:xfrm>
            <a:custGeom>
              <a:avLst/>
              <a:gdLst>
                <a:gd name="T0" fmla="*/ 124 w 181"/>
                <a:gd name="T1" fmla="*/ 0 h 57"/>
                <a:gd name="T2" fmla="*/ 133 w 181"/>
                <a:gd name="T3" fmla="*/ 0 h 57"/>
                <a:gd name="T4" fmla="*/ 133 w 181"/>
                <a:gd name="T5" fmla="*/ 10 h 57"/>
                <a:gd name="T6" fmla="*/ 143 w 181"/>
                <a:gd name="T7" fmla="*/ 19 h 57"/>
                <a:gd name="T8" fmla="*/ 152 w 181"/>
                <a:gd name="T9" fmla="*/ 19 h 57"/>
                <a:gd name="T10" fmla="*/ 162 w 181"/>
                <a:gd name="T11" fmla="*/ 19 h 57"/>
                <a:gd name="T12" fmla="*/ 162 w 181"/>
                <a:gd name="T13" fmla="*/ 19 h 57"/>
                <a:gd name="T14" fmla="*/ 181 w 181"/>
                <a:gd name="T15" fmla="*/ 29 h 57"/>
                <a:gd name="T16" fmla="*/ 152 w 181"/>
                <a:gd name="T17" fmla="*/ 38 h 57"/>
                <a:gd name="T18" fmla="*/ 143 w 181"/>
                <a:gd name="T19" fmla="*/ 38 h 57"/>
                <a:gd name="T20" fmla="*/ 133 w 181"/>
                <a:gd name="T21" fmla="*/ 38 h 57"/>
                <a:gd name="T22" fmla="*/ 124 w 181"/>
                <a:gd name="T23" fmla="*/ 38 h 57"/>
                <a:gd name="T24" fmla="*/ 95 w 181"/>
                <a:gd name="T25" fmla="*/ 57 h 57"/>
                <a:gd name="T26" fmla="*/ 57 w 181"/>
                <a:gd name="T27" fmla="*/ 57 h 57"/>
                <a:gd name="T28" fmla="*/ 66 w 181"/>
                <a:gd name="T29" fmla="*/ 48 h 57"/>
                <a:gd name="T30" fmla="*/ 76 w 181"/>
                <a:gd name="T31" fmla="*/ 48 h 57"/>
                <a:gd name="T32" fmla="*/ 95 w 181"/>
                <a:gd name="T33" fmla="*/ 38 h 57"/>
                <a:gd name="T34" fmla="*/ 86 w 181"/>
                <a:gd name="T35" fmla="*/ 38 h 57"/>
                <a:gd name="T36" fmla="*/ 66 w 181"/>
                <a:gd name="T37" fmla="*/ 38 h 57"/>
                <a:gd name="T38" fmla="*/ 57 w 181"/>
                <a:gd name="T39" fmla="*/ 38 h 57"/>
                <a:gd name="T40" fmla="*/ 57 w 181"/>
                <a:gd name="T41" fmla="*/ 29 h 57"/>
                <a:gd name="T42" fmla="*/ 38 w 181"/>
                <a:gd name="T43" fmla="*/ 38 h 57"/>
                <a:gd name="T44" fmla="*/ 38 w 181"/>
                <a:gd name="T45" fmla="*/ 38 h 57"/>
                <a:gd name="T46" fmla="*/ 28 w 181"/>
                <a:gd name="T47" fmla="*/ 38 h 57"/>
                <a:gd name="T48" fmla="*/ 19 w 181"/>
                <a:gd name="T49" fmla="*/ 38 h 57"/>
                <a:gd name="T50" fmla="*/ 0 w 181"/>
                <a:gd name="T51" fmla="*/ 29 h 57"/>
                <a:gd name="T52" fmla="*/ 19 w 181"/>
                <a:gd name="T53" fmla="*/ 29 h 57"/>
                <a:gd name="T54" fmla="*/ 28 w 181"/>
                <a:gd name="T55" fmla="*/ 19 h 57"/>
                <a:gd name="T56" fmla="*/ 9 w 181"/>
                <a:gd name="T57" fmla="*/ 19 h 57"/>
                <a:gd name="T58" fmla="*/ 28 w 181"/>
                <a:gd name="T59" fmla="*/ 19 h 57"/>
                <a:gd name="T60" fmla="*/ 28 w 181"/>
                <a:gd name="T61" fmla="*/ 19 h 57"/>
                <a:gd name="T62" fmla="*/ 19 w 181"/>
                <a:gd name="T63" fmla="*/ 10 h 57"/>
                <a:gd name="T64" fmla="*/ 28 w 181"/>
                <a:gd name="T65" fmla="*/ 10 h 57"/>
                <a:gd name="T66" fmla="*/ 38 w 181"/>
                <a:gd name="T67" fmla="*/ 10 h 57"/>
                <a:gd name="T68" fmla="*/ 38 w 181"/>
                <a:gd name="T69" fmla="*/ 0 h 57"/>
                <a:gd name="T70" fmla="*/ 57 w 181"/>
                <a:gd name="T71" fmla="*/ 10 h 57"/>
                <a:gd name="T72" fmla="*/ 86 w 181"/>
                <a:gd name="T73" fmla="*/ 19 h 57"/>
                <a:gd name="T74" fmla="*/ 105 w 181"/>
                <a:gd name="T75" fmla="*/ 29 h 57"/>
                <a:gd name="T76" fmla="*/ 124 w 181"/>
                <a:gd name="T77" fmla="*/ 29 h 57"/>
                <a:gd name="T78" fmla="*/ 114 w 181"/>
                <a:gd name="T79" fmla="*/ 19 h 57"/>
                <a:gd name="T80" fmla="*/ 124 w 181"/>
                <a:gd name="T81" fmla="*/ 10 h 57"/>
                <a:gd name="T82" fmla="*/ 105 w 181"/>
                <a:gd name="T83" fmla="*/ 10 h 57"/>
                <a:gd name="T84" fmla="*/ 105 w 181"/>
                <a:gd name="T85" fmla="*/ 0 h 57"/>
                <a:gd name="T86" fmla="*/ 114 w 181"/>
                <a:gd name="T87" fmla="*/ 0 h 5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1"/>
                <a:gd name="T133" fmla="*/ 0 h 57"/>
                <a:gd name="T134" fmla="*/ 181 w 181"/>
                <a:gd name="T135" fmla="*/ 57 h 5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1" h="57">
                  <a:moveTo>
                    <a:pt x="114" y="0"/>
                  </a:moveTo>
                  <a:lnTo>
                    <a:pt x="124" y="0"/>
                  </a:lnTo>
                  <a:lnTo>
                    <a:pt x="133" y="0"/>
                  </a:lnTo>
                  <a:lnTo>
                    <a:pt x="143" y="10"/>
                  </a:lnTo>
                  <a:lnTo>
                    <a:pt x="133" y="10"/>
                  </a:lnTo>
                  <a:lnTo>
                    <a:pt x="143" y="10"/>
                  </a:lnTo>
                  <a:lnTo>
                    <a:pt x="143" y="19"/>
                  </a:lnTo>
                  <a:lnTo>
                    <a:pt x="152" y="19"/>
                  </a:lnTo>
                  <a:lnTo>
                    <a:pt x="162" y="19"/>
                  </a:lnTo>
                  <a:lnTo>
                    <a:pt x="181" y="19"/>
                  </a:lnTo>
                  <a:lnTo>
                    <a:pt x="181" y="29"/>
                  </a:lnTo>
                  <a:lnTo>
                    <a:pt x="171" y="38"/>
                  </a:lnTo>
                  <a:lnTo>
                    <a:pt x="152" y="38"/>
                  </a:lnTo>
                  <a:lnTo>
                    <a:pt x="143" y="38"/>
                  </a:lnTo>
                  <a:lnTo>
                    <a:pt x="133" y="38"/>
                  </a:lnTo>
                  <a:lnTo>
                    <a:pt x="124" y="38"/>
                  </a:lnTo>
                  <a:lnTo>
                    <a:pt x="105" y="48"/>
                  </a:lnTo>
                  <a:lnTo>
                    <a:pt x="95" y="57"/>
                  </a:lnTo>
                  <a:lnTo>
                    <a:pt x="76" y="57"/>
                  </a:lnTo>
                  <a:lnTo>
                    <a:pt x="57" y="57"/>
                  </a:lnTo>
                  <a:lnTo>
                    <a:pt x="47" y="48"/>
                  </a:lnTo>
                  <a:lnTo>
                    <a:pt x="66" y="48"/>
                  </a:lnTo>
                  <a:lnTo>
                    <a:pt x="66" y="38"/>
                  </a:lnTo>
                  <a:lnTo>
                    <a:pt x="76" y="48"/>
                  </a:lnTo>
                  <a:lnTo>
                    <a:pt x="86" y="38"/>
                  </a:lnTo>
                  <a:lnTo>
                    <a:pt x="95" y="38"/>
                  </a:lnTo>
                  <a:lnTo>
                    <a:pt x="86" y="38"/>
                  </a:lnTo>
                  <a:lnTo>
                    <a:pt x="76" y="38"/>
                  </a:lnTo>
                  <a:lnTo>
                    <a:pt x="66" y="38"/>
                  </a:lnTo>
                  <a:lnTo>
                    <a:pt x="57" y="38"/>
                  </a:lnTo>
                  <a:lnTo>
                    <a:pt x="57" y="29"/>
                  </a:lnTo>
                  <a:lnTo>
                    <a:pt x="38" y="38"/>
                  </a:lnTo>
                  <a:lnTo>
                    <a:pt x="47" y="38"/>
                  </a:lnTo>
                  <a:lnTo>
                    <a:pt x="38" y="38"/>
                  </a:lnTo>
                  <a:lnTo>
                    <a:pt x="28" y="38"/>
                  </a:lnTo>
                  <a:lnTo>
                    <a:pt x="19" y="38"/>
                  </a:lnTo>
                  <a:lnTo>
                    <a:pt x="9" y="38"/>
                  </a:lnTo>
                  <a:lnTo>
                    <a:pt x="0" y="29"/>
                  </a:lnTo>
                  <a:lnTo>
                    <a:pt x="19" y="29"/>
                  </a:lnTo>
                  <a:lnTo>
                    <a:pt x="38" y="19"/>
                  </a:lnTo>
                  <a:lnTo>
                    <a:pt x="28" y="19"/>
                  </a:lnTo>
                  <a:lnTo>
                    <a:pt x="19" y="19"/>
                  </a:lnTo>
                  <a:lnTo>
                    <a:pt x="9" y="19"/>
                  </a:lnTo>
                  <a:lnTo>
                    <a:pt x="19" y="19"/>
                  </a:lnTo>
                  <a:lnTo>
                    <a:pt x="28" y="19"/>
                  </a:lnTo>
                  <a:lnTo>
                    <a:pt x="38" y="19"/>
                  </a:lnTo>
                  <a:lnTo>
                    <a:pt x="28" y="19"/>
                  </a:lnTo>
                  <a:lnTo>
                    <a:pt x="19" y="19"/>
                  </a:lnTo>
                  <a:lnTo>
                    <a:pt x="19" y="10"/>
                  </a:lnTo>
                  <a:lnTo>
                    <a:pt x="28" y="10"/>
                  </a:lnTo>
                  <a:lnTo>
                    <a:pt x="38" y="10"/>
                  </a:lnTo>
                  <a:lnTo>
                    <a:pt x="28" y="10"/>
                  </a:lnTo>
                  <a:lnTo>
                    <a:pt x="38" y="0"/>
                  </a:lnTo>
                  <a:lnTo>
                    <a:pt x="47" y="0"/>
                  </a:lnTo>
                  <a:lnTo>
                    <a:pt x="57" y="10"/>
                  </a:lnTo>
                  <a:lnTo>
                    <a:pt x="66" y="10"/>
                  </a:lnTo>
                  <a:lnTo>
                    <a:pt x="86" y="19"/>
                  </a:lnTo>
                  <a:lnTo>
                    <a:pt x="95" y="19"/>
                  </a:lnTo>
                  <a:lnTo>
                    <a:pt x="105" y="29"/>
                  </a:lnTo>
                  <a:lnTo>
                    <a:pt x="124" y="29"/>
                  </a:lnTo>
                  <a:lnTo>
                    <a:pt x="124" y="19"/>
                  </a:lnTo>
                  <a:lnTo>
                    <a:pt x="114" y="19"/>
                  </a:lnTo>
                  <a:lnTo>
                    <a:pt x="124" y="10"/>
                  </a:lnTo>
                  <a:lnTo>
                    <a:pt x="105" y="10"/>
                  </a:lnTo>
                  <a:lnTo>
                    <a:pt x="105" y="0"/>
                  </a:lnTo>
                  <a:lnTo>
                    <a:pt x="114"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86" name="Freeform 367">
              <a:extLst>
                <a:ext uri="{FF2B5EF4-FFF2-40B4-BE49-F238E27FC236}">
                  <a16:creationId xmlns:a16="http://schemas.microsoft.com/office/drawing/2014/main" id="{DEFC42A9-A8BB-4A1E-8C57-713FAF5EDA88}"/>
                </a:ext>
              </a:extLst>
            </p:cNvPr>
            <p:cNvSpPr>
              <a:spLocks/>
            </p:cNvSpPr>
            <p:nvPr/>
          </p:nvSpPr>
          <p:spPr bwMode="gray">
            <a:xfrm>
              <a:off x="1029" y="1402"/>
              <a:ext cx="181" cy="57"/>
            </a:xfrm>
            <a:custGeom>
              <a:avLst/>
              <a:gdLst>
                <a:gd name="T0" fmla="*/ 124 w 181"/>
                <a:gd name="T1" fmla="*/ 0 h 57"/>
                <a:gd name="T2" fmla="*/ 133 w 181"/>
                <a:gd name="T3" fmla="*/ 0 h 57"/>
                <a:gd name="T4" fmla="*/ 133 w 181"/>
                <a:gd name="T5" fmla="*/ 10 h 57"/>
                <a:gd name="T6" fmla="*/ 143 w 181"/>
                <a:gd name="T7" fmla="*/ 19 h 57"/>
                <a:gd name="T8" fmla="*/ 152 w 181"/>
                <a:gd name="T9" fmla="*/ 19 h 57"/>
                <a:gd name="T10" fmla="*/ 162 w 181"/>
                <a:gd name="T11" fmla="*/ 19 h 57"/>
                <a:gd name="T12" fmla="*/ 162 w 181"/>
                <a:gd name="T13" fmla="*/ 19 h 57"/>
                <a:gd name="T14" fmla="*/ 181 w 181"/>
                <a:gd name="T15" fmla="*/ 29 h 57"/>
                <a:gd name="T16" fmla="*/ 152 w 181"/>
                <a:gd name="T17" fmla="*/ 38 h 57"/>
                <a:gd name="T18" fmla="*/ 143 w 181"/>
                <a:gd name="T19" fmla="*/ 38 h 57"/>
                <a:gd name="T20" fmla="*/ 133 w 181"/>
                <a:gd name="T21" fmla="*/ 38 h 57"/>
                <a:gd name="T22" fmla="*/ 124 w 181"/>
                <a:gd name="T23" fmla="*/ 38 h 57"/>
                <a:gd name="T24" fmla="*/ 95 w 181"/>
                <a:gd name="T25" fmla="*/ 57 h 57"/>
                <a:gd name="T26" fmla="*/ 57 w 181"/>
                <a:gd name="T27" fmla="*/ 57 h 57"/>
                <a:gd name="T28" fmla="*/ 66 w 181"/>
                <a:gd name="T29" fmla="*/ 48 h 57"/>
                <a:gd name="T30" fmla="*/ 76 w 181"/>
                <a:gd name="T31" fmla="*/ 48 h 57"/>
                <a:gd name="T32" fmla="*/ 95 w 181"/>
                <a:gd name="T33" fmla="*/ 38 h 57"/>
                <a:gd name="T34" fmla="*/ 86 w 181"/>
                <a:gd name="T35" fmla="*/ 38 h 57"/>
                <a:gd name="T36" fmla="*/ 66 w 181"/>
                <a:gd name="T37" fmla="*/ 38 h 57"/>
                <a:gd name="T38" fmla="*/ 57 w 181"/>
                <a:gd name="T39" fmla="*/ 38 h 57"/>
                <a:gd name="T40" fmla="*/ 57 w 181"/>
                <a:gd name="T41" fmla="*/ 29 h 57"/>
                <a:gd name="T42" fmla="*/ 38 w 181"/>
                <a:gd name="T43" fmla="*/ 38 h 57"/>
                <a:gd name="T44" fmla="*/ 38 w 181"/>
                <a:gd name="T45" fmla="*/ 38 h 57"/>
                <a:gd name="T46" fmla="*/ 28 w 181"/>
                <a:gd name="T47" fmla="*/ 38 h 57"/>
                <a:gd name="T48" fmla="*/ 19 w 181"/>
                <a:gd name="T49" fmla="*/ 38 h 57"/>
                <a:gd name="T50" fmla="*/ 0 w 181"/>
                <a:gd name="T51" fmla="*/ 29 h 57"/>
                <a:gd name="T52" fmla="*/ 19 w 181"/>
                <a:gd name="T53" fmla="*/ 29 h 57"/>
                <a:gd name="T54" fmla="*/ 28 w 181"/>
                <a:gd name="T55" fmla="*/ 19 h 57"/>
                <a:gd name="T56" fmla="*/ 9 w 181"/>
                <a:gd name="T57" fmla="*/ 19 h 57"/>
                <a:gd name="T58" fmla="*/ 28 w 181"/>
                <a:gd name="T59" fmla="*/ 19 h 57"/>
                <a:gd name="T60" fmla="*/ 28 w 181"/>
                <a:gd name="T61" fmla="*/ 19 h 57"/>
                <a:gd name="T62" fmla="*/ 19 w 181"/>
                <a:gd name="T63" fmla="*/ 10 h 57"/>
                <a:gd name="T64" fmla="*/ 28 w 181"/>
                <a:gd name="T65" fmla="*/ 10 h 57"/>
                <a:gd name="T66" fmla="*/ 38 w 181"/>
                <a:gd name="T67" fmla="*/ 10 h 57"/>
                <a:gd name="T68" fmla="*/ 38 w 181"/>
                <a:gd name="T69" fmla="*/ 0 h 57"/>
                <a:gd name="T70" fmla="*/ 57 w 181"/>
                <a:gd name="T71" fmla="*/ 10 h 57"/>
                <a:gd name="T72" fmla="*/ 86 w 181"/>
                <a:gd name="T73" fmla="*/ 19 h 57"/>
                <a:gd name="T74" fmla="*/ 105 w 181"/>
                <a:gd name="T75" fmla="*/ 29 h 57"/>
                <a:gd name="T76" fmla="*/ 124 w 181"/>
                <a:gd name="T77" fmla="*/ 29 h 57"/>
                <a:gd name="T78" fmla="*/ 114 w 181"/>
                <a:gd name="T79" fmla="*/ 19 h 57"/>
                <a:gd name="T80" fmla="*/ 124 w 181"/>
                <a:gd name="T81" fmla="*/ 10 h 57"/>
                <a:gd name="T82" fmla="*/ 105 w 181"/>
                <a:gd name="T83" fmla="*/ 10 h 57"/>
                <a:gd name="T84" fmla="*/ 105 w 181"/>
                <a:gd name="T85" fmla="*/ 0 h 57"/>
                <a:gd name="T86" fmla="*/ 114 w 181"/>
                <a:gd name="T87" fmla="*/ 0 h 5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1"/>
                <a:gd name="T133" fmla="*/ 0 h 57"/>
                <a:gd name="T134" fmla="*/ 181 w 181"/>
                <a:gd name="T135" fmla="*/ 57 h 5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1" h="57">
                  <a:moveTo>
                    <a:pt x="114" y="0"/>
                  </a:moveTo>
                  <a:lnTo>
                    <a:pt x="124" y="0"/>
                  </a:lnTo>
                  <a:lnTo>
                    <a:pt x="133" y="0"/>
                  </a:lnTo>
                  <a:lnTo>
                    <a:pt x="143" y="10"/>
                  </a:lnTo>
                  <a:lnTo>
                    <a:pt x="133" y="10"/>
                  </a:lnTo>
                  <a:lnTo>
                    <a:pt x="143" y="10"/>
                  </a:lnTo>
                  <a:lnTo>
                    <a:pt x="143" y="19"/>
                  </a:lnTo>
                  <a:lnTo>
                    <a:pt x="152" y="19"/>
                  </a:lnTo>
                  <a:lnTo>
                    <a:pt x="162" y="19"/>
                  </a:lnTo>
                  <a:lnTo>
                    <a:pt x="181" y="19"/>
                  </a:lnTo>
                  <a:lnTo>
                    <a:pt x="181" y="29"/>
                  </a:lnTo>
                  <a:lnTo>
                    <a:pt x="171" y="38"/>
                  </a:lnTo>
                  <a:lnTo>
                    <a:pt x="152" y="38"/>
                  </a:lnTo>
                  <a:lnTo>
                    <a:pt x="143" y="38"/>
                  </a:lnTo>
                  <a:lnTo>
                    <a:pt x="133" y="38"/>
                  </a:lnTo>
                  <a:lnTo>
                    <a:pt x="124" y="38"/>
                  </a:lnTo>
                  <a:lnTo>
                    <a:pt x="105" y="48"/>
                  </a:lnTo>
                  <a:lnTo>
                    <a:pt x="95" y="57"/>
                  </a:lnTo>
                  <a:lnTo>
                    <a:pt x="76" y="57"/>
                  </a:lnTo>
                  <a:lnTo>
                    <a:pt x="57" y="57"/>
                  </a:lnTo>
                  <a:lnTo>
                    <a:pt x="47" y="48"/>
                  </a:lnTo>
                  <a:lnTo>
                    <a:pt x="66" y="48"/>
                  </a:lnTo>
                  <a:lnTo>
                    <a:pt x="66" y="38"/>
                  </a:lnTo>
                  <a:lnTo>
                    <a:pt x="76" y="48"/>
                  </a:lnTo>
                  <a:lnTo>
                    <a:pt x="86" y="38"/>
                  </a:lnTo>
                  <a:lnTo>
                    <a:pt x="95" y="38"/>
                  </a:lnTo>
                  <a:lnTo>
                    <a:pt x="86" y="38"/>
                  </a:lnTo>
                  <a:lnTo>
                    <a:pt x="76" y="38"/>
                  </a:lnTo>
                  <a:lnTo>
                    <a:pt x="66" y="38"/>
                  </a:lnTo>
                  <a:lnTo>
                    <a:pt x="57" y="38"/>
                  </a:lnTo>
                  <a:lnTo>
                    <a:pt x="57" y="29"/>
                  </a:lnTo>
                  <a:lnTo>
                    <a:pt x="38" y="38"/>
                  </a:lnTo>
                  <a:lnTo>
                    <a:pt x="47" y="38"/>
                  </a:lnTo>
                  <a:lnTo>
                    <a:pt x="38" y="38"/>
                  </a:lnTo>
                  <a:lnTo>
                    <a:pt x="28" y="38"/>
                  </a:lnTo>
                  <a:lnTo>
                    <a:pt x="19" y="38"/>
                  </a:lnTo>
                  <a:lnTo>
                    <a:pt x="9" y="38"/>
                  </a:lnTo>
                  <a:lnTo>
                    <a:pt x="0" y="29"/>
                  </a:lnTo>
                  <a:lnTo>
                    <a:pt x="19" y="29"/>
                  </a:lnTo>
                  <a:lnTo>
                    <a:pt x="38" y="19"/>
                  </a:lnTo>
                  <a:lnTo>
                    <a:pt x="28" y="19"/>
                  </a:lnTo>
                  <a:lnTo>
                    <a:pt x="19" y="19"/>
                  </a:lnTo>
                  <a:lnTo>
                    <a:pt x="9" y="19"/>
                  </a:lnTo>
                  <a:lnTo>
                    <a:pt x="19" y="19"/>
                  </a:lnTo>
                  <a:lnTo>
                    <a:pt x="28" y="19"/>
                  </a:lnTo>
                  <a:lnTo>
                    <a:pt x="38" y="19"/>
                  </a:lnTo>
                  <a:lnTo>
                    <a:pt x="28" y="19"/>
                  </a:lnTo>
                  <a:lnTo>
                    <a:pt x="19" y="19"/>
                  </a:lnTo>
                  <a:lnTo>
                    <a:pt x="19" y="10"/>
                  </a:lnTo>
                  <a:lnTo>
                    <a:pt x="28" y="10"/>
                  </a:lnTo>
                  <a:lnTo>
                    <a:pt x="38" y="10"/>
                  </a:lnTo>
                  <a:lnTo>
                    <a:pt x="28" y="10"/>
                  </a:lnTo>
                  <a:lnTo>
                    <a:pt x="38" y="0"/>
                  </a:lnTo>
                  <a:lnTo>
                    <a:pt x="47" y="0"/>
                  </a:lnTo>
                  <a:lnTo>
                    <a:pt x="57" y="10"/>
                  </a:lnTo>
                  <a:lnTo>
                    <a:pt x="66" y="10"/>
                  </a:lnTo>
                  <a:lnTo>
                    <a:pt x="86" y="19"/>
                  </a:lnTo>
                  <a:lnTo>
                    <a:pt x="95" y="19"/>
                  </a:lnTo>
                  <a:lnTo>
                    <a:pt x="105" y="29"/>
                  </a:lnTo>
                  <a:lnTo>
                    <a:pt x="124" y="29"/>
                  </a:lnTo>
                  <a:lnTo>
                    <a:pt x="124" y="19"/>
                  </a:lnTo>
                  <a:lnTo>
                    <a:pt x="114" y="19"/>
                  </a:lnTo>
                  <a:lnTo>
                    <a:pt x="124" y="10"/>
                  </a:lnTo>
                  <a:lnTo>
                    <a:pt x="105" y="10"/>
                  </a:lnTo>
                  <a:lnTo>
                    <a:pt x="105" y="0"/>
                  </a:lnTo>
                  <a:lnTo>
                    <a:pt x="114"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87" name="Freeform 368">
              <a:extLst>
                <a:ext uri="{FF2B5EF4-FFF2-40B4-BE49-F238E27FC236}">
                  <a16:creationId xmlns:a16="http://schemas.microsoft.com/office/drawing/2014/main" id="{FFC28864-2655-445C-BA76-2AD936DD9171}"/>
                </a:ext>
              </a:extLst>
            </p:cNvPr>
            <p:cNvSpPr>
              <a:spLocks/>
            </p:cNvSpPr>
            <p:nvPr/>
          </p:nvSpPr>
          <p:spPr bwMode="gray">
            <a:xfrm>
              <a:off x="1248" y="1402"/>
              <a:ext cx="76" cy="38"/>
            </a:xfrm>
            <a:custGeom>
              <a:avLst/>
              <a:gdLst>
                <a:gd name="T0" fmla="*/ 19 w 76"/>
                <a:gd name="T1" fmla="*/ 19 h 38"/>
                <a:gd name="T2" fmla="*/ 19 w 76"/>
                <a:gd name="T3" fmla="*/ 19 h 38"/>
                <a:gd name="T4" fmla="*/ 0 w 76"/>
                <a:gd name="T5" fmla="*/ 19 h 38"/>
                <a:gd name="T6" fmla="*/ 0 w 76"/>
                <a:gd name="T7" fmla="*/ 19 h 38"/>
                <a:gd name="T8" fmla="*/ 0 w 76"/>
                <a:gd name="T9" fmla="*/ 29 h 38"/>
                <a:gd name="T10" fmla="*/ 10 w 76"/>
                <a:gd name="T11" fmla="*/ 29 h 38"/>
                <a:gd name="T12" fmla="*/ 19 w 76"/>
                <a:gd name="T13" fmla="*/ 29 h 38"/>
                <a:gd name="T14" fmla="*/ 29 w 76"/>
                <a:gd name="T15" fmla="*/ 29 h 38"/>
                <a:gd name="T16" fmla="*/ 38 w 76"/>
                <a:gd name="T17" fmla="*/ 19 h 38"/>
                <a:gd name="T18" fmla="*/ 48 w 76"/>
                <a:gd name="T19" fmla="*/ 19 h 38"/>
                <a:gd name="T20" fmla="*/ 48 w 76"/>
                <a:gd name="T21" fmla="*/ 29 h 38"/>
                <a:gd name="T22" fmla="*/ 38 w 76"/>
                <a:gd name="T23" fmla="*/ 29 h 38"/>
                <a:gd name="T24" fmla="*/ 29 w 76"/>
                <a:gd name="T25" fmla="*/ 29 h 38"/>
                <a:gd name="T26" fmla="*/ 29 w 76"/>
                <a:gd name="T27" fmla="*/ 29 h 38"/>
                <a:gd name="T28" fmla="*/ 38 w 76"/>
                <a:gd name="T29" fmla="*/ 29 h 38"/>
                <a:gd name="T30" fmla="*/ 38 w 76"/>
                <a:gd name="T31" fmla="*/ 38 h 38"/>
                <a:gd name="T32" fmla="*/ 67 w 76"/>
                <a:gd name="T33" fmla="*/ 38 h 38"/>
                <a:gd name="T34" fmla="*/ 76 w 76"/>
                <a:gd name="T35" fmla="*/ 29 h 38"/>
                <a:gd name="T36" fmla="*/ 67 w 76"/>
                <a:gd name="T37" fmla="*/ 29 h 38"/>
                <a:gd name="T38" fmla="*/ 67 w 76"/>
                <a:gd name="T39" fmla="*/ 29 h 38"/>
                <a:gd name="T40" fmla="*/ 76 w 76"/>
                <a:gd name="T41" fmla="*/ 29 h 38"/>
                <a:gd name="T42" fmla="*/ 76 w 76"/>
                <a:gd name="T43" fmla="*/ 29 h 38"/>
                <a:gd name="T44" fmla="*/ 76 w 76"/>
                <a:gd name="T45" fmla="*/ 19 h 38"/>
                <a:gd name="T46" fmla="*/ 76 w 76"/>
                <a:gd name="T47" fmla="*/ 19 h 38"/>
                <a:gd name="T48" fmla="*/ 76 w 76"/>
                <a:gd name="T49" fmla="*/ 0 h 38"/>
                <a:gd name="T50" fmla="*/ 67 w 76"/>
                <a:gd name="T51" fmla="*/ 0 h 38"/>
                <a:gd name="T52" fmla="*/ 67 w 76"/>
                <a:gd name="T53" fmla="*/ 0 h 38"/>
                <a:gd name="T54" fmla="*/ 57 w 76"/>
                <a:gd name="T55" fmla="*/ 0 h 38"/>
                <a:gd name="T56" fmla="*/ 57 w 76"/>
                <a:gd name="T57" fmla="*/ 0 h 38"/>
                <a:gd name="T58" fmla="*/ 67 w 76"/>
                <a:gd name="T59" fmla="*/ 0 h 38"/>
                <a:gd name="T60" fmla="*/ 57 w 76"/>
                <a:gd name="T61" fmla="*/ 0 h 38"/>
                <a:gd name="T62" fmla="*/ 48 w 76"/>
                <a:gd name="T63" fmla="*/ 0 h 38"/>
                <a:gd name="T64" fmla="*/ 29 w 76"/>
                <a:gd name="T65" fmla="*/ 0 h 38"/>
                <a:gd name="T66" fmla="*/ 29 w 76"/>
                <a:gd name="T67" fmla="*/ 10 h 38"/>
                <a:gd name="T68" fmla="*/ 38 w 76"/>
                <a:gd name="T69" fmla="*/ 10 h 38"/>
                <a:gd name="T70" fmla="*/ 38 w 76"/>
                <a:gd name="T71" fmla="*/ 10 h 38"/>
                <a:gd name="T72" fmla="*/ 48 w 76"/>
                <a:gd name="T73" fmla="*/ 19 h 38"/>
                <a:gd name="T74" fmla="*/ 48 w 76"/>
                <a:gd name="T75" fmla="*/ 19 h 38"/>
                <a:gd name="T76" fmla="*/ 29 w 76"/>
                <a:gd name="T77" fmla="*/ 10 h 38"/>
                <a:gd name="T78" fmla="*/ 29 w 76"/>
                <a:gd name="T79" fmla="*/ 10 h 38"/>
                <a:gd name="T80" fmla="*/ 19 w 76"/>
                <a:gd name="T81" fmla="*/ 10 h 38"/>
                <a:gd name="T82" fmla="*/ 10 w 76"/>
                <a:gd name="T83" fmla="*/ 10 h 38"/>
                <a:gd name="T84" fmla="*/ 10 w 76"/>
                <a:gd name="T85" fmla="*/ 10 h 38"/>
                <a:gd name="T86" fmla="*/ 19 w 76"/>
                <a:gd name="T87" fmla="*/ 19 h 38"/>
                <a:gd name="T88" fmla="*/ 19 w 76"/>
                <a:gd name="T89" fmla="*/ 19 h 3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6"/>
                <a:gd name="T136" fmla="*/ 0 h 38"/>
                <a:gd name="T137" fmla="*/ 76 w 76"/>
                <a:gd name="T138" fmla="*/ 38 h 3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6" h="38">
                  <a:moveTo>
                    <a:pt x="19" y="19"/>
                  </a:moveTo>
                  <a:lnTo>
                    <a:pt x="19" y="19"/>
                  </a:lnTo>
                  <a:lnTo>
                    <a:pt x="0" y="19"/>
                  </a:lnTo>
                  <a:lnTo>
                    <a:pt x="0" y="29"/>
                  </a:lnTo>
                  <a:lnTo>
                    <a:pt x="10" y="29"/>
                  </a:lnTo>
                  <a:lnTo>
                    <a:pt x="19" y="29"/>
                  </a:lnTo>
                  <a:lnTo>
                    <a:pt x="29" y="29"/>
                  </a:lnTo>
                  <a:lnTo>
                    <a:pt x="38" y="19"/>
                  </a:lnTo>
                  <a:lnTo>
                    <a:pt x="48" y="19"/>
                  </a:lnTo>
                  <a:lnTo>
                    <a:pt x="48" y="29"/>
                  </a:lnTo>
                  <a:lnTo>
                    <a:pt x="38" y="29"/>
                  </a:lnTo>
                  <a:lnTo>
                    <a:pt x="29" y="29"/>
                  </a:lnTo>
                  <a:lnTo>
                    <a:pt x="38" y="29"/>
                  </a:lnTo>
                  <a:lnTo>
                    <a:pt x="38" y="38"/>
                  </a:lnTo>
                  <a:lnTo>
                    <a:pt x="67" y="38"/>
                  </a:lnTo>
                  <a:lnTo>
                    <a:pt x="76" y="29"/>
                  </a:lnTo>
                  <a:lnTo>
                    <a:pt x="67" y="29"/>
                  </a:lnTo>
                  <a:lnTo>
                    <a:pt x="76" y="29"/>
                  </a:lnTo>
                  <a:lnTo>
                    <a:pt x="76" y="19"/>
                  </a:lnTo>
                  <a:lnTo>
                    <a:pt x="76" y="0"/>
                  </a:lnTo>
                  <a:lnTo>
                    <a:pt x="67" y="0"/>
                  </a:lnTo>
                  <a:lnTo>
                    <a:pt x="57" y="0"/>
                  </a:lnTo>
                  <a:lnTo>
                    <a:pt x="67" y="0"/>
                  </a:lnTo>
                  <a:lnTo>
                    <a:pt x="57" y="0"/>
                  </a:lnTo>
                  <a:lnTo>
                    <a:pt x="48" y="0"/>
                  </a:lnTo>
                  <a:lnTo>
                    <a:pt x="29" y="0"/>
                  </a:lnTo>
                  <a:lnTo>
                    <a:pt x="29" y="10"/>
                  </a:lnTo>
                  <a:lnTo>
                    <a:pt x="38" y="10"/>
                  </a:lnTo>
                  <a:lnTo>
                    <a:pt x="48" y="19"/>
                  </a:lnTo>
                  <a:lnTo>
                    <a:pt x="29" y="10"/>
                  </a:lnTo>
                  <a:lnTo>
                    <a:pt x="19" y="10"/>
                  </a:lnTo>
                  <a:lnTo>
                    <a:pt x="10" y="10"/>
                  </a:lnTo>
                  <a:lnTo>
                    <a:pt x="19"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88" name="Freeform 369">
              <a:extLst>
                <a:ext uri="{FF2B5EF4-FFF2-40B4-BE49-F238E27FC236}">
                  <a16:creationId xmlns:a16="http://schemas.microsoft.com/office/drawing/2014/main" id="{27DFDBE5-2B29-4960-BC69-356189452EE0}"/>
                </a:ext>
              </a:extLst>
            </p:cNvPr>
            <p:cNvSpPr>
              <a:spLocks/>
            </p:cNvSpPr>
            <p:nvPr/>
          </p:nvSpPr>
          <p:spPr bwMode="gray">
            <a:xfrm>
              <a:off x="1248" y="1402"/>
              <a:ext cx="76" cy="38"/>
            </a:xfrm>
            <a:custGeom>
              <a:avLst/>
              <a:gdLst>
                <a:gd name="T0" fmla="*/ 19 w 76"/>
                <a:gd name="T1" fmla="*/ 19 h 38"/>
                <a:gd name="T2" fmla="*/ 19 w 76"/>
                <a:gd name="T3" fmla="*/ 19 h 38"/>
                <a:gd name="T4" fmla="*/ 0 w 76"/>
                <a:gd name="T5" fmla="*/ 19 h 38"/>
                <a:gd name="T6" fmla="*/ 0 w 76"/>
                <a:gd name="T7" fmla="*/ 19 h 38"/>
                <a:gd name="T8" fmla="*/ 0 w 76"/>
                <a:gd name="T9" fmla="*/ 29 h 38"/>
                <a:gd name="T10" fmla="*/ 10 w 76"/>
                <a:gd name="T11" fmla="*/ 29 h 38"/>
                <a:gd name="T12" fmla="*/ 19 w 76"/>
                <a:gd name="T13" fmla="*/ 29 h 38"/>
                <a:gd name="T14" fmla="*/ 29 w 76"/>
                <a:gd name="T15" fmla="*/ 29 h 38"/>
                <a:gd name="T16" fmla="*/ 38 w 76"/>
                <a:gd name="T17" fmla="*/ 19 h 38"/>
                <a:gd name="T18" fmla="*/ 48 w 76"/>
                <a:gd name="T19" fmla="*/ 19 h 38"/>
                <a:gd name="T20" fmla="*/ 48 w 76"/>
                <a:gd name="T21" fmla="*/ 29 h 38"/>
                <a:gd name="T22" fmla="*/ 38 w 76"/>
                <a:gd name="T23" fmla="*/ 29 h 38"/>
                <a:gd name="T24" fmla="*/ 29 w 76"/>
                <a:gd name="T25" fmla="*/ 29 h 38"/>
                <a:gd name="T26" fmla="*/ 29 w 76"/>
                <a:gd name="T27" fmla="*/ 29 h 38"/>
                <a:gd name="T28" fmla="*/ 38 w 76"/>
                <a:gd name="T29" fmla="*/ 29 h 38"/>
                <a:gd name="T30" fmla="*/ 38 w 76"/>
                <a:gd name="T31" fmla="*/ 38 h 38"/>
                <a:gd name="T32" fmla="*/ 67 w 76"/>
                <a:gd name="T33" fmla="*/ 38 h 38"/>
                <a:gd name="T34" fmla="*/ 76 w 76"/>
                <a:gd name="T35" fmla="*/ 29 h 38"/>
                <a:gd name="T36" fmla="*/ 67 w 76"/>
                <a:gd name="T37" fmla="*/ 29 h 38"/>
                <a:gd name="T38" fmla="*/ 67 w 76"/>
                <a:gd name="T39" fmla="*/ 29 h 38"/>
                <a:gd name="T40" fmla="*/ 76 w 76"/>
                <a:gd name="T41" fmla="*/ 29 h 38"/>
                <a:gd name="T42" fmla="*/ 76 w 76"/>
                <a:gd name="T43" fmla="*/ 29 h 38"/>
                <a:gd name="T44" fmla="*/ 76 w 76"/>
                <a:gd name="T45" fmla="*/ 19 h 38"/>
                <a:gd name="T46" fmla="*/ 76 w 76"/>
                <a:gd name="T47" fmla="*/ 19 h 38"/>
                <a:gd name="T48" fmla="*/ 76 w 76"/>
                <a:gd name="T49" fmla="*/ 0 h 38"/>
                <a:gd name="T50" fmla="*/ 67 w 76"/>
                <a:gd name="T51" fmla="*/ 0 h 38"/>
                <a:gd name="T52" fmla="*/ 67 w 76"/>
                <a:gd name="T53" fmla="*/ 0 h 38"/>
                <a:gd name="T54" fmla="*/ 57 w 76"/>
                <a:gd name="T55" fmla="*/ 0 h 38"/>
                <a:gd name="T56" fmla="*/ 57 w 76"/>
                <a:gd name="T57" fmla="*/ 0 h 38"/>
                <a:gd name="T58" fmla="*/ 67 w 76"/>
                <a:gd name="T59" fmla="*/ 0 h 38"/>
                <a:gd name="T60" fmla="*/ 57 w 76"/>
                <a:gd name="T61" fmla="*/ 0 h 38"/>
                <a:gd name="T62" fmla="*/ 48 w 76"/>
                <a:gd name="T63" fmla="*/ 0 h 38"/>
                <a:gd name="T64" fmla="*/ 29 w 76"/>
                <a:gd name="T65" fmla="*/ 0 h 38"/>
                <a:gd name="T66" fmla="*/ 29 w 76"/>
                <a:gd name="T67" fmla="*/ 10 h 38"/>
                <a:gd name="T68" fmla="*/ 38 w 76"/>
                <a:gd name="T69" fmla="*/ 10 h 38"/>
                <a:gd name="T70" fmla="*/ 38 w 76"/>
                <a:gd name="T71" fmla="*/ 10 h 38"/>
                <a:gd name="T72" fmla="*/ 48 w 76"/>
                <a:gd name="T73" fmla="*/ 19 h 38"/>
                <a:gd name="T74" fmla="*/ 48 w 76"/>
                <a:gd name="T75" fmla="*/ 19 h 38"/>
                <a:gd name="T76" fmla="*/ 29 w 76"/>
                <a:gd name="T77" fmla="*/ 10 h 38"/>
                <a:gd name="T78" fmla="*/ 29 w 76"/>
                <a:gd name="T79" fmla="*/ 10 h 38"/>
                <a:gd name="T80" fmla="*/ 19 w 76"/>
                <a:gd name="T81" fmla="*/ 10 h 38"/>
                <a:gd name="T82" fmla="*/ 10 w 76"/>
                <a:gd name="T83" fmla="*/ 10 h 38"/>
                <a:gd name="T84" fmla="*/ 10 w 76"/>
                <a:gd name="T85" fmla="*/ 10 h 38"/>
                <a:gd name="T86" fmla="*/ 19 w 76"/>
                <a:gd name="T87" fmla="*/ 19 h 38"/>
                <a:gd name="T88" fmla="*/ 19 w 76"/>
                <a:gd name="T89" fmla="*/ 19 h 3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6"/>
                <a:gd name="T136" fmla="*/ 0 h 38"/>
                <a:gd name="T137" fmla="*/ 76 w 76"/>
                <a:gd name="T138" fmla="*/ 38 h 3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6" h="38">
                  <a:moveTo>
                    <a:pt x="19" y="19"/>
                  </a:moveTo>
                  <a:lnTo>
                    <a:pt x="19" y="19"/>
                  </a:lnTo>
                  <a:lnTo>
                    <a:pt x="0" y="19"/>
                  </a:lnTo>
                  <a:lnTo>
                    <a:pt x="0" y="29"/>
                  </a:lnTo>
                  <a:lnTo>
                    <a:pt x="10" y="29"/>
                  </a:lnTo>
                  <a:lnTo>
                    <a:pt x="19" y="29"/>
                  </a:lnTo>
                  <a:lnTo>
                    <a:pt x="29" y="29"/>
                  </a:lnTo>
                  <a:lnTo>
                    <a:pt x="38" y="19"/>
                  </a:lnTo>
                  <a:lnTo>
                    <a:pt x="48" y="19"/>
                  </a:lnTo>
                  <a:lnTo>
                    <a:pt x="48" y="29"/>
                  </a:lnTo>
                  <a:lnTo>
                    <a:pt x="38" y="29"/>
                  </a:lnTo>
                  <a:lnTo>
                    <a:pt x="29" y="29"/>
                  </a:lnTo>
                  <a:lnTo>
                    <a:pt x="38" y="29"/>
                  </a:lnTo>
                  <a:lnTo>
                    <a:pt x="38" y="38"/>
                  </a:lnTo>
                  <a:lnTo>
                    <a:pt x="67" y="38"/>
                  </a:lnTo>
                  <a:lnTo>
                    <a:pt x="76" y="29"/>
                  </a:lnTo>
                  <a:lnTo>
                    <a:pt x="67" y="29"/>
                  </a:lnTo>
                  <a:lnTo>
                    <a:pt x="76" y="29"/>
                  </a:lnTo>
                  <a:lnTo>
                    <a:pt x="76" y="19"/>
                  </a:lnTo>
                  <a:lnTo>
                    <a:pt x="76" y="0"/>
                  </a:lnTo>
                  <a:lnTo>
                    <a:pt x="67" y="0"/>
                  </a:lnTo>
                  <a:lnTo>
                    <a:pt x="57" y="0"/>
                  </a:lnTo>
                  <a:lnTo>
                    <a:pt x="67" y="0"/>
                  </a:lnTo>
                  <a:lnTo>
                    <a:pt x="57" y="0"/>
                  </a:lnTo>
                  <a:lnTo>
                    <a:pt x="48" y="0"/>
                  </a:lnTo>
                  <a:lnTo>
                    <a:pt x="29" y="0"/>
                  </a:lnTo>
                  <a:lnTo>
                    <a:pt x="29" y="10"/>
                  </a:lnTo>
                  <a:lnTo>
                    <a:pt x="38" y="10"/>
                  </a:lnTo>
                  <a:lnTo>
                    <a:pt x="48" y="19"/>
                  </a:lnTo>
                  <a:lnTo>
                    <a:pt x="29" y="10"/>
                  </a:lnTo>
                  <a:lnTo>
                    <a:pt x="19" y="10"/>
                  </a:lnTo>
                  <a:lnTo>
                    <a:pt x="10" y="10"/>
                  </a:lnTo>
                  <a:lnTo>
                    <a:pt x="19"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89" name="Freeform 370">
              <a:extLst>
                <a:ext uri="{FF2B5EF4-FFF2-40B4-BE49-F238E27FC236}">
                  <a16:creationId xmlns:a16="http://schemas.microsoft.com/office/drawing/2014/main" id="{4B6598D8-737F-4F42-96A0-B2583842BB78}"/>
                </a:ext>
              </a:extLst>
            </p:cNvPr>
            <p:cNvSpPr>
              <a:spLocks/>
            </p:cNvSpPr>
            <p:nvPr/>
          </p:nvSpPr>
          <p:spPr bwMode="gray">
            <a:xfrm>
              <a:off x="1343" y="1431"/>
              <a:ext cx="38" cy="19"/>
            </a:xfrm>
            <a:custGeom>
              <a:avLst/>
              <a:gdLst>
                <a:gd name="T0" fmla="*/ 29 w 38"/>
                <a:gd name="T1" fmla="*/ 0 h 19"/>
                <a:gd name="T2" fmla="*/ 19 w 38"/>
                <a:gd name="T3" fmla="*/ 0 h 19"/>
                <a:gd name="T4" fmla="*/ 19 w 38"/>
                <a:gd name="T5" fmla="*/ 0 h 19"/>
                <a:gd name="T6" fmla="*/ 10 w 38"/>
                <a:gd name="T7" fmla="*/ 0 h 19"/>
                <a:gd name="T8" fmla="*/ 0 w 38"/>
                <a:gd name="T9" fmla="*/ 0 h 19"/>
                <a:gd name="T10" fmla="*/ 0 w 38"/>
                <a:gd name="T11" fmla="*/ 9 h 19"/>
                <a:gd name="T12" fmla="*/ 0 w 38"/>
                <a:gd name="T13" fmla="*/ 19 h 19"/>
                <a:gd name="T14" fmla="*/ 19 w 38"/>
                <a:gd name="T15" fmla="*/ 19 h 19"/>
                <a:gd name="T16" fmla="*/ 29 w 38"/>
                <a:gd name="T17" fmla="*/ 19 h 19"/>
                <a:gd name="T18" fmla="*/ 38 w 38"/>
                <a:gd name="T19" fmla="*/ 19 h 19"/>
                <a:gd name="T20" fmla="*/ 38 w 38"/>
                <a:gd name="T21" fmla="*/ 19 h 19"/>
                <a:gd name="T22" fmla="*/ 38 w 38"/>
                <a:gd name="T23" fmla="*/ 9 h 19"/>
                <a:gd name="T24" fmla="*/ 38 w 38"/>
                <a:gd name="T25" fmla="*/ 9 h 19"/>
                <a:gd name="T26" fmla="*/ 38 w 38"/>
                <a:gd name="T27" fmla="*/ 0 h 19"/>
                <a:gd name="T28" fmla="*/ 38 w 38"/>
                <a:gd name="T29" fmla="*/ 0 h 19"/>
                <a:gd name="T30" fmla="*/ 29 w 38"/>
                <a:gd name="T31" fmla="*/ 0 h 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19"/>
                <a:gd name="T50" fmla="*/ 38 w 38"/>
                <a:gd name="T51" fmla="*/ 19 h 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19">
                  <a:moveTo>
                    <a:pt x="29" y="0"/>
                  </a:moveTo>
                  <a:lnTo>
                    <a:pt x="19" y="0"/>
                  </a:lnTo>
                  <a:lnTo>
                    <a:pt x="10" y="0"/>
                  </a:lnTo>
                  <a:lnTo>
                    <a:pt x="0" y="0"/>
                  </a:lnTo>
                  <a:lnTo>
                    <a:pt x="0" y="9"/>
                  </a:lnTo>
                  <a:lnTo>
                    <a:pt x="0" y="19"/>
                  </a:lnTo>
                  <a:lnTo>
                    <a:pt x="19" y="19"/>
                  </a:lnTo>
                  <a:lnTo>
                    <a:pt x="29" y="19"/>
                  </a:lnTo>
                  <a:lnTo>
                    <a:pt x="38" y="19"/>
                  </a:lnTo>
                  <a:lnTo>
                    <a:pt x="38" y="9"/>
                  </a:lnTo>
                  <a:lnTo>
                    <a:pt x="38" y="0"/>
                  </a:lnTo>
                  <a:lnTo>
                    <a:pt x="2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90" name="Freeform 371">
              <a:extLst>
                <a:ext uri="{FF2B5EF4-FFF2-40B4-BE49-F238E27FC236}">
                  <a16:creationId xmlns:a16="http://schemas.microsoft.com/office/drawing/2014/main" id="{5BB80B05-ED6E-4E9D-B1D8-F078A4E79570}"/>
                </a:ext>
              </a:extLst>
            </p:cNvPr>
            <p:cNvSpPr>
              <a:spLocks/>
            </p:cNvSpPr>
            <p:nvPr/>
          </p:nvSpPr>
          <p:spPr bwMode="gray">
            <a:xfrm>
              <a:off x="1343" y="1431"/>
              <a:ext cx="38" cy="19"/>
            </a:xfrm>
            <a:custGeom>
              <a:avLst/>
              <a:gdLst>
                <a:gd name="T0" fmla="*/ 29 w 38"/>
                <a:gd name="T1" fmla="*/ 0 h 19"/>
                <a:gd name="T2" fmla="*/ 19 w 38"/>
                <a:gd name="T3" fmla="*/ 0 h 19"/>
                <a:gd name="T4" fmla="*/ 19 w 38"/>
                <a:gd name="T5" fmla="*/ 0 h 19"/>
                <a:gd name="T6" fmla="*/ 10 w 38"/>
                <a:gd name="T7" fmla="*/ 0 h 19"/>
                <a:gd name="T8" fmla="*/ 0 w 38"/>
                <a:gd name="T9" fmla="*/ 0 h 19"/>
                <a:gd name="T10" fmla="*/ 0 w 38"/>
                <a:gd name="T11" fmla="*/ 9 h 19"/>
                <a:gd name="T12" fmla="*/ 0 w 38"/>
                <a:gd name="T13" fmla="*/ 19 h 19"/>
                <a:gd name="T14" fmla="*/ 19 w 38"/>
                <a:gd name="T15" fmla="*/ 19 h 19"/>
                <a:gd name="T16" fmla="*/ 29 w 38"/>
                <a:gd name="T17" fmla="*/ 19 h 19"/>
                <a:gd name="T18" fmla="*/ 38 w 38"/>
                <a:gd name="T19" fmla="*/ 19 h 19"/>
                <a:gd name="T20" fmla="*/ 38 w 38"/>
                <a:gd name="T21" fmla="*/ 19 h 19"/>
                <a:gd name="T22" fmla="*/ 38 w 38"/>
                <a:gd name="T23" fmla="*/ 9 h 19"/>
                <a:gd name="T24" fmla="*/ 38 w 38"/>
                <a:gd name="T25" fmla="*/ 9 h 19"/>
                <a:gd name="T26" fmla="*/ 38 w 38"/>
                <a:gd name="T27" fmla="*/ 0 h 19"/>
                <a:gd name="T28" fmla="*/ 38 w 38"/>
                <a:gd name="T29" fmla="*/ 0 h 19"/>
                <a:gd name="T30" fmla="*/ 29 w 38"/>
                <a:gd name="T31" fmla="*/ 0 h 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19"/>
                <a:gd name="T50" fmla="*/ 38 w 38"/>
                <a:gd name="T51" fmla="*/ 19 h 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19">
                  <a:moveTo>
                    <a:pt x="29" y="0"/>
                  </a:moveTo>
                  <a:lnTo>
                    <a:pt x="19" y="0"/>
                  </a:lnTo>
                  <a:lnTo>
                    <a:pt x="10" y="0"/>
                  </a:lnTo>
                  <a:lnTo>
                    <a:pt x="0" y="0"/>
                  </a:lnTo>
                  <a:lnTo>
                    <a:pt x="0" y="9"/>
                  </a:lnTo>
                  <a:lnTo>
                    <a:pt x="0" y="19"/>
                  </a:lnTo>
                  <a:lnTo>
                    <a:pt x="19" y="19"/>
                  </a:lnTo>
                  <a:lnTo>
                    <a:pt x="29" y="19"/>
                  </a:lnTo>
                  <a:lnTo>
                    <a:pt x="38" y="19"/>
                  </a:lnTo>
                  <a:lnTo>
                    <a:pt x="38" y="9"/>
                  </a:lnTo>
                  <a:lnTo>
                    <a:pt x="38" y="0"/>
                  </a:lnTo>
                  <a:lnTo>
                    <a:pt x="2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91" name="Freeform 372">
              <a:extLst>
                <a:ext uri="{FF2B5EF4-FFF2-40B4-BE49-F238E27FC236}">
                  <a16:creationId xmlns:a16="http://schemas.microsoft.com/office/drawing/2014/main" id="{25DDD9CC-8AA0-4E12-8BFB-2B532AD4AC55}"/>
                </a:ext>
              </a:extLst>
            </p:cNvPr>
            <p:cNvSpPr>
              <a:spLocks/>
            </p:cNvSpPr>
            <p:nvPr/>
          </p:nvSpPr>
          <p:spPr bwMode="gray">
            <a:xfrm>
              <a:off x="1334" y="1393"/>
              <a:ext cx="257" cy="66"/>
            </a:xfrm>
            <a:custGeom>
              <a:avLst/>
              <a:gdLst>
                <a:gd name="T0" fmla="*/ 181 w 257"/>
                <a:gd name="T1" fmla="*/ 38 h 66"/>
                <a:gd name="T2" fmla="*/ 200 w 257"/>
                <a:gd name="T3" fmla="*/ 28 h 66"/>
                <a:gd name="T4" fmla="*/ 229 w 257"/>
                <a:gd name="T5" fmla="*/ 28 h 66"/>
                <a:gd name="T6" fmla="*/ 238 w 257"/>
                <a:gd name="T7" fmla="*/ 38 h 66"/>
                <a:gd name="T8" fmla="*/ 257 w 257"/>
                <a:gd name="T9" fmla="*/ 38 h 66"/>
                <a:gd name="T10" fmla="*/ 248 w 257"/>
                <a:gd name="T11" fmla="*/ 47 h 66"/>
                <a:gd name="T12" fmla="*/ 257 w 257"/>
                <a:gd name="T13" fmla="*/ 47 h 66"/>
                <a:gd name="T14" fmla="*/ 248 w 257"/>
                <a:gd name="T15" fmla="*/ 57 h 66"/>
                <a:gd name="T16" fmla="*/ 238 w 257"/>
                <a:gd name="T17" fmla="*/ 57 h 66"/>
                <a:gd name="T18" fmla="*/ 238 w 257"/>
                <a:gd name="T19" fmla="*/ 66 h 66"/>
                <a:gd name="T20" fmla="*/ 229 w 257"/>
                <a:gd name="T21" fmla="*/ 66 h 66"/>
                <a:gd name="T22" fmla="*/ 209 w 257"/>
                <a:gd name="T23" fmla="*/ 57 h 66"/>
                <a:gd name="T24" fmla="*/ 190 w 257"/>
                <a:gd name="T25" fmla="*/ 66 h 66"/>
                <a:gd name="T26" fmla="*/ 181 w 257"/>
                <a:gd name="T27" fmla="*/ 57 h 66"/>
                <a:gd name="T28" fmla="*/ 171 w 257"/>
                <a:gd name="T29" fmla="*/ 66 h 66"/>
                <a:gd name="T30" fmla="*/ 124 w 257"/>
                <a:gd name="T31" fmla="*/ 66 h 66"/>
                <a:gd name="T32" fmla="*/ 124 w 257"/>
                <a:gd name="T33" fmla="*/ 57 h 66"/>
                <a:gd name="T34" fmla="*/ 95 w 257"/>
                <a:gd name="T35" fmla="*/ 57 h 66"/>
                <a:gd name="T36" fmla="*/ 76 w 257"/>
                <a:gd name="T37" fmla="*/ 57 h 66"/>
                <a:gd name="T38" fmla="*/ 76 w 257"/>
                <a:gd name="T39" fmla="*/ 47 h 66"/>
                <a:gd name="T40" fmla="*/ 66 w 257"/>
                <a:gd name="T41" fmla="*/ 38 h 66"/>
                <a:gd name="T42" fmla="*/ 66 w 257"/>
                <a:gd name="T43" fmla="*/ 28 h 66"/>
                <a:gd name="T44" fmla="*/ 47 w 257"/>
                <a:gd name="T45" fmla="*/ 19 h 66"/>
                <a:gd name="T46" fmla="*/ 28 w 257"/>
                <a:gd name="T47" fmla="*/ 19 h 66"/>
                <a:gd name="T48" fmla="*/ 19 w 257"/>
                <a:gd name="T49" fmla="*/ 9 h 66"/>
                <a:gd name="T50" fmla="*/ 0 w 257"/>
                <a:gd name="T51" fmla="*/ 9 h 66"/>
                <a:gd name="T52" fmla="*/ 19 w 257"/>
                <a:gd name="T53" fmla="*/ 0 h 66"/>
                <a:gd name="T54" fmla="*/ 47 w 257"/>
                <a:gd name="T55" fmla="*/ 0 h 66"/>
                <a:gd name="T56" fmla="*/ 47 w 257"/>
                <a:gd name="T57" fmla="*/ 19 h 66"/>
                <a:gd name="T58" fmla="*/ 66 w 257"/>
                <a:gd name="T59" fmla="*/ 9 h 66"/>
                <a:gd name="T60" fmla="*/ 86 w 257"/>
                <a:gd name="T61" fmla="*/ 9 h 66"/>
                <a:gd name="T62" fmla="*/ 95 w 257"/>
                <a:gd name="T63" fmla="*/ 9 h 66"/>
                <a:gd name="T64" fmla="*/ 86 w 257"/>
                <a:gd name="T65" fmla="*/ 9 h 66"/>
                <a:gd name="T66" fmla="*/ 95 w 257"/>
                <a:gd name="T67" fmla="*/ 19 h 66"/>
                <a:gd name="T68" fmla="*/ 114 w 257"/>
                <a:gd name="T69" fmla="*/ 19 h 66"/>
                <a:gd name="T70" fmla="*/ 105 w 257"/>
                <a:gd name="T71" fmla="*/ 19 h 66"/>
                <a:gd name="T72" fmla="*/ 76 w 257"/>
                <a:gd name="T73" fmla="*/ 19 h 66"/>
                <a:gd name="T74" fmla="*/ 86 w 257"/>
                <a:gd name="T75" fmla="*/ 28 h 66"/>
                <a:gd name="T76" fmla="*/ 95 w 257"/>
                <a:gd name="T77" fmla="*/ 28 h 66"/>
                <a:gd name="T78" fmla="*/ 105 w 257"/>
                <a:gd name="T79" fmla="*/ 38 h 66"/>
                <a:gd name="T80" fmla="*/ 124 w 257"/>
                <a:gd name="T81" fmla="*/ 38 h 66"/>
                <a:gd name="T82" fmla="*/ 124 w 257"/>
                <a:gd name="T83" fmla="*/ 28 h 66"/>
                <a:gd name="T84" fmla="*/ 143 w 257"/>
                <a:gd name="T85" fmla="*/ 38 h 66"/>
                <a:gd name="T86" fmla="*/ 143 w 257"/>
                <a:gd name="T87" fmla="*/ 38 h 66"/>
                <a:gd name="T88" fmla="*/ 162 w 257"/>
                <a:gd name="T89" fmla="*/ 38 h 66"/>
                <a:gd name="T90" fmla="*/ 162 w 257"/>
                <a:gd name="T91" fmla="*/ 38 h 6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57"/>
                <a:gd name="T139" fmla="*/ 0 h 66"/>
                <a:gd name="T140" fmla="*/ 257 w 257"/>
                <a:gd name="T141" fmla="*/ 66 h 6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57" h="66">
                  <a:moveTo>
                    <a:pt x="171" y="38"/>
                  </a:moveTo>
                  <a:lnTo>
                    <a:pt x="181" y="38"/>
                  </a:lnTo>
                  <a:lnTo>
                    <a:pt x="200" y="28"/>
                  </a:lnTo>
                  <a:lnTo>
                    <a:pt x="209" y="28"/>
                  </a:lnTo>
                  <a:lnTo>
                    <a:pt x="229" y="28"/>
                  </a:lnTo>
                  <a:lnTo>
                    <a:pt x="238" y="28"/>
                  </a:lnTo>
                  <a:lnTo>
                    <a:pt x="238" y="38"/>
                  </a:lnTo>
                  <a:lnTo>
                    <a:pt x="248" y="28"/>
                  </a:lnTo>
                  <a:lnTo>
                    <a:pt x="257" y="38"/>
                  </a:lnTo>
                  <a:lnTo>
                    <a:pt x="248" y="47"/>
                  </a:lnTo>
                  <a:lnTo>
                    <a:pt x="257" y="47"/>
                  </a:lnTo>
                  <a:lnTo>
                    <a:pt x="257" y="57"/>
                  </a:lnTo>
                  <a:lnTo>
                    <a:pt x="248" y="57"/>
                  </a:lnTo>
                  <a:lnTo>
                    <a:pt x="248" y="47"/>
                  </a:lnTo>
                  <a:lnTo>
                    <a:pt x="238" y="57"/>
                  </a:lnTo>
                  <a:lnTo>
                    <a:pt x="248" y="57"/>
                  </a:lnTo>
                  <a:lnTo>
                    <a:pt x="238" y="66"/>
                  </a:lnTo>
                  <a:lnTo>
                    <a:pt x="229" y="66"/>
                  </a:lnTo>
                  <a:lnTo>
                    <a:pt x="209" y="66"/>
                  </a:lnTo>
                  <a:lnTo>
                    <a:pt x="209" y="57"/>
                  </a:lnTo>
                  <a:lnTo>
                    <a:pt x="200" y="57"/>
                  </a:lnTo>
                  <a:lnTo>
                    <a:pt x="190" y="66"/>
                  </a:lnTo>
                  <a:lnTo>
                    <a:pt x="181" y="66"/>
                  </a:lnTo>
                  <a:lnTo>
                    <a:pt x="181" y="57"/>
                  </a:lnTo>
                  <a:lnTo>
                    <a:pt x="171" y="57"/>
                  </a:lnTo>
                  <a:lnTo>
                    <a:pt x="171" y="66"/>
                  </a:lnTo>
                  <a:lnTo>
                    <a:pt x="152" y="66"/>
                  </a:lnTo>
                  <a:lnTo>
                    <a:pt x="124" y="66"/>
                  </a:lnTo>
                  <a:lnTo>
                    <a:pt x="133" y="57"/>
                  </a:lnTo>
                  <a:lnTo>
                    <a:pt x="124" y="57"/>
                  </a:lnTo>
                  <a:lnTo>
                    <a:pt x="105" y="66"/>
                  </a:lnTo>
                  <a:lnTo>
                    <a:pt x="95" y="57"/>
                  </a:lnTo>
                  <a:lnTo>
                    <a:pt x="76" y="57"/>
                  </a:lnTo>
                  <a:lnTo>
                    <a:pt x="66" y="47"/>
                  </a:lnTo>
                  <a:lnTo>
                    <a:pt x="76" y="47"/>
                  </a:lnTo>
                  <a:lnTo>
                    <a:pt x="76" y="38"/>
                  </a:lnTo>
                  <a:lnTo>
                    <a:pt x="66" y="38"/>
                  </a:lnTo>
                  <a:lnTo>
                    <a:pt x="76" y="28"/>
                  </a:lnTo>
                  <a:lnTo>
                    <a:pt x="66" y="28"/>
                  </a:lnTo>
                  <a:lnTo>
                    <a:pt x="57" y="19"/>
                  </a:lnTo>
                  <a:lnTo>
                    <a:pt x="47" y="19"/>
                  </a:lnTo>
                  <a:lnTo>
                    <a:pt x="38" y="19"/>
                  </a:lnTo>
                  <a:lnTo>
                    <a:pt x="28" y="19"/>
                  </a:lnTo>
                  <a:lnTo>
                    <a:pt x="28" y="9"/>
                  </a:lnTo>
                  <a:lnTo>
                    <a:pt x="19" y="9"/>
                  </a:lnTo>
                  <a:lnTo>
                    <a:pt x="9" y="9"/>
                  </a:lnTo>
                  <a:lnTo>
                    <a:pt x="0" y="9"/>
                  </a:lnTo>
                  <a:lnTo>
                    <a:pt x="9" y="0"/>
                  </a:lnTo>
                  <a:lnTo>
                    <a:pt x="19" y="0"/>
                  </a:lnTo>
                  <a:lnTo>
                    <a:pt x="38" y="0"/>
                  </a:lnTo>
                  <a:lnTo>
                    <a:pt x="47" y="0"/>
                  </a:lnTo>
                  <a:lnTo>
                    <a:pt x="47" y="19"/>
                  </a:lnTo>
                  <a:lnTo>
                    <a:pt x="57" y="9"/>
                  </a:lnTo>
                  <a:lnTo>
                    <a:pt x="66" y="9"/>
                  </a:lnTo>
                  <a:lnTo>
                    <a:pt x="76" y="9"/>
                  </a:lnTo>
                  <a:lnTo>
                    <a:pt x="86" y="9"/>
                  </a:lnTo>
                  <a:lnTo>
                    <a:pt x="95" y="9"/>
                  </a:lnTo>
                  <a:lnTo>
                    <a:pt x="86" y="9"/>
                  </a:lnTo>
                  <a:lnTo>
                    <a:pt x="86" y="19"/>
                  </a:lnTo>
                  <a:lnTo>
                    <a:pt x="95" y="19"/>
                  </a:lnTo>
                  <a:lnTo>
                    <a:pt x="105" y="19"/>
                  </a:lnTo>
                  <a:lnTo>
                    <a:pt x="114" y="19"/>
                  </a:lnTo>
                  <a:lnTo>
                    <a:pt x="105" y="19"/>
                  </a:lnTo>
                  <a:lnTo>
                    <a:pt x="95" y="19"/>
                  </a:lnTo>
                  <a:lnTo>
                    <a:pt x="76" y="19"/>
                  </a:lnTo>
                  <a:lnTo>
                    <a:pt x="95" y="19"/>
                  </a:lnTo>
                  <a:lnTo>
                    <a:pt x="86" y="28"/>
                  </a:lnTo>
                  <a:lnTo>
                    <a:pt x="95" y="28"/>
                  </a:lnTo>
                  <a:lnTo>
                    <a:pt x="105" y="28"/>
                  </a:lnTo>
                  <a:lnTo>
                    <a:pt x="105" y="38"/>
                  </a:lnTo>
                  <a:lnTo>
                    <a:pt x="114" y="38"/>
                  </a:lnTo>
                  <a:lnTo>
                    <a:pt x="124" y="38"/>
                  </a:lnTo>
                  <a:lnTo>
                    <a:pt x="124" y="28"/>
                  </a:lnTo>
                  <a:lnTo>
                    <a:pt x="133" y="38"/>
                  </a:lnTo>
                  <a:lnTo>
                    <a:pt x="143" y="38"/>
                  </a:lnTo>
                  <a:lnTo>
                    <a:pt x="152" y="38"/>
                  </a:lnTo>
                  <a:lnTo>
                    <a:pt x="162" y="38"/>
                  </a:lnTo>
                  <a:lnTo>
                    <a:pt x="171"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92" name="Freeform 373">
              <a:extLst>
                <a:ext uri="{FF2B5EF4-FFF2-40B4-BE49-F238E27FC236}">
                  <a16:creationId xmlns:a16="http://schemas.microsoft.com/office/drawing/2014/main" id="{A355E1E3-610B-4E0B-8691-5202DF05DE03}"/>
                </a:ext>
              </a:extLst>
            </p:cNvPr>
            <p:cNvSpPr>
              <a:spLocks/>
            </p:cNvSpPr>
            <p:nvPr/>
          </p:nvSpPr>
          <p:spPr bwMode="gray">
            <a:xfrm>
              <a:off x="1334" y="1393"/>
              <a:ext cx="257" cy="66"/>
            </a:xfrm>
            <a:custGeom>
              <a:avLst/>
              <a:gdLst>
                <a:gd name="T0" fmla="*/ 181 w 257"/>
                <a:gd name="T1" fmla="*/ 38 h 66"/>
                <a:gd name="T2" fmla="*/ 200 w 257"/>
                <a:gd name="T3" fmla="*/ 28 h 66"/>
                <a:gd name="T4" fmla="*/ 229 w 257"/>
                <a:gd name="T5" fmla="*/ 28 h 66"/>
                <a:gd name="T6" fmla="*/ 238 w 257"/>
                <a:gd name="T7" fmla="*/ 38 h 66"/>
                <a:gd name="T8" fmla="*/ 257 w 257"/>
                <a:gd name="T9" fmla="*/ 38 h 66"/>
                <a:gd name="T10" fmla="*/ 248 w 257"/>
                <a:gd name="T11" fmla="*/ 47 h 66"/>
                <a:gd name="T12" fmla="*/ 257 w 257"/>
                <a:gd name="T13" fmla="*/ 47 h 66"/>
                <a:gd name="T14" fmla="*/ 248 w 257"/>
                <a:gd name="T15" fmla="*/ 57 h 66"/>
                <a:gd name="T16" fmla="*/ 238 w 257"/>
                <a:gd name="T17" fmla="*/ 57 h 66"/>
                <a:gd name="T18" fmla="*/ 238 w 257"/>
                <a:gd name="T19" fmla="*/ 66 h 66"/>
                <a:gd name="T20" fmla="*/ 229 w 257"/>
                <a:gd name="T21" fmla="*/ 66 h 66"/>
                <a:gd name="T22" fmla="*/ 209 w 257"/>
                <a:gd name="T23" fmla="*/ 57 h 66"/>
                <a:gd name="T24" fmla="*/ 190 w 257"/>
                <a:gd name="T25" fmla="*/ 66 h 66"/>
                <a:gd name="T26" fmla="*/ 181 w 257"/>
                <a:gd name="T27" fmla="*/ 57 h 66"/>
                <a:gd name="T28" fmla="*/ 171 w 257"/>
                <a:gd name="T29" fmla="*/ 66 h 66"/>
                <a:gd name="T30" fmla="*/ 124 w 257"/>
                <a:gd name="T31" fmla="*/ 66 h 66"/>
                <a:gd name="T32" fmla="*/ 124 w 257"/>
                <a:gd name="T33" fmla="*/ 57 h 66"/>
                <a:gd name="T34" fmla="*/ 95 w 257"/>
                <a:gd name="T35" fmla="*/ 57 h 66"/>
                <a:gd name="T36" fmla="*/ 76 w 257"/>
                <a:gd name="T37" fmla="*/ 57 h 66"/>
                <a:gd name="T38" fmla="*/ 76 w 257"/>
                <a:gd name="T39" fmla="*/ 47 h 66"/>
                <a:gd name="T40" fmla="*/ 66 w 257"/>
                <a:gd name="T41" fmla="*/ 38 h 66"/>
                <a:gd name="T42" fmla="*/ 66 w 257"/>
                <a:gd name="T43" fmla="*/ 28 h 66"/>
                <a:gd name="T44" fmla="*/ 47 w 257"/>
                <a:gd name="T45" fmla="*/ 19 h 66"/>
                <a:gd name="T46" fmla="*/ 28 w 257"/>
                <a:gd name="T47" fmla="*/ 19 h 66"/>
                <a:gd name="T48" fmla="*/ 19 w 257"/>
                <a:gd name="T49" fmla="*/ 9 h 66"/>
                <a:gd name="T50" fmla="*/ 0 w 257"/>
                <a:gd name="T51" fmla="*/ 9 h 66"/>
                <a:gd name="T52" fmla="*/ 19 w 257"/>
                <a:gd name="T53" fmla="*/ 0 h 66"/>
                <a:gd name="T54" fmla="*/ 47 w 257"/>
                <a:gd name="T55" fmla="*/ 0 h 66"/>
                <a:gd name="T56" fmla="*/ 47 w 257"/>
                <a:gd name="T57" fmla="*/ 19 h 66"/>
                <a:gd name="T58" fmla="*/ 66 w 257"/>
                <a:gd name="T59" fmla="*/ 9 h 66"/>
                <a:gd name="T60" fmla="*/ 86 w 257"/>
                <a:gd name="T61" fmla="*/ 9 h 66"/>
                <a:gd name="T62" fmla="*/ 95 w 257"/>
                <a:gd name="T63" fmla="*/ 9 h 66"/>
                <a:gd name="T64" fmla="*/ 86 w 257"/>
                <a:gd name="T65" fmla="*/ 9 h 66"/>
                <a:gd name="T66" fmla="*/ 95 w 257"/>
                <a:gd name="T67" fmla="*/ 19 h 66"/>
                <a:gd name="T68" fmla="*/ 114 w 257"/>
                <a:gd name="T69" fmla="*/ 19 h 66"/>
                <a:gd name="T70" fmla="*/ 105 w 257"/>
                <a:gd name="T71" fmla="*/ 19 h 66"/>
                <a:gd name="T72" fmla="*/ 76 w 257"/>
                <a:gd name="T73" fmla="*/ 19 h 66"/>
                <a:gd name="T74" fmla="*/ 86 w 257"/>
                <a:gd name="T75" fmla="*/ 28 h 66"/>
                <a:gd name="T76" fmla="*/ 95 w 257"/>
                <a:gd name="T77" fmla="*/ 28 h 66"/>
                <a:gd name="T78" fmla="*/ 105 w 257"/>
                <a:gd name="T79" fmla="*/ 38 h 66"/>
                <a:gd name="T80" fmla="*/ 124 w 257"/>
                <a:gd name="T81" fmla="*/ 38 h 66"/>
                <a:gd name="T82" fmla="*/ 124 w 257"/>
                <a:gd name="T83" fmla="*/ 28 h 66"/>
                <a:gd name="T84" fmla="*/ 143 w 257"/>
                <a:gd name="T85" fmla="*/ 38 h 66"/>
                <a:gd name="T86" fmla="*/ 143 w 257"/>
                <a:gd name="T87" fmla="*/ 38 h 66"/>
                <a:gd name="T88" fmla="*/ 162 w 257"/>
                <a:gd name="T89" fmla="*/ 38 h 66"/>
                <a:gd name="T90" fmla="*/ 162 w 257"/>
                <a:gd name="T91" fmla="*/ 38 h 6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57"/>
                <a:gd name="T139" fmla="*/ 0 h 66"/>
                <a:gd name="T140" fmla="*/ 257 w 257"/>
                <a:gd name="T141" fmla="*/ 66 h 6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57" h="66">
                  <a:moveTo>
                    <a:pt x="171" y="38"/>
                  </a:moveTo>
                  <a:lnTo>
                    <a:pt x="181" y="38"/>
                  </a:lnTo>
                  <a:lnTo>
                    <a:pt x="200" y="28"/>
                  </a:lnTo>
                  <a:lnTo>
                    <a:pt x="209" y="28"/>
                  </a:lnTo>
                  <a:lnTo>
                    <a:pt x="229" y="28"/>
                  </a:lnTo>
                  <a:lnTo>
                    <a:pt x="238" y="28"/>
                  </a:lnTo>
                  <a:lnTo>
                    <a:pt x="238" y="38"/>
                  </a:lnTo>
                  <a:lnTo>
                    <a:pt x="248" y="28"/>
                  </a:lnTo>
                  <a:lnTo>
                    <a:pt x="257" y="38"/>
                  </a:lnTo>
                  <a:lnTo>
                    <a:pt x="248" y="47"/>
                  </a:lnTo>
                  <a:lnTo>
                    <a:pt x="257" y="47"/>
                  </a:lnTo>
                  <a:lnTo>
                    <a:pt x="257" y="57"/>
                  </a:lnTo>
                  <a:lnTo>
                    <a:pt x="248" y="57"/>
                  </a:lnTo>
                  <a:lnTo>
                    <a:pt x="248" y="47"/>
                  </a:lnTo>
                  <a:lnTo>
                    <a:pt x="238" y="57"/>
                  </a:lnTo>
                  <a:lnTo>
                    <a:pt x="248" y="57"/>
                  </a:lnTo>
                  <a:lnTo>
                    <a:pt x="238" y="66"/>
                  </a:lnTo>
                  <a:lnTo>
                    <a:pt x="229" y="66"/>
                  </a:lnTo>
                  <a:lnTo>
                    <a:pt x="209" y="66"/>
                  </a:lnTo>
                  <a:lnTo>
                    <a:pt x="209" y="57"/>
                  </a:lnTo>
                  <a:lnTo>
                    <a:pt x="200" y="57"/>
                  </a:lnTo>
                  <a:lnTo>
                    <a:pt x="190" y="66"/>
                  </a:lnTo>
                  <a:lnTo>
                    <a:pt x="181" y="66"/>
                  </a:lnTo>
                  <a:lnTo>
                    <a:pt x="181" y="57"/>
                  </a:lnTo>
                  <a:lnTo>
                    <a:pt x="171" y="57"/>
                  </a:lnTo>
                  <a:lnTo>
                    <a:pt x="171" y="66"/>
                  </a:lnTo>
                  <a:lnTo>
                    <a:pt x="152" y="66"/>
                  </a:lnTo>
                  <a:lnTo>
                    <a:pt x="124" y="66"/>
                  </a:lnTo>
                  <a:lnTo>
                    <a:pt x="133" y="57"/>
                  </a:lnTo>
                  <a:lnTo>
                    <a:pt x="124" y="57"/>
                  </a:lnTo>
                  <a:lnTo>
                    <a:pt x="105" y="66"/>
                  </a:lnTo>
                  <a:lnTo>
                    <a:pt x="95" y="57"/>
                  </a:lnTo>
                  <a:lnTo>
                    <a:pt x="76" y="57"/>
                  </a:lnTo>
                  <a:lnTo>
                    <a:pt x="66" y="47"/>
                  </a:lnTo>
                  <a:lnTo>
                    <a:pt x="76" y="47"/>
                  </a:lnTo>
                  <a:lnTo>
                    <a:pt x="76" y="38"/>
                  </a:lnTo>
                  <a:lnTo>
                    <a:pt x="66" y="38"/>
                  </a:lnTo>
                  <a:lnTo>
                    <a:pt x="76" y="28"/>
                  </a:lnTo>
                  <a:lnTo>
                    <a:pt x="66" y="28"/>
                  </a:lnTo>
                  <a:lnTo>
                    <a:pt x="57" y="19"/>
                  </a:lnTo>
                  <a:lnTo>
                    <a:pt x="47" y="19"/>
                  </a:lnTo>
                  <a:lnTo>
                    <a:pt x="38" y="19"/>
                  </a:lnTo>
                  <a:lnTo>
                    <a:pt x="28" y="19"/>
                  </a:lnTo>
                  <a:lnTo>
                    <a:pt x="28" y="9"/>
                  </a:lnTo>
                  <a:lnTo>
                    <a:pt x="19" y="9"/>
                  </a:lnTo>
                  <a:lnTo>
                    <a:pt x="9" y="9"/>
                  </a:lnTo>
                  <a:lnTo>
                    <a:pt x="0" y="9"/>
                  </a:lnTo>
                  <a:lnTo>
                    <a:pt x="9" y="0"/>
                  </a:lnTo>
                  <a:lnTo>
                    <a:pt x="19" y="0"/>
                  </a:lnTo>
                  <a:lnTo>
                    <a:pt x="38" y="0"/>
                  </a:lnTo>
                  <a:lnTo>
                    <a:pt x="47" y="0"/>
                  </a:lnTo>
                  <a:lnTo>
                    <a:pt x="47" y="19"/>
                  </a:lnTo>
                  <a:lnTo>
                    <a:pt x="57" y="9"/>
                  </a:lnTo>
                  <a:lnTo>
                    <a:pt x="66" y="9"/>
                  </a:lnTo>
                  <a:lnTo>
                    <a:pt x="76" y="9"/>
                  </a:lnTo>
                  <a:lnTo>
                    <a:pt x="86" y="9"/>
                  </a:lnTo>
                  <a:lnTo>
                    <a:pt x="95" y="9"/>
                  </a:lnTo>
                  <a:lnTo>
                    <a:pt x="86" y="9"/>
                  </a:lnTo>
                  <a:lnTo>
                    <a:pt x="86" y="19"/>
                  </a:lnTo>
                  <a:lnTo>
                    <a:pt x="95" y="19"/>
                  </a:lnTo>
                  <a:lnTo>
                    <a:pt x="105" y="19"/>
                  </a:lnTo>
                  <a:lnTo>
                    <a:pt x="114" y="19"/>
                  </a:lnTo>
                  <a:lnTo>
                    <a:pt x="105" y="19"/>
                  </a:lnTo>
                  <a:lnTo>
                    <a:pt x="95" y="19"/>
                  </a:lnTo>
                  <a:lnTo>
                    <a:pt x="76" y="19"/>
                  </a:lnTo>
                  <a:lnTo>
                    <a:pt x="95" y="19"/>
                  </a:lnTo>
                  <a:lnTo>
                    <a:pt x="86" y="28"/>
                  </a:lnTo>
                  <a:lnTo>
                    <a:pt x="95" y="28"/>
                  </a:lnTo>
                  <a:lnTo>
                    <a:pt x="105" y="28"/>
                  </a:lnTo>
                  <a:lnTo>
                    <a:pt x="105" y="38"/>
                  </a:lnTo>
                  <a:lnTo>
                    <a:pt x="114" y="38"/>
                  </a:lnTo>
                  <a:lnTo>
                    <a:pt x="124" y="38"/>
                  </a:lnTo>
                  <a:lnTo>
                    <a:pt x="124" y="28"/>
                  </a:lnTo>
                  <a:lnTo>
                    <a:pt x="133" y="38"/>
                  </a:lnTo>
                  <a:lnTo>
                    <a:pt x="143" y="38"/>
                  </a:lnTo>
                  <a:lnTo>
                    <a:pt x="152" y="38"/>
                  </a:lnTo>
                  <a:lnTo>
                    <a:pt x="162" y="38"/>
                  </a:lnTo>
                  <a:lnTo>
                    <a:pt x="171"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93" name="Freeform 374">
              <a:extLst>
                <a:ext uri="{FF2B5EF4-FFF2-40B4-BE49-F238E27FC236}">
                  <a16:creationId xmlns:a16="http://schemas.microsoft.com/office/drawing/2014/main" id="{47513696-63D9-4491-ACF1-A74CCAEF8E1E}"/>
                </a:ext>
              </a:extLst>
            </p:cNvPr>
            <p:cNvSpPr>
              <a:spLocks/>
            </p:cNvSpPr>
            <p:nvPr/>
          </p:nvSpPr>
          <p:spPr bwMode="gray">
            <a:xfrm>
              <a:off x="1315" y="1335"/>
              <a:ext cx="57" cy="39"/>
            </a:xfrm>
            <a:custGeom>
              <a:avLst/>
              <a:gdLst>
                <a:gd name="T0" fmla="*/ 19 w 57"/>
                <a:gd name="T1" fmla="*/ 0 h 39"/>
                <a:gd name="T2" fmla="*/ 28 w 57"/>
                <a:gd name="T3" fmla="*/ 10 h 39"/>
                <a:gd name="T4" fmla="*/ 47 w 57"/>
                <a:gd name="T5" fmla="*/ 20 h 39"/>
                <a:gd name="T6" fmla="*/ 57 w 57"/>
                <a:gd name="T7" fmla="*/ 20 h 39"/>
                <a:gd name="T8" fmla="*/ 57 w 57"/>
                <a:gd name="T9" fmla="*/ 20 h 39"/>
                <a:gd name="T10" fmla="*/ 47 w 57"/>
                <a:gd name="T11" fmla="*/ 20 h 39"/>
                <a:gd name="T12" fmla="*/ 47 w 57"/>
                <a:gd name="T13" fmla="*/ 20 h 39"/>
                <a:gd name="T14" fmla="*/ 57 w 57"/>
                <a:gd name="T15" fmla="*/ 29 h 39"/>
                <a:gd name="T16" fmla="*/ 47 w 57"/>
                <a:gd name="T17" fmla="*/ 29 h 39"/>
                <a:gd name="T18" fmla="*/ 38 w 57"/>
                <a:gd name="T19" fmla="*/ 29 h 39"/>
                <a:gd name="T20" fmla="*/ 28 w 57"/>
                <a:gd name="T21" fmla="*/ 39 h 39"/>
                <a:gd name="T22" fmla="*/ 19 w 57"/>
                <a:gd name="T23" fmla="*/ 39 h 39"/>
                <a:gd name="T24" fmla="*/ 19 w 57"/>
                <a:gd name="T25" fmla="*/ 39 h 39"/>
                <a:gd name="T26" fmla="*/ 19 w 57"/>
                <a:gd name="T27" fmla="*/ 29 h 39"/>
                <a:gd name="T28" fmla="*/ 9 w 57"/>
                <a:gd name="T29" fmla="*/ 29 h 39"/>
                <a:gd name="T30" fmla="*/ 9 w 57"/>
                <a:gd name="T31" fmla="*/ 29 h 39"/>
                <a:gd name="T32" fmla="*/ 19 w 57"/>
                <a:gd name="T33" fmla="*/ 29 h 39"/>
                <a:gd name="T34" fmla="*/ 19 w 57"/>
                <a:gd name="T35" fmla="*/ 29 h 39"/>
                <a:gd name="T36" fmla="*/ 19 w 57"/>
                <a:gd name="T37" fmla="*/ 20 h 39"/>
                <a:gd name="T38" fmla="*/ 9 w 57"/>
                <a:gd name="T39" fmla="*/ 20 h 39"/>
                <a:gd name="T40" fmla="*/ 9 w 57"/>
                <a:gd name="T41" fmla="*/ 10 h 39"/>
                <a:gd name="T42" fmla="*/ 9 w 57"/>
                <a:gd name="T43" fmla="*/ 10 h 39"/>
                <a:gd name="T44" fmla="*/ 0 w 57"/>
                <a:gd name="T45" fmla="*/ 10 h 39"/>
                <a:gd name="T46" fmla="*/ 9 w 57"/>
                <a:gd name="T47" fmla="*/ 0 h 39"/>
                <a:gd name="T48" fmla="*/ 19 w 57"/>
                <a:gd name="T49" fmla="*/ 0 h 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7"/>
                <a:gd name="T76" fmla="*/ 0 h 39"/>
                <a:gd name="T77" fmla="*/ 57 w 57"/>
                <a:gd name="T78" fmla="*/ 39 h 3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7" h="39">
                  <a:moveTo>
                    <a:pt x="19" y="0"/>
                  </a:moveTo>
                  <a:lnTo>
                    <a:pt x="28" y="10"/>
                  </a:lnTo>
                  <a:lnTo>
                    <a:pt x="47" y="20"/>
                  </a:lnTo>
                  <a:lnTo>
                    <a:pt x="57" y="20"/>
                  </a:lnTo>
                  <a:lnTo>
                    <a:pt x="47" y="20"/>
                  </a:lnTo>
                  <a:lnTo>
                    <a:pt x="57" y="29"/>
                  </a:lnTo>
                  <a:lnTo>
                    <a:pt x="47" y="29"/>
                  </a:lnTo>
                  <a:lnTo>
                    <a:pt x="38" y="29"/>
                  </a:lnTo>
                  <a:lnTo>
                    <a:pt x="28" y="39"/>
                  </a:lnTo>
                  <a:lnTo>
                    <a:pt x="19" y="39"/>
                  </a:lnTo>
                  <a:lnTo>
                    <a:pt x="19" y="29"/>
                  </a:lnTo>
                  <a:lnTo>
                    <a:pt x="9" y="29"/>
                  </a:lnTo>
                  <a:lnTo>
                    <a:pt x="19" y="29"/>
                  </a:lnTo>
                  <a:lnTo>
                    <a:pt x="19" y="20"/>
                  </a:lnTo>
                  <a:lnTo>
                    <a:pt x="9" y="20"/>
                  </a:lnTo>
                  <a:lnTo>
                    <a:pt x="9" y="10"/>
                  </a:lnTo>
                  <a:lnTo>
                    <a:pt x="0" y="10"/>
                  </a:lnTo>
                  <a:lnTo>
                    <a:pt x="9" y="0"/>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94" name="Freeform 375">
              <a:extLst>
                <a:ext uri="{FF2B5EF4-FFF2-40B4-BE49-F238E27FC236}">
                  <a16:creationId xmlns:a16="http://schemas.microsoft.com/office/drawing/2014/main" id="{E4835977-65ED-48CB-B833-B0318920D82B}"/>
                </a:ext>
              </a:extLst>
            </p:cNvPr>
            <p:cNvSpPr>
              <a:spLocks/>
            </p:cNvSpPr>
            <p:nvPr/>
          </p:nvSpPr>
          <p:spPr bwMode="gray">
            <a:xfrm>
              <a:off x="1315" y="1335"/>
              <a:ext cx="57" cy="39"/>
            </a:xfrm>
            <a:custGeom>
              <a:avLst/>
              <a:gdLst>
                <a:gd name="T0" fmla="*/ 19 w 57"/>
                <a:gd name="T1" fmla="*/ 0 h 39"/>
                <a:gd name="T2" fmla="*/ 28 w 57"/>
                <a:gd name="T3" fmla="*/ 10 h 39"/>
                <a:gd name="T4" fmla="*/ 47 w 57"/>
                <a:gd name="T5" fmla="*/ 20 h 39"/>
                <a:gd name="T6" fmla="*/ 57 w 57"/>
                <a:gd name="T7" fmla="*/ 20 h 39"/>
                <a:gd name="T8" fmla="*/ 57 w 57"/>
                <a:gd name="T9" fmla="*/ 20 h 39"/>
                <a:gd name="T10" fmla="*/ 47 w 57"/>
                <a:gd name="T11" fmla="*/ 20 h 39"/>
                <a:gd name="T12" fmla="*/ 47 w 57"/>
                <a:gd name="T13" fmla="*/ 20 h 39"/>
                <a:gd name="T14" fmla="*/ 57 w 57"/>
                <a:gd name="T15" fmla="*/ 29 h 39"/>
                <a:gd name="T16" fmla="*/ 47 w 57"/>
                <a:gd name="T17" fmla="*/ 29 h 39"/>
                <a:gd name="T18" fmla="*/ 38 w 57"/>
                <a:gd name="T19" fmla="*/ 29 h 39"/>
                <a:gd name="T20" fmla="*/ 28 w 57"/>
                <a:gd name="T21" fmla="*/ 39 h 39"/>
                <a:gd name="T22" fmla="*/ 19 w 57"/>
                <a:gd name="T23" fmla="*/ 39 h 39"/>
                <a:gd name="T24" fmla="*/ 19 w 57"/>
                <a:gd name="T25" fmla="*/ 39 h 39"/>
                <a:gd name="T26" fmla="*/ 19 w 57"/>
                <a:gd name="T27" fmla="*/ 29 h 39"/>
                <a:gd name="T28" fmla="*/ 9 w 57"/>
                <a:gd name="T29" fmla="*/ 29 h 39"/>
                <a:gd name="T30" fmla="*/ 9 w 57"/>
                <a:gd name="T31" fmla="*/ 29 h 39"/>
                <a:gd name="T32" fmla="*/ 19 w 57"/>
                <a:gd name="T33" fmla="*/ 29 h 39"/>
                <a:gd name="T34" fmla="*/ 19 w 57"/>
                <a:gd name="T35" fmla="*/ 29 h 39"/>
                <a:gd name="T36" fmla="*/ 19 w 57"/>
                <a:gd name="T37" fmla="*/ 20 h 39"/>
                <a:gd name="T38" fmla="*/ 9 w 57"/>
                <a:gd name="T39" fmla="*/ 20 h 39"/>
                <a:gd name="T40" fmla="*/ 9 w 57"/>
                <a:gd name="T41" fmla="*/ 10 h 39"/>
                <a:gd name="T42" fmla="*/ 9 w 57"/>
                <a:gd name="T43" fmla="*/ 10 h 39"/>
                <a:gd name="T44" fmla="*/ 0 w 57"/>
                <a:gd name="T45" fmla="*/ 10 h 39"/>
                <a:gd name="T46" fmla="*/ 9 w 57"/>
                <a:gd name="T47" fmla="*/ 0 h 39"/>
                <a:gd name="T48" fmla="*/ 19 w 57"/>
                <a:gd name="T49" fmla="*/ 0 h 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7"/>
                <a:gd name="T76" fmla="*/ 0 h 39"/>
                <a:gd name="T77" fmla="*/ 57 w 57"/>
                <a:gd name="T78" fmla="*/ 39 h 3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7" h="39">
                  <a:moveTo>
                    <a:pt x="19" y="0"/>
                  </a:moveTo>
                  <a:lnTo>
                    <a:pt x="28" y="10"/>
                  </a:lnTo>
                  <a:lnTo>
                    <a:pt x="47" y="20"/>
                  </a:lnTo>
                  <a:lnTo>
                    <a:pt x="57" y="20"/>
                  </a:lnTo>
                  <a:lnTo>
                    <a:pt x="47" y="20"/>
                  </a:lnTo>
                  <a:lnTo>
                    <a:pt x="57" y="29"/>
                  </a:lnTo>
                  <a:lnTo>
                    <a:pt x="47" y="29"/>
                  </a:lnTo>
                  <a:lnTo>
                    <a:pt x="38" y="29"/>
                  </a:lnTo>
                  <a:lnTo>
                    <a:pt x="28" y="39"/>
                  </a:lnTo>
                  <a:lnTo>
                    <a:pt x="19" y="39"/>
                  </a:lnTo>
                  <a:lnTo>
                    <a:pt x="19" y="29"/>
                  </a:lnTo>
                  <a:lnTo>
                    <a:pt x="9" y="29"/>
                  </a:lnTo>
                  <a:lnTo>
                    <a:pt x="19" y="29"/>
                  </a:lnTo>
                  <a:lnTo>
                    <a:pt x="19" y="20"/>
                  </a:lnTo>
                  <a:lnTo>
                    <a:pt x="9" y="20"/>
                  </a:lnTo>
                  <a:lnTo>
                    <a:pt x="9" y="10"/>
                  </a:lnTo>
                  <a:lnTo>
                    <a:pt x="0" y="10"/>
                  </a:lnTo>
                  <a:lnTo>
                    <a:pt x="9" y="0"/>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95" name="Freeform 376">
              <a:extLst>
                <a:ext uri="{FF2B5EF4-FFF2-40B4-BE49-F238E27FC236}">
                  <a16:creationId xmlns:a16="http://schemas.microsoft.com/office/drawing/2014/main" id="{2291DAA5-C7E2-4B89-82A2-C7A6E2161E57}"/>
                </a:ext>
              </a:extLst>
            </p:cNvPr>
            <p:cNvSpPr>
              <a:spLocks/>
            </p:cNvSpPr>
            <p:nvPr/>
          </p:nvSpPr>
          <p:spPr bwMode="gray">
            <a:xfrm>
              <a:off x="1410" y="1173"/>
              <a:ext cx="458" cy="239"/>
            </a:xfrm>
            <a:custGeom>
              <a:avLst/>
              <a:gdLst>
                <a:gd name="T0" fmla="*/ 38 w 458"/>
                <a:gd name="T1" fmla="*/ 220 h 239"/>
                <a:gd name="T2" fmla="*/ 57 w 458"/>
                <a:gd name="T3" fmla="*/ 239 h 239"/>
                <a:gd name="T4" fmla="*/ 86 w 458"/>
                <a:gd name="T5" fmla="*/ 229 h 239"/>
                <a:gd name="T6" fmla="*/ 114 w 458"/>
                <a:gd name="T7" fmla="*/ 229 h 239"/>
                <a:gd name="T8" fmla="*/ 133 w 458"/>
                <a:gd name="T9" fmla="*/ 229 h 239"/>
                <a:gd name="T10" fmla="*/ 162 w 458"/>
                <a:gd name="T11" fmla="*/ 229 h 239"/>
                <a:gd name="T12" fmla="*/ 210 w 458"/>
                <a:gd name="T13" fmla="*/ 229 h 239"/>
                <a:gd name="T14" fmla="*/ 191 w 458"/>
                <a:gd name="T15" fmla="*/ 210 h 239"/>
                <a:gd name="T16" fmla="*/ 153 w 458"/>
                <a:gd name="T17" fmla="*/ 201 h 239"/>
                <a:gd name="T18" fmla="*/ 200 w 458"/>
                <a:gd name="T19" fmla="*/ 191 h 239"/>
                <a:gd name="T20" fmla="*/ 238 w 458"/>
                <a:gd name="T21" fmla="*/ 182 h 239"/>
                <a:gd name="T22" fmla="*/ 248 w 458"/>
                <a:gd name="T23" fmla="*/ 162 h 239"/>
                <a:gd name="T24" fmla="*/ 229 w 458"/>
                <a:gd name="T25" fmla="*/ 162 h 239"/>
                <a:gd name="T26" fmla="*/ 257 w 458"/>
                <a:gd name="T27" fmla="*/ 153 h 239"/>
                <a:gd name="T28" fmla="*/ 229 w 458"/>
                <a:gd name="T29" fmla="*/ 153 h 239"/>
                <a:gd name="T30" fmla="*/ 267 w 458"/>
                <a:gd name="T31" fmla="*/ 143 h 239"/>
                <a:gd name="T32" fmla="*/ 276 w 458"/>
                <a:gd name="T33" fmla="*/ 143 h 239"/>
                <a:gd name="T34" fmla="*/ 286 w 458"/>
                <a:gd name="T35" fmla="*/ 134 h 239"/>
                <a:gd name="T36" fmla="*/ 305 w 458"/>
                <a:gd name="T37" fmla="*/ 115 h 239"/>
                <a:gd name="T38" fmla="*/ 353 w 458"/>
                <a:gd name="T39" fmla="*/ 105 h 239"/>
                <a:gd name="T40" fmla="*/ 400 w 458"/>
                <a:gd name="T41" fmla="*/ 77 h 239"/>
                <a:gd name="T42" fmla="*/ 334 w 458"/>
                <a:gd name="T43" fmla="*/ 86 h 239"/>
                <a:gd name="T44" fmla="*/ 353 w 458"/>
                <a:gd name="T45" fmla="*/ 77 h 239"/>
                <a:gd name="T46" fmla="*/ 334 w 458"/>
                <a:gd name="T47" fmla="*/ 67 h 239"/>
                <a:gd name="T48" fmla="*/ 410 w 458"/>
                <a:gd name="T49" fmla="*/ 57 h 239"/>
                <a:gd name="T50" fmla="*/ 458 w 458"/>
                <a:gd name="T51" fmla="*/ 38 h 239"/>
                <a:gd name="T52" fmla="*/ 410 w 458"/>
                <a:gd name="T53" fmla="*/ 10 h 239"/>
                <a:gd name="T54" fmla="*/ 381 w 458"/>
                <a:gd name="T55" fmla="*/ 19 h 239"/>
                <a:gd name="T56" fmla="*/ 362 w 458"/>
                <a:gd name="T57" fmla="*/ 10 h 239"/>
                <a:gd name="T58" fmla="*/ 286 w 458"/>
                <a:gd name="T59" fmla="*/ 10 h 239"/>
                <a:gd name="T60" fmla="*/ 257 w 458"/>
                <a:gd name="T61" fmla="*/ 10 h 239"/>
                <a:gd name="T62" fmla="*/ 248 w 458"/>
                <a:gd name="T63" fmla="*/ 19 h 239"/>
                <a:gd name="T64" fmla="*/ 238 w 458"/>
                <a:gd name="T65" fmla="*/ 29 h 239"/>
                <a:gd name="T66" fmla="*/ 181 w 458"/>
                <a:gd name="T67" fmla="*/ 10 h 239"/>
                <a:gd name="T68" fmla="*/ 153 w 458"/>
                <a:gd name="T69" fmla="*/ 19 h 239"/>
                <a:gd name="T70" fmla="*/ 133 w 458"/>
                <a:gd name="T71" fmla="*/ 29 h 239"/>
                <a:gd name="T72" fmla="*/ 124 w 458"/>
                <a:gd name="T73" fmla="*/ 38 h 239"/>
                <a:gd name="T74" fmla="*/ 124 w 458"/>
                <a:gd name="T75" fmla="*/ 48 h 239"/>
                <a:gd name="T76" fmla="*/ 86 w 458"/>
                <a:gd name="T77" fmla="*/ 38 h 239"/>
                <a:gd name="T78" fmla="*/ 95 w 458"/>
                <a:gd name="T79" fmla="*/ 57 h 239"/>
                <a:gd name="T80" fmla="*/ 48 w 458"/>
                <a:gd name="T81" fmla="*/ 48 h 239"/>
                <a:gd name="T82" fmla="*/ 19 w 458"/>
                <a:gd name="T83" fmla="*/ 77 h 239"/>
                <a:gd name="T84" fmla="*/ 67 w 458"/>
                <a:gd name="T85" fmla="*/ 77 h 239"/>
                <a:gd name="T86" fmla="*/ 57 w 458"/>
                <a:gd name="T87" fmla="*/ 96 h 239"/>
                <a:gd name="T88" fmla="*/ 57 w 458"/>
                <a:gd name="T89" fmla="*/ 96 h 239"/>
                <a:gd name="T90" fmla="*/ 95 w 458"/>
                <a:gd name="T91" fmla="*/ 96 h 239"/>
                <a:gd name="T92" fmla="*/ 86 w 458"/>
                <a:gd name="T93" fmla="*/ 115 h 239"/>
                <a:gd name="T94" fmla="*/ 143 w 458"/>
                <a:gd name="T95" fmla="*/ 105 h 239"/>
                <a:gd name="T96" fmla="*/ 172 w 458"/>
                <a:gd name="T97" fmla="*/ 86 h 239"/>
                <a:gd name="T98" fmla="*/ 191 w 458"/>
                <a:gd name="T99" fmla="*/ 96 h 239"/>
                <a:gd name="T100" fmla="*/ 181 w 458"/>
                <a:gd name="T101" fmla="*/ 105 h 239"/>
                <a:gd name="T102" fmla="*/ 133 w 458"/>
                <a:gd name="T103" fmla="*/ 124 h 239"/>
                <a:gd name="T104" fmla="*/ 172 w 458"/>
                <a:gd name="T105" fmla="*/ 143 h 239"/>
                <a:gd name="T106" fmla="*/ 95 w 458"/>
                <a:gd name="T107" fmla="*/ 134 h 239"/>
                <a:gd name="T108" fmla="*/ 124 w 458"/>
                <a:gd name="T109" fmla="*/ 162 h 239"/>
                <a:gd name="T110" fmla="*/ 143 w 458"/>
                <a:gd name="T111" fmla="*/ 172 h 239"/>
                <a:gd name="T112" fmla="*/ 76 w 458"/>
                <a:gd name="T113" fmla="*/ 172 h 239"/>
                <a:gd name="T114" fmla="*/ 95 w 458"/>
                <a:gd name="T115" fmla="*/ 191 h 239"/>
                <a:gd name="T116" fmla="*/ 95 w 458"/>
                <a:gd name="T117" fmla="*/ 191 h 239"/>
                <a:gd name="T118" fmla="*/ 133 w 458"/>
                <a:gd name="T119" fmla="*/ 201 h 239"/>
                <a:gd name="T120" fmla="*/ 67 w 458"/>
                <a:gd name="T121" fmla="*/ 201 h 2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58"/>
                <a:gd name="T184" fmla="*/ 0 h 239"/>
                <a:gd name="T185" fmla="*/ 458 w 458"/>
                <a:gd name="T186" fmla="*/ 239 h 2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58" h="239">
                  <a:moveTo>
                    <a:pt x="76" y="210"/>
                  </a:moveTo>
                  <a:lnTo>
                    <a:pt x="76" y="220"/>
                  </a:lnTo>
                  <a:lnTo>
                    <a:pt x="67" y="220"/>
                  </a:lnTo>
                  <a:lnTo>
                    <a:pt x="57" y="220"/>
                  </a:lnTo>
                  <a:lnTo>
                    <a:pt x="48" y="220"/>
                  </a:lnTo>
                  <a:lnTo>
                    <a:pt x="38" y="220"/>
                  </a:lnTo>
                  <a:lnTo>
                    <a:pt x="38" y="229"/>
                  </a:lnTo>
                  <a:lnTo>
                    <a:pt x="48" y="229"/>
                  </a:lnTo>
                  <a:lnTo>
                    <a:pt x="57" y="239"/>
                  </a:lnTo>
                  <a:lnTo>
                    <a:pt x="67" y="229"/>
                  </a:lnTo>
                  <a:lnTo>
                    <a:pt x="67" y="239"/>
                  </a:lnTo>
                  <a:lnTo>
                    <a:pt x="76" y="229"/>
                  </a:lnTo>
                  <a:lnTo>
                    <a:pt x="86" y="229"/>
                  </a:lnTo>
                  <a:lnTo>
                    <a:pt x="86" y="239"/>
                  </a:lnTo>
                  <a:lnTo>
                    <a:pt x="95" y="239"/>
                  </a:lnTo>
                  <a:lnTo>
                    <a:pt x="105" y="239"/>
                  </a:lnTo>
                  <a:lnTo>
                    <a:pt x="95" y="229"/>
                  </a:lnTo>
                  <a:lnTo>
                    <a:pt x="105" y="229"/>
                  </a:lnTo>
                  <a:lnTo>
                    <a:pt x="114" y="229"/>
                  </a:lnTo>
                  <a:lnTo>
                    <a:pt x="124" y="229"/>
                  </a:lnTo>
                  <a:lnTo>
                    <a:pt x="133" y="229"/>
                  </a:lnTo>
                  <a:lnTo>
                    <a:pt x="133" y="239"/>
                  </a:lnTo>
                  <a:lnTo>
                    <a:pt x="143" y="239"/>
                  </a:lnTo>
                  <a:lnTo>
                    <a:pt x="143" y="229"/>
                  </a:lnTo>
                  <a:lnTo>
                    <a:pt x="153" y="229"/>
                  </a:lnTo>
                  <a:lnTo>
                    <a:pt x="162" y="229"/>
                  </a:lnTo>
                  <a:lnTo>
                    <a:pt x="172" y="239"/>
                  </a:lnTo>
                  <a:lnTo>
                    <a:pt x="162" y="239"/>
                  </a:lnTo>
                  <a:lnTo>
                    <a:pt x="172" y="239"/>
                  </a:lnTo>
                  <a:lnTo>
                    <a:pt x="191" y="239"/>
                  </a:lnTo>
                  <a:lnTo>
                    <a:pt x="191" y="229"/>
                  </a:lnTo>
                  <a:lnTo>
                    <a:pt x="200" y="229"/>
                  </a:lnTo>
                  <a:lnTo>
                    <a:pt x="210" y="229"/>
                  </a:lnTo>
                  <a:lnTo>
                    <a:pt x="210" y="220"/>
                  </a:lnTo>
                  <a:lnTo>
                    <a:pt x="200" y="220"/>
                  </a:lnTo>
                  <a:lnTo>
                    <a:pt x="191" y="220"/>
                  </a:lnTo>
                  <a:lnTo>
                    <a:pt x="181" y="220"/>
                  </a:lnTo>
                  <a:lnTo>
                    <a:pt x="191" y="220"/>
                  </a:lnTo>
                  <a:lnTo>
                    <a:pt x="191" y="210"/>
                  </a:lnTo>
                  <a:lnTo>
                    <a:pt x="181" y="210"/>
                  </a:lnTo>
                  <a:lnTo>
                    <a:pt x="181" y="220"/>
                  </a:lnTo>
                  <a:lnTo>
                    <a:pt x="172" y="210"/>
                  </a:lnTo>
                  <a:lnTo>
                    <a:pt x="153" y="220"/>
                  </a:lnTo>
                  <a:lnTo>
                    <a:pt x="153" y="210"/>
                  </a:lnTo>
                  <a:lnTo>
                    <a:pt x="162" y="210"/>
                  </a:lnTo>
                  <a:lnTo>
                    <a:pt x="153" y="201"/>
                  </a:lnTo>
                  <a:lnTo>
                    <a:pt x="172" y="210"/>
                  </a:lnTo>
                  <a:lnTo>
                    <a:pt x="191" y="210"/>
                  </a:lnTo>
                  <a:lnTo>
                    <a:pt x="210" y="201"/>
                  </a:lnTo>
                  <a:lnTo>
                    <a:pt x="200" y="201"/>
                  </a:lnTo>
                  <a:lnTo>
                    <a:pt x="200" y="191"/>
                  </a:lnTo>
                  <a:lnTo>
                    <a:pt x="219" y="191"/>
                  </a:lnTo>
                  <a:lnTo>
                    <a:pt x="238" y="191"/>
                  </a:lnTo>
                  <a:lnTo>
                    <a:pt x="229" y="191"/>
                  </a:lnTo>
                  <a:lnTo>
                    <a:pt x="219" y="191"/>
                  </a:lnTo>
                  <a:lnTo>
                    <a:pt x="229" y="182"/>
                  </a:lnTo>
                  <a:lnTo>
                    <a:pt x="238" y="182"/>
                  </a:lnTo>
                  <a:lnTo>
                    <a:pt x="248" y="182"/>
                  </a:lnTo>
                  <a:lnTo>
                    <a:pt x="229" y="182"/>
                  </a:lnTo>
                  <a:lnTo>
                    <a:pt x="238" y="172"/>
                  </a:lnTo>
                  <a:lnTo>
                    <a:pt x="248" y="182"/>
                  </a:lnTo>
                  <a:lnTo>
                    <a:pt x="248" y="172"/>
                  </a:lnTo>
                  <a:lnTo>
                    <a:pt x="248" y="162"/>
                  </a:lnTo>
                  <a:lnTo>
                    <a:pt x="238" y="162"/>
                  </a:lnTo>
                  <a:lnTo>
                    <a:pt x="229" y="162"/>
                  </a:lnTo>
                  <a:lnTo>
                    <a:pt x="210" y="162"/>
                  </a:lnTo>
                  <a:lnTo>
                    <a:pt x="219" y="162"/>
                  </a:lnTo>
                  <a:lnTo>
                    <a:pt x="229" y="162"/>
                  </a:lnTo>
                  <a:lnTo>
                    <a:pt x="210" y="162"/>
                  </a:lnTo>
                  <a:lnTo>
                    <a:pt x="219" y="153"/>
                  </a:lnTo>
                  <a:lnTo>
                    <a:pt x="238" y="162"/>
                  </a:lnTo>
                  <a:lnTo>
                    <a:pt x="248" y="162"/>
                  </a:lnTo>
                  <a:lnTo>
                    <a:pt x="257" y="153"/>
                  </a:lnTo>
                  <a:lnTo>
                    <a:pt x="229" y="153"/>
                  </a:lnTo>
                  <a:lnTo>
                    <a:pt x="210" y="153"/>
                  </a:lnTo>
                  <a:lnTo>
                    <a:pt x="219" y="153"/>
                  </a:lnTo>
                  <a:lnTo>
                    <a:pt x="229" y="153"/>
                  </a:lnTo>
                  <a:lnTo>
                    <a:pt x="219" y="153"/>
                  </a:lnTo>
                  <a:lnTo>
                    <a:pt x="229" y="153"/>
                  </a:lnTo>
                  <a:lnTo>
                    <a:pt x="238" y="153"/>
                  </a:lnTo>
                  <a:lnTo>
                    <a:pt x="248" y="153"/>
                  </a:lnTo>
                  <a:lnTo>
                    <a:pt x="248" y="143"/>
                  </a:lnTo>
                  <a:lnTo>
                    <a:pt x="267" y="143"/>
                  </a:lnTo>
                  <a:lnTo>
                    <a:pt x="257" y="143"/>
                  </a:lnTo>
                  <a:lnTo>
                    <a:pt x="248" y="134"/>
                  </a:lnTo>
                  <a:lnTo>
                    <a:pt x="257" y="134"/>
                  </a:lnTo>
                  <a:lnTo>
                    <a:pt x="276" y="143"/>
                  </a:lnTo>
                  <a:lnTo>
                    <a:pt x="296" y="143"/>
                  </a:lnTo>
                  <a:lnTo>
                    <a:pt x="305" y="134"/>
                  </a:lnTo>
                  <a:lnTo>
                    <a:pt x="305" y="124"/>
                  </a:lnTo>
                  <a:lnTo>
                    <a:pt x="286" y="134"/>
                  </a:lnTo>
                  <a:lnTo>
                    <a:pt x="286" y="124"/>
                  </a:lnTo>
                  <a:lnTo>
                    <a:pt x="296" y="124"/>
                  </a:lnTo>
                  <a:lnTo>
                    <a:pt x="305" y="124"/>
                  </a:lnTo>
                  <a:lnTo>
                    <a:pt x="315" y="124"/>
                  </a:lnTo>
                  <a:lnTo>
                    <a:pt x="305" y="115"/>
                  </a:lnTo>
                  <a:lnTo>
                    <a:pt x="315" y="115"/>
                  </a:lnTo>
                  <a:lnTo>
                    <a:pt x="324" y="115"/>
                  </a:lnTo>
                  <a:lnTo>
                    <a:pt x="334" y="115"/>
                  </a:lnTo>
                  <a:lnTo>
                    <a:pt x="334" y="105"/>
                  </a:lnTo>
                  <a:lnTo>
                    <a:pt x="353" y="105"/>
                  </a:lnTo>
                  <a:lnTo>
                    <a:pt x="362" y="96"/>
                  </a:lnTo>
                  <a:lnTo>
                    <a:pt x="372" y="96"/>
                  </a:lnTo>
                  <a:lnTo>
                    <a:pt x="381" y="86"/>
                  </a:lnTo>
                  <a:lnTo>
                    <a:pt x="391" y="86"/>
                  </a:lnTo>
                  <a:lnTo>
                    <a:pt x="400" y="77"/>
                  </a:lnTo>
                  <a:lnTo>
                    <a:pt x="391" y="77"/>
                  </a:lnTo>
                  <a:lnTo>
                    <a:pt x="381" y="77"/>
                  </a:lnTo>
                  <a:lnTo>
                    <a:pt x="372" y="77"/>
                  </a:lnTo>
                  <a:lnTo>
                    <a:pt x="343" y="86"/>
                  </a:lnTo>
                  <a:lnTo>
                    <a:pt x="334" y="86"/>
                  </a:lnTo>
                  <a:lnTo>
                    <a:pt x="324" y="86"/>
                  </a:lnTo>
                  <a:lnTo>
                    <a:pt x="305" y="86"/>
                  </a:lnTo>
                  <a:lnTo>
                    <a:pt x="315" y="86"/>
                  </a:lnTo>
                  <a:lnTo>
                    <a:pt x="324" y="86"/>
                  </a:lnTo>
                  <a:lnTo>
                    <a:pt x="343" y="86"/>
                  </a:lnTo>
                  <a:lnTo>
                    <a:pt x="353" y="77"/>
                  </a:lnTo>
                  <a:lnTo>
                    <a:pt x="372" y="77"/>
                  </a:lnTo>
                  <a:lnTo>
                    <a:pt x="353" y="77"/>
                  </a:lnTo>
                  <a:lnTo>
                    <a:pt x="334" y="77"/>
                  </a:lnTo>
                  <a:lnTo>
                    <a:pt x="334" y="67"/>
                  </a:lnTo>
                  <a:lnTo>
                    <a:pt x="343" y="67"/>
                  </a:lnTo>
                  <a:lnTo>
                    <a:pt x="353" y="67"/>
                  </a:lnTo>
                  <a:lnTo>
                    <a:pt x="362" y="67"/>
                  </a:lnTo>
                  <a:lnTo>
                    <a:pt x="381" y="67"/>
                  </a:lnTo>
                  <a:lnTo>
                    <a:pt x="391" y="67"/>
                  </a:lnTo>
                  <a:lnTo>
                    <a:pt x="410" y="67"/>
                  </a:lnTo>
                  <a:lnTo>
                    <a:pt x="410" y="57"/>
                  </a:lnTo>
                  <a:lnTo>
                    <a:pt x="419" y="57"/>
                  </a:lnTo>
                  <a:lnTo>
                    <a:pt x="429" y="57"/>
                  </a:lnTo>
                  <a:lnTo>
                    <a:pt x="438" y="57"/>
                  </a:lnTo>
                  <a:lnTo>
                    <a:pt x="438" y="48"/>
                  </a:lnTo>
                  <a:lnTo>
                    <a:pt x="458" y="48"/>
                  </a:lnTo>
                  <a:lnTo>
                    <a:pt x="458" y="38"/>
                  </a:lnTo>
                  <a:lnTo>
                    <a:pt x="438" y="29"/>
                  </a:lnTo>
                  <a:lnTo>
                    <a:pt x="419" y="29"/>
                  </a:lnTo>
                  <a:lnTo>
                    <a:pt x="419" y="19"/>
                  </a:lnTo>
                  <a:lnTo>
                    <a:pt x="410" y="19"/>
                  </a:lnTo>
                  <a:lnTo>
                    <a:pt x="419" y="19"/>
                  </a:lnTo>
                  <a:lnTo>
                    <a:pt x="410" y="10"/>
                  </a:lnTo>
                  <a:lnTo>
                    <a:pt x="400" y="19"/>
                  </a:lnTo>
                  <a:lnTo>
                    <a:pt x="391" y="19"/>
                  </a:lnTo>
                  <a:lnTo>
                    <a:pt x="391" y="10"/>
                  </a:lnTo>
                  <a:lnTo>
                    <a:pt x="391" y="19"/>
                  </a:lnTo>
                  <a:lnTo>
                    <a:pt x="381" y="19"/>
                  </a:lnTo>
                  <a:lnTo>
                    <a:pt x="372" y="19"/>
                  </a:lnTo>
                  <a:lnTo>
                    <a:pt x="353" y="29"/>
                  </a:lnTo>
                  <a:lnTo>
                    <a:pt x="334" y="29"/>
                  </a:lnTo>
                  <a:lnTo>
                    <a:pt x="362" y="19"/>
                  </a:lnTo>
                  <a:lnTo>
                    <a:pt x="362" y="10"/>
                  </a:lnTo>
                  <a:lnTo>
                    <a:pt x="343" y="10"/>
                  </a:lnTo>
                  <a:lnTo>
                    <a:pt x="334" y="10"/>
                  </a:lnTo>
                  <a:lnTo>
                    <a:pt x="324" y="10"/>
                  </a:lnTo>
                  <a:lnTo>
                    <a:pt x="305" y="10"/>
                  </a:lnTo>
                  <a:lnTo>
                    <a:pt x="305" y="0"/>
                  </a:lnTo>
                  <a:lnTo>
                    <a:pt x="286" y="10"/>
                  </a:lnTo>
                  <a:lnTo>
                    <a:pt x="305" y="10"/>
                  </a:lnTo>
                  <a:lnTo>
                    <a:pt x="296" y="10"/>
                  </a:lnTo>
                  <a:lnTo>
                    <a:pt x="276" y="10"/>
                  </a:lnTo>
                  <a:lnTo>
                    <a:pt x="267" y="10"/>
                  </a:lnTo>
                  <a:lnTo>
                    <a:pt x="257" y="10"/>
                  </a:lnTo>
                  <a:lnTo>
                    <a:pt x="276" y="19"/>
                  </a:lnTo>
                  <a:lnTo>
                    <a:pt x="276" y="29"/>
                  </a:lnTo>
                  <a:lnTo>
                    <a:pt x="267" y="29"/>
                  </a:lnTo>
                  <a:lnTo>
                    <a:pt x="267" y="19"/>
                  </a:lnTo>
                  <a:lnTo>
                    <a:pt x="248" y="19"/>
                  </a:lnTo>
                  <a:lnTo>
                    <a:pt x="238" y="10"/>
                  </a:lnTo>
                  <a:lnTo>
                    <a:pt x="210" y="10"/>
                  </a:lnTo>
                  <a:lnTo>
                    <a:pt x="229" y="19"/>
                  </a:lnTo>
                  <a:lnTo>
                    <a:pt x="238" y="29"/>
                  </a:lnTo>
                  <a:lnTo>
                    <a:pt x="229" y="29"/>
                  </a:lnTo>
                  <a:lnTo>
                    <a:pt x="219" y="38"/>
                  </a:lnTo>
                  <a:lnTo>
                    <a:pt x="219" y="29"/>
                  </a:lnTo>
                  <a:lnTo>
                    <a:pt x="210" y="19"/>
                  </a:lnTo>
                  <a:lnTo>
                    <a:pt x="200" y="10"/>
                  </a:lnTo>
                  <a:lnTo>
                    <a:pt x="191" y="19"/>
                  </a:lnTo>
                  <a:lnTo>
                    <a:pt x="181" y="10"/>
                  </a:lnTo>
                  <a:lnTo>
                    <a:pt x="172" y="10"/>
                  </a:lnTo>
                  <a:lnTo>
                    <a:pt x="162" y="19"/>
                  </a:lnTo>
                  <a:lnTo>
                    <a:pt x="172" y="19"/>
                  </a:lnTo>
                  <a:lnTo>
                    <a:pt x="181" y="19"/>
                  </a:lnTo>
                  <a:lnTo>
                    <a:pt x="181" y="29"/>
                  </a:lnTo>
                  <a:lnTo>
                    <a:pt x="172" y="29"/>
                  </a:lnTo>
                  <a:lnTo>
                    <a:pt x="153" y="19"/>
                  </a:lnTo>
                  <a:lnTo>
                    <a:pt x="143" y="19"/>
                  </a:lnTo>
                  <a:lnTo>
                    <a:pt x="162" y="29"/>
                  </a:lnTo>
                  <a:lnTo>
                    <a:pt x="143" y="29"/>
                  </a:lnTo>
                  <a:lnTo>
                    <a:pt x="133" y="29"/>
                  </a:lnTo>
                  <a:lnTo>
                    <a:pt x="124" y="29"/>
                  </a:lnTo>
                  <a:lnTo>
                    <a:pt x="133" y="29"/>
                  </a:lnTo>
                  <a:lnTo>
                    <a:pt x="143" y="29"/>
                  </a:lnTo>
                  <a:lnTo>
                    <a:pt x="133" y="38"/>
                  </a:lnTo>
                  <a:lnTo>
                    <a:pt x="124" y="38"/>
                  </a:lnTo>
                  <a:lnTo>
                    <a:pt x="133" y="38"/>
                  </a:lnTo>
                  <a:lnTo>
                    <a:pt x="153" y="48"/>
                  </a:lnTo>
                  <a:lnTo>
                    <a:pt x="162" y="48"/>
                  </a:lnTo>
                  <a:lnTo>
                    <a:pt x="162" y="57"/>
                  </a:lnTo>
                  <a:lnTo>
                    <a:pt x="133" y="48"/>
                  </a:lnTo>
                  <a:lnTo>
                    <a:pt x="124" y="48"/>
                  </a:lnTo>
                  <a:lnTo>
                    <a:pt x="133" y="48"/>
                  </a:lnTo>
                  <a:lnTo>
                    <a:pt x="124" y="48"/>
                  </a:lnTo>
                  <a:lnTo>
                    <a:pt x="105" y="38"/>
                  </a:lnTo>
                  <a:lnTo>
                    <a:pt x="95" y="29"/>
                  </a:lnTo>
                  <a:lnTo>
                    <a:pt x="86" y="38"/>
                  </a:lnTo>
                  <a:lnTo>
                    <a:pt x="76" y="38"/>
                  </a:lnTo>
                  <a:lnTo>
                    <a:pt x="76" y="48"/>
                  </a:lnTo>
                  <a:lnTo>
                    <a:pt x="86" y="48"/>
                  </a:lnTo>
                  <a:lnTo>
                    <a:pt x="95" y="48"/>
                  </a:lnTo>
                  <a:lnTo>
                    <a:pt x="105" y="57"/>
                  </a:lnTo>
                  <a:lnTo>
                    <a:pt x="95" y="57"/>
                  </a:lnTo>
                  <a:lnTo>
                    <a:pt x="86" y="57"/>
                  </a:lnTo>
                  <a:lnTo>
                    <a:pt x="76" y="57"/>
                  </a:lnTo>
                  <a:lnTo>
                    <a:pt x="67" y="57"/>
                  </a:lnTo>
                  <a:lnTo>
                    <a:pt x="57" y="48"/>
                  </a:lnTo>
                  <a:lnTo>
                    <a:pt x="48" y="48"/>
                  </a:lnTo>
                  <a:lnTo>
                    <a:pt x="38" y="57"/>
                  </a:lnTo>
                  <a:lnTo>
                    <a:pt x="19" y="57"/>
                  </a:lnTo>
                  <a:lnTo>
                    <a:pt x="10" y="67"/>
                  </a:lnTo>
                  <a:lnTo>
                    <a:pt x="0" y="67"/>
                  </a:lnTo>
                  <a:lnTo>
                    <a:pt x="10" y="67"/>
                  </a:lnTo>
                  <a:lnTo>
                    <a:pt x="19" y="77"/>
                  </a:lnTo>
                  <a:lnTo>
                    <a:pt x="29" y="67"/>
                  </a:lnTo>
                  <a:lnTo>
                    <a:pt x="29" y="77"/>
                  </a:lnTo>
                  <a:lnTo>
                    <a:pt x="19" y="77"/>
                  </a:lnTo>
                  <a:lnTo>
                    <a:pt x="29" y="77"/>
                  </a:lnTo>
                  <a:lnTo>
                    <a:pt x="38" y="77"/>
                  </a:lnTo>
                  <a:lnTo>
                    <a:pt x="57" y="77"/>
                  </a:lnTo>
                  <a:lnTo>
                    <a:pt x="67" y="77"/>
                  </a:lnTo>
                  <a:lnTo>
                    <a:pt x="48" y="77"/>
                  </a:lnTo>
                  <a:lnTo>
                    <a:pt x="38" y="86"/>
                  </a:lnTo>
                  <a:lnTo>
                    <a:pt x="29" y="86"/>
                  </a:lnTo>
                  <a:lnTo>
                    <a:pt x="29" y="96"/>
                  </a:lnTo>
                  <a:lnTo>
                    <a:pt x="57" y="96"/>
                  </a:lnTo>
                  <a:lnTo>
                    <a:pt x="76" y="96"/>
                  </a:lnTo>
                  <a:lnTo>
                    <a:pt x="95" y="86"/>
                  </a:lnTo>
                  <a:lnTo>
                    <a:pt x="105" y="86"/>
                  </a:lnTo>
                  <a:lnTo>
                    <a:pt x="95" y="96"/>
                  </a:lnTo>
                  <a:lnTo>
                    <a:pt x="76" y="96"/>
                  </a:lnTo>
                  <a:lnTo>
                    <a:pt x="57" y="96"/>
                  </a:lnTo>
                  <a:lnTo>
                    <a:pt x="38" y="96"/>
                  </a:lnTo>
                  <a:lnTo>
                    <a:pt x="38" y="105"/>
                  </a:lnTo>
                  <a:lnTo>
                    <a:pt x="57" y="105"/>
                  </a:lnTo>
                  <a:lnTo>
                    <a:pt x="67" y="105"/>
                  </a:lnTo>
                  <a:lnTo>
                    <a:pt x="76" y="105"/>
                  </a:lnTo>
                  <a:lnTo>
                    <a:pt x="95" y="96"/>
                  </a:lnTo>
                  <a:lnTo>
                    <a:pt x="114" y="96"/>
                  </a:lnTo>
                  <a:lnTo>
                    <a:pt x="133" y="86"/>
                  </a:lnTo>
                  <a:lnTo>
                    <a:pt x="133" y="96"/>
                  </a:lnTo>
                  <a:lnTo>
                    <a:pt x="105" y="96"/>
                  </a:lnTo>
                  <a:lnTo>
                    <a:pt x="86" y="105"/>
                  </a:lnTo>
                  <a:lnTo>
                    <a:pt x="86" y="115"/>
                  </a:lnTo>
                  <a:lnTo>
                    <a:pt x="105" y="115"/>
                  </a:lnTo>
                  <a:lnTo>
                    <a:pt x="114" y="115"/>
                  </a:lnTo>
                  <a:lnTo>
                    <a:pt x="114" y="105"/>
                  </a:lnTo>
                  <a:lnTo>
                    <a:pt x="124" y="105"/>
                  </a:lnTo>
                  <a:lnTo>
                    <a:pt x="133" y="105"/>
                  </a:lnTo>
                  <a:lnTo>
                    <a:pt x="143" y="105"/>
                  </a:lnTo>
                  <a:lnTo>
                    <a:pt x="124" y="105"/>
                  </a:lnTo>
                  <a:lnTo>
                    <a:pt x="133" y="115"/>
                  </a:lnTo>
                  <a:lnTo>
                    <a:pt x="153" y="105"/>
                  </a:lnTo>
                  <a:lnTo>
                    <a:pt x="162" y="105"/>
                  </a:lnTo>
                  <a:lnTo>
                    <a:pt x="181" y="96"/>
                  </a:lnTo>
                  <a:lnTo>
                    <a:pt x="172" y="86"/>
                  </a:lnTo>
                  <a:lnTo>
                    <a:pt x="191" y="86"/>
                  </a:lnTo>
                  <a:lnTo>
                    <a:pt x="200" y="77"/>
                  </a:lnTo>
                  <a:lnTo>
                    <a:pt x="210" y="77"/>
                  </a:lnTo>
                  <a:lnTo>
                    <a:pt x="210" y="86"/>
                  </a:lnTo>
                  <a:lnTo>
                    <a:pt x="191" y="86"/>
                  </a:lnTo>
                  <a:lnTo>
                    <a:pt x="191" y="96"/>
                  </a:lnTo>
                  <a:lnTo>
                    <a:pt x="210" y="96"/>
                  </a:lnTo>
                  <a:lnTo>
                    <a:pt x="229" y="96"/>
                  </a:lnTo>
                  <a:lnTo>
                    <a:pt x="210" y="105"/>
                  </a:lnTo>
                  <a:lnTo>
                    <a:pt x="191" y="105"/>
                  </a:lnTo>
                  <a:lnTo>
                    <a:pt x="172" y="105"/>
                  </a:lnTo>
                  <a:lnTo>
                    <a:pt x="181" y="105"/>
                  </a:lnTo>
                  <a:lnTo>
                    <a:pt x="191" y="105"/>
                  </a:lnTo>
                  <a:lnTo>
                    <a:pt x="191" y="115"/>
                  </a:lnTo>
                  <a:lnTo>
                    <a:pt x="172" y="115"/>
                  </a:lnTo>
                  <a:lnTo>
                    <a:pt x="162" y="115"/>
                  </a:lnTo>
                  <a:lnTo>
                    <a:pt x="153" y="115"/>
                  </a:lnTo>
                  <a:lnTo>
                    <a:pt x="133" y="115"/>
                  </a:lnTo>
                  <a:lnTo>
                    <a:pt x="133" y="124"/>
                  </a:lnTo>
                  <a:lnTo>
                    <a:pt x="143" y="124"/>
                  </a:lnTo>
                  <a:lnTo>
                    <a:pt x="153" y="134"/>
                  </a:lnTo>
                  <a:lnTo>
                    <a:pt x="153" y="143"/>
                  </a:lnTo>
                  <a:lnTo>
                    <a:pt x="162" y="143"/>
                  </a:lnTo>
                  <a:lnTo>
                    <a:pt x="172" y="143"/>
                  </a:lnTo>
                  <a:lnTo>
                    <a:pt x="181" y="143"/>
                  </a:lnTo>
                  <a:lnTo>
                    <a:pt x="172" y="143"/>
                  </a:lnTo>
                  <a:lnTo>
                    <a:pt x="153" y="143"/>
                  </a:lnTo>
                  <a:lnTo>
                    <a:pt x="143" y="134"/>
                  </a:lnTo>
                  <a:lnTo>
                    <a:pt x="124" y="124"/>
                  </a:lnTo>
                  <a:lnTo>
                    <a:pt x="105" y="124"/>
                  </a:lnTo>
                  <a:lnTo>
                    <a:pt x="86" y="124"/>
                  </a:lnTo>
                  <a:lnTo>
                    <a:pt x="76" y="124"/>
                  </a:lnTo>
                  <a:lnTo>
                    <a:pt x="95" y="134"/>
                  </a:lnTo>
                  <a:lnTo>
                    <a:pt x="76" y="134"/>
                  </a:lnTo>
                  <a:lnTo>
                    <a:pt x="95" y="143"/>
                  </a:lnTo>
                  <a:lnTo>
                    <a:pt x="114" y="143"/>
                  </a:lnTo>
                  <a:lnTo>
                    <a:pt x="114" y="153"/>
                  </a:lnTo>
                  <a:lnTo>
                    <a:pt x="124" y="162"/>
                  </a:lnTo>
                  <a:lnTo>
                    <a:pt x="114" y="162"/>
                  </a:lnTo>
                  <a:lnTo>
                    <a:pt x="105" y="162"/>
                  </a:lnTo>
                  <a:lnTo>
                    <a:pt x="124" y="162"/>
                  </a:lnTo>
                  <a:lnTo>
                    <a:pt x="133" y="162"/>
                  </a:lnTo>
                  <a:lnTo>
                    <a:pt x="153" y="162"/>
                  </a:lnTo>
                  <a:lnTo>
                    <a:pt x="153" y="172"/>
                  </a:lnTo>
                  <a:lnTo>
                    <a:pt x="143" y="172"/>
                  </a:lnTo>
                  <a:lnTo>
                    <a:pt x="124" y="172"/>
                  </a:lnTo>
                  <a:lnTo>
                    <a:pt x="114" y="172"/>
                  </a:lnTo>
                  <a:lnTo>
                    <a:pt x="95" y="162"/>
                  </a:lnTo>
                  <a:lnTo>
                    <a:pt x="86" y="172"/>
                  </a:lnTo>
                  <a:lnTo>
                    <a:pt x="76" y="172"/>
                  </a:lnTo>
                  <a:lnTo>
                    <a:pt x="67" y="182"/>
                  </a:lnTo>
                  <a:lnTo>
                    <a:pt x="67" y="191"/>
                  </a:lnTo>
                  <a:lnTo>
                    <a:pt x="76" y="191"/>
                  </a:lnTo>
                  <a:lnTo>
                    <a:pt x="86" y="182"/>
                  </a:lnTo>
                  <a:lnTo>
                    <a:pt x="86" y="191"/>
                  </a:lnTo>
                  <a:lnTo>
                    <a:pt x="95" y="191"/>
                  </a:lnTo>
                  <a:lnTo>
                    <a:pt x="105" y="182"/>
                  </a:lnTo>
                  <a:lnTo>
                    <a:pt x="114" y="191"/>
                  </a:lnTo>
                  <a:lnTo>
                    <a:pt x="105" y="191"/>
                  </a:lnTo>
                  <a:lnTo>
                    <a:pt x="95" y="191"/>
                  </a:lnTo>
                  <a:lnTo>
                    <a:pt x="95" y="201"/>
                  </a:lnTo>
                  <a:lnTo>
                    <a:pt x="114" y="201"/>
                  </a:lnTo>
                  <a:lnTo>
                    <a:pt x="124" y="201"/>
                  </a:lnTo>
                  <a:lnTo>
                    <a:pt x="133" y="191"/>
                  </a:lnTo>
                  <a:lnTo>
                    <a:pt x="143" y="191"/>
                  </a:lnTo>
                  <a:lnTo>
                    <a:pt x="133" y="201"/>
                  </a:lnTo>
                  <a:lnTo>
                    <a:pt x="124" y="210"/>
                  </a:lnTo>
                  <a:lnTo>
                    <a:pt x="114" y="210"/>
                  </a:lnTo>
                  <a:lnTo>
                    <a:pt x="105" y="210"/>
                  </a:lnTo>
                  <a:lnTo>
                    <a:pt x="86" y="210"/>
                  </a:lnTo>
                  <a:lnTo>
                    <a:pt x="86" y="201"/>
                  </a:lnTo>
                  <a:lnTo>
                    <a:pt x="67" y="191"/>
                  </a:lnTo>
                  <a:lnTo>
                    <a:pt x="67" y="201"/>
                  </a:lnTo>
                  <a:lnTo>
                    <a:pt x="57" y="201"/>
                  </a:lnTo>
                  <a:lnTo>
                    <a:pt x="57" y="210"/>
                  </a:lnTo>
                  <a:lnTo>
                    <a:pt x="76" y="2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96" name="Freeform 377">
              <a:extLst>
                <a:ext uri="{FF2B5EF4-FFF2-40B4-BE49-F238E27FC236}">
                  <a16:creationId xmlns:a16="http://schemas.microsoft.com/office/drawing/2014/main" id="{1E379CD2-F581-433D-94D1-AE524BE259DF}"/>
                </a:ext>
              </a:extLst>
            </p:cNvPr>
            <p:cNvSpPr>
              <a:spLocks/>
            </p:cNvSpPr>
            <p:nvPr/>
          </p:nvSpPr>
          <p:spPr bwMode="gray">
            <a:xfrm>
              <a:off x="1448" y="1183"/>
              <a:ext cx="420" cy="229"/>
            </a:xfrm>
            <a:custGeom>
              <a:avLst/>
              <a:gdLst>
                <a:gd name="T0" fmla="*/ 19 w 420"/>
                <a:gd name="T1" fmla="*/ 210 h 229"/>
                <a:gd name="T2" fmla="*/ 0 w 420"/>
                <a:gd name="T3" fmla="*/ 219 h 229"/>
                <a:gd name="T4" fmla="*/ 10 w 420"/>
                <a:gd name="T5" fmla="*/ 219 h 229"/>
                <a:gd name="T6" fmla="*/ 19 w 420"/>
                <a:gd name="T7" fmla="*/ 219 h 229"/>
                <a:gd name="T8" fmla="*/ 38 w 420"/>
                <a:gd name="T9" fmla="*/ 219 h 229"/>
                <a:gd name="T10" fmla="*/ 67 w 420"/>
                <a:gd name="T11" fmla="*/ 229 h 229"/>
                <a:gd name="T12" fmla="*/ 76 w 420"/>
                <a:gd name="T13" fmla="*/ 219 h 229"/>
                <a:gd name="T14" fmla="*/ 86 w 420"/>
                <a:gd name="T15" fmla="*/ 219 h 229"/>
                <a:gd name="T16" fmla="*/ 95 w 420"/>
                <a:gd name="T17" fmla="*/ 229 h 229"/>
                <a:gd name="T18" fmla="*/ 115 w 420"/>
                <a:gd name="T19" fmla="*/ 219 h 229"/>
                <a:gd name="T20" fmla="*/ 124 w 420"/>
                <a:gd name="T21" fmla="*/ 229 h 229"/>
                <a:gd name="T22" fmla="*/ 162 w 420"/>
                <a:gd name="T23" fmla="*/ 219 h 229"/>
                <a:gd name="T24" fmla="*/ 153 w 420"/>
                <a:gd name="T25" fmla="*/ 210 h 229"/>
                <a:gd name="T26" fmla="*/ 153 w 420"/>
                <a:gd name="T27" fmla="*/ 200 h 229"/>
                <a:gd name="T28" fmla="*/ 115 w 420"/>
                <a:gd name="T29" fmla="*/ 210 h 229"/>
                <a:gd name="T30" fmla="*/ 115 w 420"/>
                <a:gd name="T31" fmla="*/ 191 h 229"/>
                <a:gd name="T32" fmla="*/ 162 w 420"/>
                <a:gd name="T33" fmla="*/ 191 h 229"/>
                <a:gd name="T34" fmla="*/ 200 w 420"/>
                <a:gd name="T35" fmla="*/ 181 h 229"/>
                <a:gd name="T36" fmla="*/ 191 w 420"/>
                <a:gd name="T37" fmla="*/ 181 h 229"/>
                <a:gd name="T38" fmla="*/ 191 w 420"/>
                <a:gd name="T39" fmla="*/ 172 h 229"/>
                <a:gd name="T40" fmla="*/ 210 w 420"/>
                <a:gd name="T41" fmla="*/ 152 h 229"/>
                <a:gd name="T42" fmla="*/ 172 w 420"/>
                <a:gd name="T43" fmla="*/ 152 h 229"/>
                <a:gd name="T44" fmla="*/ 172 w 420"/>
                <a:gd name="T45" fmla="*/ 152 h 229"/>
                <a:gd name="T46" fmla="*/ 200 w 420"/>
                <a:gd name="T47" fmla="*/ 152 h 229"/>
                <a:gd name="T48" fmla="*/ 172 w 420"/>
                <a:gd name="T49" fmla="*/ 143 h 229"/>
                <a:gd name="T50" fmla="*/ 191 w 420"/>
                <a:gd name="T51" fmla="*/ 143 h 229"/>
                <a:gd name="T52" fmla="*/ 200 w 420"/>
                <a:gd name="T53" fmla="*/ 143 h 229"/>
                <a:gd name="T54" fmla="*/ 219 w 420"/>
                <a:gd name="T55" fmla="*/ 133 h 229"/>
                <a:gd name="T56" fmla="*/ 210 w 420"/>
                <a:gd name="T57" fmla="*/ 124 h 229"/>
                <a:gd name="T58" fmla="*/ 258 w 420"/>
                <a:gd name="T59" fmla="*/ 133 h 229"/>
                <a:gd name="T60" fmla="*/ 267 w 420"/>
                <a:gd name="T61" fmla="*/ 124 h 229"/>
                <a:gd name="T62" fmla="*/ 258 w 420"/>
                <a:gd name="T63" fmla="*/ 114 h 229"/>
                <a:gd name="T64" fmla="*/ 277 w 420"/>
                <a:gd name="T65" fmla="*/ 114 h 229"/>
                <a:gd name="T66" fmla="*/ 277 w 420"/>
                <a:gd name="T67" fmla="*/ 105 h 229"/>
                <a:gd name="T68" fmla="*/ 315 w 420"/>
                <a:gd name="T69" fmla="*/ 95 h 229"/>
                <a:gd name="T70" fmla="*/ 343 w 420"/>
                <a:gd name="T71" fmla="*/ 76 h 229"/>
                <a:gd name="T72" fmla="*/ 362 w 420"/>
                <a:gd name="T73" fmla="*/ 67 h 229"/>
                <a:gd name="T74" fmla="*/ 334 w 420"/>
                <a:gd name="T75" fmla="*/ 67 h 229"/>
                <a:gd name="T76" fmla="*/ 286 w 420"/>
                <a:gd name="T77" fmla="*/ 76 h 229"/>
                <a:gd name="T78" fmla="*/ 305 w 420"/>
                <a:gd name="T79" fmla="*/ 76 h 229"/>
                <a:gd name="T80" fmla="*/ 315 w 420"/>
                <a:gd name="T81" fmla="*/ 67 h 229"/>
                <a:gd name="T82" fmla="*/ 296 w 420"/>
                <a:gd name="T83" fmla="*/ 57 h 229"/>
                <a:gd name="T84" fmla="*/ 343 w 420"/>
                <a:gd name="T85" fmla="*/ 57 h 229"/>
                <a:gd name="T86" fmla="*/ 381 w 420"/>
                <a:gd name="T87" fmla="*/ 47 h 229"/>
                <a:gd name="T88" fmla="*/ 400 w 420"/>
                <a:gd name="T89" fmla="*/ 38 h 229"/>
                <a:gd name="T90" fmla="*/ 381 w 420"/>
                <a:gd name="T91" fmla="*/ 19 h 229"/>
                <a:gd name="T92" fmla="*/ 381 w 420"/>
                <a:gd name="T93" fmla="*/ 9 h 229"/>
                <a:gd name="T94" fmla="*/ 353 w 420"/>
                <a:gd name="T95" fmla="*/ 9 h 229"/>
                <a:gd name="T96" fmla="*/ 343 w 420"/>
                <a:gd name="T97" fmla="*/ 9 h 22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20"/>
                <a:gd name="T148" fmla="*/ 0 h 229"/>
                <a:gd name="T149" fmla="*/ 420 w 420"/>
                <a:gd name="T150" fmla="*/ 229 h 22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20" h="229">
                  <a:moveTo>
                    <a:pt x="38" y="200"/>
                  </a:moveTo>
                  <a:lnTo>
                    <a:pt x="38" y="210"/>
                  </a:lnTo>
                  <a:lnTo>
                    <a:pt x="29" y="210"/>
                  </a:lnTo>
                  <a:lnTo>
                    <a:pt x="19" y="210"/>
                  </a:lnTo>
                  <a:lnTo>
                    <a:pt x="10" y="210"/>
                  </a:lnTo>
                  <a:lnTo>
                    <a:pt x="0" y="210"/>
                  </a:lnTo>
                  <a:lnTo>
                    <a:pt x="0" y="219"/>
                  </a:lnTo>
                  <a:lnTo>
                    <a:pt x="10" y="219"/>
                  </a:lnTo>
                  <a:lnTo>
                    <a:pt x="19" y="229"/>
                  </a:lnTo>
                  <a:lnTo>
                    <a:pt x="29" y="219"/>
                  </a:lnTo>
                  <a:lnTo>
                    <a:pt x="19" y="219"/>
                  </a:lnTo>
                  <a:lnTo>
                    <a:pt x="29" y="219"/>
                  </a:lnTo>
                  <a:lnTo>
                    <a:pt x="29" y="229"/>
                  </a:lnTo>
                  <a:lnTo>
                    <a:pt x="38" y="219"/>
                  </a:lnTo>
                  <a:lnTo>
                    <a:pt x="48" y="219"/>
                  </a:lnTo>
                  <a:lnTo>
                    <a:pt x="48" y="229"/>
                  </a:lnTo>
                  <a:lnTo>
                    <a:pt x="57" y="229"/>
                  </a:lnTo>
                  <a:lnTo>
                    <a:pt x="67" y="229"/>
                  </a:lnTo>
                  <a:lnTo>
                    <a:pt x="57" y="219"/>
                  </a:lnTo>
                  <a:lnTo>
                    <a:pt x="67" y="219"/>
                  </a:lnTo>
                  <a:lnTo>
                    <a:pt x="76" y="219"/>
                  </a:lnTo>
                  <a:lnTo>
                    <a:pt x="86" y="219"/>
                  </a:lnTo>
                  <a:lnTo>
                    <a:pt x="95" y="219"/>
                  </a:lnTo>
                  <a:lnTo>
                    <a:pt x="95" y="229"/>
                  </a:lnTo>
                  <a:lnTo>
                    <a:pt x="105" y="229"/>
                  </a:lnTo>
                  <a:lnTo>
                    <a:pt x="105" y="219"/>
                  </a:lnTo>
                  <a:lnTo>
                    <a:pt x="115" y="219"/>
                  </a:lnTo>
                  <a:lnTo>
                    <a:pt x="124" y="219"/>
                  </a:lnTo>
                  <a:lnTo>
                    <a:pt x="124" y="229"/>
                  </a:lnTo>
                  <a:lnTo>
                    <a:pt x="134" y="229"/>
                  </a:lnTo>
                  <a:lnTo>
                    <a:pt x="153" y="229"/>
                  </a:lnTo>
                  <a:lnTo>
                    <a:pt x="153" y="219"/>
                  </a:lnTo>
                  <a:lnTo>
                    <a:pt x="162" y="219"/>
                  </a:lnTo>
                  <a:lnTo>
                    <a:pt x="172" y="219"/>
                  </a:lnTo>
                  <a:lnTo>
                    <a:pt x="162" y="210"/>
                  </a:lnTo>
                  <a:lnTo>
                    <a:pt x="153" y="210"/>
                  </a:lnTo>
                  <a:lnTo>
                    <a:pt x="143" y="210"/>
                  </a:lnTo>
                  <a:lnTo>
                    <a:pt x="153" y="210"/>
                  </a:lnTo>
                  <a:lnTo>
                    <a:pt x="153" y="200"/>
                  </a:lnTo>
                  <a:lnTo>
                    <a:pt x="143" y="200"/>
                  </a:lnTo>
                  <a:lnTo>
                    <a:pt x="134" y="210"/>
                  </a:lnTo>
                  <a:lnTo>
                    <a:pt x="134" y="200"/>
                  </a:lnTo>
                  <a:lnTo>
                    <a:pt x="115" y="210"/>
                  </a:lnTo>
                  <a:lnTo>
                    <a:pt x="115" y="200"/>
                  </a:lnTo>
                  <a:lnTo>
                    <a:pt x="124" y="200"/>
                  </a:lnTo>
                  <a:lnTo>
                    <a:pt x="115" y="191"/>
                  </a:lnTo>
                  <a:lnTo>
                    <a:pt x="134" y="200"/>
                  </a:lnTo>
                  <a:lnTo>
                    <a:pt x="153" y="200"/>
                  </a:lnTo>
                  <a:lnTo>
                    <a:pt x="172" y="191"/>
                  </a:lnTo>
                  <a:lnTo>
                    <a:pt x="162" y="191"/>
                  </a:lnTo>
                  <a:lnTo>
                    <a:pt x="162" y="181"/>
                  </a:lnTo>
                  <a:lnTo>
                    <a:pt x="181" y="181"/>
                  </a:lnTo>
                  <a:lnTo>
                    <a:pt x="200" y="181"/>
                  </a:lnTo>
                  <a:lnTo>
                    <a:pt x="191" y="181"/>
                  </a:lnTo>
                  <a:lnTo>
                    <a:pt x="181" y="181"/>
                  </a:lnTo>
                  <a:lnTo>
                    <a:pt x="191" y="181"/>
                  </a:lnTo>
                  <a:lnTo>
                    <a:pt x="200" y="181"/>
                  </a:lnTo>
                  <a:lnTo>
                    <a:pt x="210" y="172"/>
                  </a:lnTo>
                  <a:lnTo>
                    <a:pt x="191" y="172"/>
                  </a:lnTo>
                  <a:lnTo>
                    <a:pt x="210" y="172"/>
                  </a:lnTo>
                  <a:lnTo>
                    <a:pt x="210" y="162"/>
                  </a:lnTo>
                  <a:lnTo>
                    <a:pt x="210" y="152"/>
                  </a:lnTo>
                  <a:lnTo>
                    <a:pt x="191" y="152"/>
                  </a:lnTo>
                  <a:lnTo>
                    <a:pt x="181" y="152"/>
                  </a:lnTo>
                  <a:lnTo>
                    <a:pt x="172" y="152"/>
                  </a:lnTo>
                  <a:lnTo>
                    <a:pt x="181" y="152"/>
                  </a:lnTo>
                  <a:lnTo>
                    <a:pt x="191" y="152"/>
                  </a:lnTo>
                  <a:lnTo>
                    <a:pt x="172" y="152"/>
                  </a:lnTo>
                  <a:lnTo>
                    <a:pt x="181" y="152"/>
                  </a:lnTo>
                  <a:lnTo>
                    <a:pt x="191" y="152"/>
                  </a:lnTo>
                  <a:lnTo>
                    <a:pt x="200" y="152"/>
                  </a:lnTo>
                  <a:lnTo>
                    <a:pt x="210" y="152"/>
                  </a:lnTo>
                  <a:lnTo>
                    <a:pt x="219" y="143"/>
                  </a:lnTo>
                  <a:lnTo>
                    <a:pt x="191" y="143"/>
                  </a:lnTo>
                  <a:lnTo>
                    <a:pt x="172" y="143"/>
                  </a:lnTo>
                  <a:lnTo>
                    <a:pt x="181" y="143"/>
                  </a:lnTo>
                  <a:lnTo>
                    <a:pt x="191" y="143"/>
                  </a:lnTo>
                  <a:lnTo>
                    <a:pt x="181" y="143"/>
                  </a:lnTo>
                  <a:lnTo>
                    <a:pt x="191" y="143"/>
                  </a:lnTo>
                  <a:lnTo>
                    <a:pt x="200" y="143"/>
                  </a:lnTo>
                  <a:lnTo>
                    <a:pt x="210" y="143"/>
                  </a:lnTo>
                  <a:lnTo>
                    <a:pt x="210" y="133"/>
                  </a:lnTo>
                  <a:lnTo>
                    <a:pt x="219" y="133"/>
                  </a:lnTo>
                  <a:lnTo>
                    <a:pt x="229" y="133"/>
                  </a:lnTo>
                  <a:lnTo>
                    <a:pt x="219" y="133"/>
                  </a:lnTo>
                  <a:lnTo>
                    <a:pt x="210" y="124"/>
                  </a:lnTo>
                  <a:lnTo>
                    <a:pt x="219" y="124"/>
                  </a:lnTo>
                  <a:lnTo>
                    <a:pt x="238" y="133"/>
                  </a:lnTo>
                  <a:lnTo>
                    <a:pt x="258" y="133"/>
                  </a:lnTo>
                  <a:lnTo>
                    <a:pt x="267" y="124"/>
                  </a:lnTo>
                  <a:lnTo>
                    <a:pt x="248" y="124"/>
                  </a:lnTo>
                  <a:lnTo>
                    <a:pt x="248" y="114"/>
                  </a:lnTo>
                  <a:lnTo>
                    <a:pt x="258" y="114"/>
                  </a:lnTo>
                  <a:lnTo>
                    <a:pt x="267" y="114"/>
                  </a:lnTo>
                  <a:lnTo>
                    <a:pt x="277" y="114"/>
                  </a:lnTo>
                  <a:lnTo>
                    <a:pt x="267" y="105"/>
                  </a:lnTo>
                  <a:lnTo>
                    <a:pt x="277" y="105"/>
                  </a:lnTo>
                  <a:lnTo>
                    <a:pt x="286" y="105"/>
                  </a:lnTo>
                  <a:lnTo>
                    <a:pt x="296" y="105"/>
                  </a:lnTo>
                  <a:lnTo>
                    <a:pt x="296" y="95"/>
                  </a:lnTo>
                  <a:lnTo>
                    <a:pt x="315" y="95"/>
                  </a:lnTo>
                  <a:lnTo>
                    <a:pt x="324" y="95"/>
                  </a:lnTo>
                  <a:lnTo>
                    <a:pt x="334" y="86"/>
                  </a:lnTo>
                  <a:lnTo>
                    <a:pt x="343" y="76"/>
                  </a:lnTo>
                  <a:lnTo>
                    <a:pt x="353" y="76"/>
                  </a:lnTo>
                  <a:lnTo>
                    <a:pt x="362" y="67"/>
                  </a:lnTo>
                  <a:lnTo>
                    <a:pt x="353" y="67"/>
                  </a:lnTo>
                  <a:lnTo>
                    <a:pt x="343" y="67"/>
                  </a:lnTo>
                  <a:lnTo>
                    <a:pt x="334" y="67"/>
                  </a:lnTo>
                  <a:lnTo>
                    <a:pt x="305" y="76"/>
                  </a:lnTo>
                  <a:lnTo>
                    <a:pt x="296" y="76"/>
                  </a:lnTo>
                  <a:lnTo>
                    <a:pt x="286" y="76"/>
                  </a:lnTo>
                  <a:lnTo>
                    <a:pt x="267" y="76"/>
                  </a:lnTo>
                  <a:lnTo>
                    <a:pt x="277" y="76"/>
                  </a:lnTo>
                  <a:lnTo>
                    <a:pt x="286" y="76"/>
                  </a:lnTo>
                  <a:lnTo>
                    <a:pt x="305" y="76"/>
                  </a:lnTo>
                  <a:lnTo>
                    <a:pt x="315" y="67"/>
                  </a:lnTo>
                  <a:lnTo>
                    <a:pt x="334" y="67"/>
                  </a:lnTo>
                  <a:lnTo>
                    <a:pt x="315" y="67"/>
                  </a:lnTo>
                  <a:lnTo>
                    <a:pt x="296" y="67"/>
                  </a:lnTo>
                  <a:lnTo>
                    <a:pt x="296" y="57"/>
                  </a:lnTo>
                  <a:lnTo>
                    <a:pt x="305" y="57"/>
                  </a:lnTo>
                  <a:lnTo>
                    <a:pt x="315" y="57"/>
                  </a:lnTo>
                  <a:lnTo>
                    <a:pt x="324" y="57"/>
                  </a:lnTo>
                  <a:lnTo>
                    <a:pt x="343" y="57"/>
                  </a:lnTo>
                  <a:lnTo>
                    <a:pt x="353" y="57"/>
                  </a:lnTo>
                  <a:lnTo>
                    <a:pt x="372" y="57"/>
                  </a:lnTo>
                  <a:lnTo>
                    <a:pt x="381" y="47"/>
                  </a:lnTo>
                  <a:lnTo>
                    <a:pt x="391" y="47"/>
                  </a:lnTo>
                  <a:lnTo>
                    <a:pt x="400" y="47"/>
                  </a:lnTo>
                  <a:lnTo>
                    <a:pt x="400" y="38"/>
                  </a:lnTo>
                  <a:lnTo>
                    <a:pt x="420" y="38"/>
                  </a:lnTo>
                  <a:lnTo>
                    <a:pt x="420" y="28"/>
                  </a:lnTo>
                  <a:lnTo>
                    <a:pt x="400" y="19"/>
                  </a:lnTo>
                  <a:lnTo>
                    <a:pt x="381" y="19"/>
                  </a:lnTo>
                  <a:lnTo>
                    <a:pt x="381" y="9"/>
                  </a:lnTo>
                  <a:lnTo>
                    <a:pt x="372" y="9"/>
                  </a:lnTo>
                  <a:lnTo>
                    <a:pt x="381" y="9"/>
                  </a:lnTo>
                  <a:lnTo>
                    <a:pt x="372" y="9"/>
                  </a:lnTo>
                  <a:lnTo>
                    <a:pt x="362" y="9"/>
                  </a:lnTo>
                  <a:lnTo>
                    <a:pt x="353" y="9"/>
                  </a:lnTo>
                  <a:lnTo>
                    <a:pt x="353" y="0"/>
                  </a:lnTo>
                  <a:lnTo>
                    <a:pt x="353" y="9"/>
                  </a:lnTo>
                  <a:lnTo>
                    <a:pt x="343" y="9"/>
                  </a:lnTo>
                  <a:lnTo>
                    <a:pt x="38" y="20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97" name="Freeform 378">
              <a:extLst>
                <a:ext uri="{FF2B5EF4-FFF2-40B4-BE49-F238E27FC236}">
                  <a16:creationId xmlns:a16="http://schemas.microsoft.com/office/drawing/2014/main" id="{4B14487A-1E0A-472B-8CB9-0C96FF990790}"/>
                </a:ext>
              </a:extLst>
            </p:cNvPr>
            <p:cNvSpPr>
              <a:spLocks/>
            </p:cNvSpPr>
            <p:nvPr/>
          </p:nvSpPr>
          <p:spPr bwMode="gray">
            <a:xfrm>
              <a:off x="1410" y="1173"/>
              <a:ext cx="381" cy="172"/>
            </a:xfrm>
            <a:custGeom>
              <a:avLst/>
              <a:gdLst>
                <a:gd name="T0" fmla="*/ 334 w 381"/>
                <a:gd name="T1" fmla="*/ 29 h 172"/>
                <a:gd name="T2" fmla="*/ 343 w 381"/>
                <a:gd name="T3" fmla="*/ 10 h 172"/>
                <a:gd name="T4" fmla="*/ 305 w 381"/>
                <a:gd name="T5" fmla="*/ 10 h 172"/>
                <a:gd name="T6" fmla="*/ 305 w 381"/>
                <a:gd name="T7" fmla="*/ 10 h 172"/>
                <a:gd name="T8" fmla="*/ 267 w 381"/>
                <a:gd name="T9" fmla="*/ 10 h 172"/>
                <a:gd name="T10" fmla="*/ 276 w 381"/>
                <a:gd name="T11" fmla="*/ 19 h 172"/>
                <a:gd name="T12" fmla="*/ 248 w 381"/>
                <a:gd name="T13" fmla="*/ 19 h 172"/>
                <a:gd name="T14" fmla="*/ 210 w 381"/>
                <a:gd name="T15" fmla="*/ 10 h 172"/>
                <a:gd name="T16" fmla="*/ 229 w 381"/>
                <a:gd name="T17" fmla="*/ 29 h 172"/>
                <a:gd name="T18" fmla="*/ 200 w 381"/>
                <a:gd name="T19" fmla="*/ 10 h 172"/>
                <a:gd name="T20" fmla="*/ 162 w 381"/>
                <a:gd name="T21" fmla="*/ 19 h 172"/>
                <a:gd name="T22" fmla="*/ 172 w 381"/>
                <a:gd name="T23" fmla="*/ 29 h 172"/>
                <a:gd name="T24" fmla="*/ 162 w 381"/>
                <a:gd name="T25" fmla="*/ 29 h 172"/>
                <a:gd name="T26" fmla="*/ 133 w 381"/>
                <a:gd name="T27" fmla="*/ 29 h 172"/>
                <a:gd name="T28" fmla="*/ 143 w 381"/>
                <a:gd name="T29" fmla="*/ 29 h 172"/>
                <a:gd name="T30" fmla="*/ 133 w 381"/>
                <a:gd name="T31" fmla="*/ 38 h 172"/>
                <a:gd name="T32" fmla="*/ 162 w 381"/>
                <a:gd name="T33" fmla="*/ 57 h 172"/>
                <a:gd name="T34" fmla="*/ 124 w 381"/>
                <a:gd name="T35" fmla="*/ 48 h 172"/>
                <a:gd name="T36" fmla="*/ 95 w 381"/>
                <a:gd name="T37" fmla="*/ 29 h 172"/>
                <a:gd name="T38" fmla="*/ 76 w 381"/>
                <a:gd name="T39" fmla="*/ 48 h 172"/>
                <a:gd name="T40" fmla="*/ 95 w 381"/>
                <a:gd name="T41" fmla="*/ 57 h 172"/>
                <a:gd name="T42" fmla="*/ 76 w 381"/>
                <a:gd name="T43" fmla="*/ 57 h 172"/>
                <a:gd name="T44" fmla="*/ 38 w 381"/>
                <a:gd name="T45" fmla="*/ 57 h 172"/>
                <a:gd name="T46" fmla="*/ 0 w 381"/>
                <a:gd name="T47" fmla="*/ 67 h 172"/>
                <a:gd name="T48" fmla="*/ 29 w 381"/>
                <a:gd name="T49" fmla="*/ 77 h 172"/>
                <a:gd name="T50" fmla="*/ 57 w 381"/>
                <a:gd name="T51" fmla="*/ 77 h 172"/>
                <a:gd name="T52" fmla="*/ 38 w 381"/>
                <a:gd name="T53" fmla="*/ 86 h 172"/>
                <a:gd name="T54" fmla="*/ 57 w 381"/>
                <a:gd name="T55" fmla="*/ 96 h 172"/>
                <a:gd name="T56" fmla="*/ 105 w 381"/>
                <a:gd name="T57" fmla="*/ 86 h 172"/>
                <a:gd name="T58" fmla="*/ 38 w 381"/>
                <a:gd name="T59" fmla="*/ 96 h 172"/>
                <a:gd name="T60" fmla="*/ 76 w 381"/>
                <a:gd name="T61" fmla="*/ 105 h 172"/>
                <a:gd name="T62" fmla="*/ 133 w 381"/>
                <a:gd name="T63" fmla="*/ 86 h 172"/>
                <a:gd name="T64" fmla="*/ 86 w 381"/>
                <a:gd name="T65" fmla="*/ 105 h 172"/>
                <a:gd name="T66" fmla="*/ 114 w 381"/>
                <a:gd name="T67" fmla="*/ 105 h 172"/>
                <a:gd name="T68" fmla="*/ 143 w 381"/>
                <a:gd name="T69" fmla="*/ 105 h 172"/>
                <a:gd name="T70" fmla="*/ 153 w 381"/>
                <a:gd name="T71" fmla="*/ 105 h 172"/>
                <a:gd name="T72" fmla="*/ 191 w 381"/>
                <a:gd name="T73" fmla="*/ 86 h 172"/>
                <a:gd name="T74" fmla="*/ 210 w 381"/>
                <a:gd name="T75" fmla="*/ 86 h 172"/>
                <a:gd name="T76" fmla="*/ 229 w 381"/>
                <a:gd name="T77" fmla="*/ 96 h 172"/>
                <a:gd name="T78" fmla="*/ 172 w 381"/>
                <a:gd name="T79" fmla="*/ 105 h 172"/>
                <a:gd name="T80" fmla="*/ 172 w 381"/>
                <a:gd name="T81" fmla="*/ 115 h 172"/>
                <a:gd name="T82" fmla="*/ 133 w 381"/>
                <a:gd name="T83" fmla="*/ 124 h 172"/>
                <a:gd name="T84" fmla="*/ 162 w 381"/>
                <a:gd name="T85" fmla="*/ 143 h 172"/>
                <a:gd name="T86" fmla="*/ 153 w 381"/>
                <a:gd name="T87" fmla="*/ 143 h 172"/>
                <a:gd name="T88" fmla="*/ 86 w 381"/>
                <a:gd name="T89" fmla="*/ 124 h 172"/>
                <a:gd name="T90" fmla="*/ 76 w 381"/>
                <a:gd name="T91" fmla="*/ 134 h 172"/>
                <a:gd name="T92" fmla="*/ 124 w 381"/>
                <a:gd name="T93" fmla="*/ 162 h 172"/>
                <a:gd name="T94" fmla="*/ 124 w 381"/>
                <a:gd name="T95" fmla="*/ 162 h 172"/>
                <a:gd name="T96" fmla="*/ 143 w 381"/>
                <a:gd name="T97" fmla="*/ 172 h 1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81"/>
                <a:gd name="T148" fmla="*/ 0 h 172"/>
                <a:gd name="T149" fmla="*/ 381 w 381"/>
                <a:gd name="T150" fmla="*/ 172 h 1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81" h="172">
                  <a:moveTo>
                    <a:pt x="381" y="19"/>
                  </a:moveTo>
                  <a:lnTo>
                    <a:pt x="372" y="19"/>
                  </a:lnTo>
                  <a:lnTo>
                    <a:pt x="353" y="29"/>
                  </a:lnTo>
                  <a:lnTo>
                    <a:pt x="334" y="29"/>
                  </a:lnTo>
                  <a:lnTo>
                    <a:pt x="362" y="19"/>
                  </a:lnTo>
                  <a:lnTo>
                    <a:pt x="362" y="10"/>
                  </a:lnTo>
                  <a:lnTo>
                    <a:pt x="343" y="10"/>
                  </a:lnTo>
                  <a:lnTo>
                    <a:pt x="334" y="10"/>
                  </a:lnTo>
                  <a:lnTo>
                    <a:pt x="324" y="10"/>
                  </a:lnTo>
                  <a:lnTo>
                    <a:pt x="305" y="10"/>
                  </a:lnTo>
                  <a:lnTo>
                    <a:pt x="305" y="0"/>
                  </a:lnTo>
                  <a:lnTo>
                    <a:pt x="286" y="10"/>
                  </a:lnTo>
                  <a:lnTo>
                    <a:pt x="305" y="10"/>
                  </a:lnTo>
                  <a:lnTo>
                    <a:pt x="296" y="10"/>
                  </a:lnTo>
                  <a:lnTo>
                    <a:pt x="276" y="10"/>
                  </a:lnTo>
                  <a:lnTo>
                    <a:pt x="267" y="10"/>
                  </a:lnTo>
                  <a:lnTo>
                    <a:pt x="257" y="10"/>
                  </a:lnTo>
                  <a:lnTo>
                    <a:pt x="276" y="19"/>
                  </a:lnTo>
                  <a:lnTo>
                    <a:pt x="276" y="29"/>
                  </a:lnTo>
                  <a:lnTo>
                    <a:pt x="267" y="29"/>
                  </a:lnTo>
                  <a:lnTo>
                    <a:pt x="267" y="19"/>
                  </a:lnTo>
                  <a:lnTo>
                    <a:pt x="248" y="19"/>
                  </a:lnTo>
                  <a:lnTo>
                    <a:pt x="238" y="10"/>
                  </a:lnTo>
                  <a:lnTo>
                    <a:pt x="210" y="10"/>
                  </a:lnTo>
                  <a:lnTo>
                    <a:pt x="229" y="19"/>
                  </a:lnTo>
                  <a:lnTo>
                    <a:pt x="238" y="29"/>
                  </a:lnTo>
                  <a:lnTo>
                    <a:pt x="229" y="29"/>
                  </a:lnTo>
                  <a:lnTo>
                    <a:pt x="219" y="38"/>
                  </a:lnTo>
                  <a:lnTo>
                    <a:pt x="219" y="29"/>
                  </a:lnTo>
                  <a:lnTo>
                    <a:pt x="210" y="19"/>
                  </a:lnTo>
                  <a:lnTo>
                    <a:pt x="200" y="10"/>
                  </a:lnTo>
                  <a:lnTo>
                    <a:pt x="191" y="19"/>
                  </a:lnTo>
                  <a:lnTo>
                    <a:pt x="181" y="10"/>
                  </a:lnTo>
                  <a:lnTo>
                    <a:pt x="172" y="10"/>
                  </a:lnTo>
                  <a:lnTo>
                    <a:pt x="162" y="19"/>
                  </a:lnTo>
                  <a:lnTo>
                    <a:pt x="172" y="19"/>
                  </a:lnTo>
                  <a:lnTo>
                    <a:pt x="181" y="19"/>
                  </a:lnTo>
                  <a:lnTo>
                    <a:pt x="181" y="29"/>
                  </a:lnTo>
                  <a:lnTo>
                    <a:pt x="172" y="29"/>
                  </a:lnTo>
                  <a:lnTo>
                    <a:pt x="153" y="19"/>
                  </a:lnTo>
                  <a:lnTo>
                    <a:pt x="143" y="19"/>
                  </a:lnTo>
                  <a:lnTo>
                    <a:pt x="162" y="29"/>
                  </a:lnTo>
                  <a:lnTo>
                    <a:pt x="143" y="29"/>
                  </a:lnTo>
                  <a:lnTo>
                    <a:pt x="133" y="29"/>
                  </a:lnTo>
                  <a:lnTo>
                    <a:pt x="124" y="29"/>
                  </a:lnTo>
                  <a:lnTo>
                    <a:pt x="133" y="29"/>
                  </a:lnTo>
                  <a:lnTo>
                    <a:pt x="143" y="29"/>
                  </a:lnTo>
                  <a:lnTo>
                    <a:pt x="133" y="38"/>
                  </a:lnTo>
                  <a:lnTo>
                    <a:pt x="124" y="38"/>
                  </a:lnTo>
                  <a:lnTo>
                    <a:pt x="133" y="38"/>
                  </a:lnTo>
                  <a:lnTo>
                    <a:pt x="153" y="48"/>
                  </a:lnTo>
                  <a:lnTo>
                    <a:pt x="162" y="48"/>
                  </a:lnTo>
                  <a:lnTo>
                    <a:pt x="162" y="57"/>
                  </a:lnTo>
                  <a:lnTo>
                    <a:pt x="133" y="48"/>
                  </a:lnTo>
                  <a:lnTo>
                    <a:pt x="124" y="48"/>
                  </a:lnTo>
                  <a:lnTo>
                    <a:pt x="133" y="48"/>
                  </a:lnTo>
                  <a:lnTo>
                    <a:pt x="124" y="48"/>
                  </a:lnTo>
                  <a:lnTo>
                    <a:pt x="105" y="38"/>
                  </a:lnTo>
                  <a:lnTo>
                    <a:pt x="95" y="29"/>
                  </a:lnTo>
                  <a:lnTo>
                    <a:pt x="86" y="38"/>
                  </a:lnTo>
                  <a:lnTo>
                    <a:pt x="76" y="38"/>
                  </a:lnTo>
                  <a:lnTo>
                    <a:pt x="76" y="48"/>
                  </a:lnTo>
                  <a:lnTo>
                    <a:pt x="86" y="48"/>
                  </a:lnTo>
                  <a:lnTo>
                    <a:pt x="95" y="48"/>
                  </a:lnTo>
                  <a:lnTo>
                    <a:pt x="105" y="57"/>
                  </a:lnTo>
                  <a:lnTo>
                    <a:pt x="95" y="57"/>
                  </a:lnTo>
                  <a:lnTo>
                    <a:pt x="86" y="57"/>
                  </a:lnTo>
                  <a:lnTo>
                    <a:pt x="76" y="57"/>
                  </a:lnTo>
                  <a:lnTo>
                    <a:pt x="67" y="57"/>
                  </a:lnTo>
                  <a:lnTo>
                    <a:pt x="57" y="48"/>
                  </a:lnTo>
                  <a:lnTo>
                    <a:pt x="48" y="48"/>
                  </a:lnTo>
                  <a:lnTo>
                    <a:pt x="38" y="57"/>
                  </a:lnTo>
                  <a:lnTo>
                    <a:pt x="19" y="57"/>
                  </a:lnTo>
                  <a:lnTo>
                    <a:pt x="10" y="67"/>
                  </a:lnTo>
                  <a:lnTo>
                    <a:pt x="0" y="67"/>
                  </a:lnTo>
                  <a:lnTo>
                    <a:pt x="10" y="67"/>
                  </a:lnTo>
                  <a:lnTo>
                    <a:pt x="19" y="77"/>
                  </a:lnTo>
                  <a:lnTo>
                    <a:pt x="29" y="67"/>
                  </a:lnTo>
                  <a:lnTo>
                    <a:pt x="29" y="77"/>
                  </a:lnTo>
                  <a:lnTo>
                    <a:pt x="19" y="77"/>
                  </a:lnTo>
                  <a:lnTo>
                    <a:pt x="29" y="77"/>
                  </a:lnTo>
                  <a:lnTo>
                    <a:pt x="38" y="77"/>
                  </a:lnTo>
                  <a:lnTo>
                    <a:pt x="57" y="77"/>
                  </a:lnTo>
                  <a:lnTo>
                    <a:pt x="67" y="77"/>
                  </a:lnTo>
                  <a:lnTo>
                    <a:pt x="48" y="77"/>
                  </a:lnTo>
                  <a:lnTo>
                    <a:pt x="38" y="86"/>
                  </a:lnTo>
                  <a:lnTo>
                    <a:pt x="29" y="86"/>
                  </a:lnTo>
                  <a:lnTo>
                    <a:pt x="29" y="96"/>
                  </a:lnTo>
                  <a:lnTo>
                    <a:pt x="57" y="96"/>
                  </a:lnTo>
                  <a:lnTo>
                    <a:pt x="76" y="96"/>
                  </a:lnTo>
                  <a:lnTo>
                    <a:pt x="95" y="86"/>
                  </a:lnTo>
                  <a:lnTo>
                    <a:pt x="105" y="86"/>
                  </a:lnTo>
                  <a:lnTo>
                    <a:pt x="95" y="96"/>
                  </a:lnTo>
                  <a:lnTo>
                    <a:pt x="76" y="96"/>
                  </a:lnTo>
                  <a:lnTo>
                    <a:pt x="57" y="96"/>
                  </a:lnTo>
                  <a:lnTo>
                    <a:pt x="38" y="96"/>
                  </a:lnTo>
                  <a:lnTo>
                    <a:pt x="38" y="105"/>
                  </a:lnTo>
                  <a:lnTo>
                    <a:pt x="57" y="105"/>
                  </a:lnTo>
                  <a:lnTo>
                    <a:pt x="67" y="105"/>
                  </a:lnTo>
                  <a:lnTo>
                    <a:pt x="76" y="105"/>
                  </a:lnTo>
                  <a:lnTo>
                    <a:pt x="95" y="96"/>
                  </a:lnTo>
                  <a:lnTo>
                    <a:pt x="114" y="96"/>
                  </a:lnTo>
                  <a:lnTo>
                    <a:pt x="133" y="86"/>
                  </a:lnTo>
                  <a:lnTo>
                    <a:pt x="133" y="96"/>
                  </a:lnTo>
                  <a:lnTo>
                    <a:pt x="105" y="96"/>
                  </a:lnTo>
                  <a:lnTo>
                    <a:pt x="86" y="105"/>
                  </a:lnTo>
                  <a:lnTo>
                    <a:pt x="86" y="115"/>
                  </a:lnTo>
                  <a:lnTo>
                    <a:pt x="105" y="115"/>
                  </a:lnTo>
                  <a:lnTo>
                    <a:pt x="114" y="115"/>
                  </a:lnTo>
                  <a:lnTo>
                    <a:pt x="114" y="105"/>
                  </a:lnTo>
                  <a:lnTo>
                    <a:pt x="124" y="105"/>
                  </a:lnTo>
                  <a:lnTo>
                    <a:pt x="133" y="105"/>
                  </a:lnTo>
                  <a:lnTo>
                    <a:pt x="143" y="105"/>
                  </a:lnTo>
                  <a:lnTo>
                    <a:pt x="124" y="105"/>
                  </a:lnTo>
                  <a:lnTo>
                    <a:pt x="133" y="115"/>
                  </a:lnTo>
                  <a:lnTo>
                    <a:pt x="153" y="105"/>
                  </a:lnTo>
                  <a:lnTo>
                    <a:pt x="162" y="105"/>
                  </a:lnTo>
                  <a:lnTo>
                    <a:pt x="181" y="96"/>
                  </a:lnTo>
                  <a:lnTo>
                    <a:pt x="172" y="86"/>
                  </a:lnTo>
                  <a:lnTo>
                    <a:pt x="191" y="86"/>
                  </a:lnTo>
                  <a:lnTo>
                    <a:pt x="200" y="77"/>
                  </a:lnTo>
                  <a:lnTo>
                    <a:pt x="210" y="77"/>
                  </a:lnTo>
                  <a:lnTo>
                    <a:pt x="210" y="86"/>
                  </a:lnTo>
                  <a:lnTo>
                    <a:pt x="191" y="86"/>
                  </a:lnTo>
                  <a:lnTo>
                    <a:pt x="191" y="96"/>
                  </a:lnTo>
                  <a:lnTo>
                    <a:pt x="210" y="96"/>
                  </a:lnTo>
                  <a:lnTo>
                    <a:pt x="229" y="96"/>
                  </a:lnTo>
                  <a:lnTo>
                    <a:pt x="229" y="105"/>
                  </a:lnTo>
                  <a:lnTo>
                    <a:pt x="210" y="105"/>
                  </a:lnTo>
                  <a:lnTo>
                    <a:pt x="191" y="105"/>
                  </a:lnTo>
                  <a:lnTo>
                    <a:pt x="172" y="105"/>
                  </a:lnTo>
                  <a:lnTo>
                    <a:pt x="181" y="105"/>
                  </a:lnTo>
                  <a:lnTo>
                    <a:pt x="191" y="105"/>
                  </a:lnTo>
                  <a:lnTo>
                    <a:pt x="191" y="115"/>
                  </a:lnTo>
                  <a:lnTo>
                    <a:pt x="172" y="115"/>
                  </a:lnTo>
                  <a:lnTo>
                    <a:pt x="162" y="115"/>
                  </a:lnTo>
                  <a:lnTo>
                    <a:pt x="153" y="115"/>
                  </a:lnTo>
                  <a:lnTo>
                    <a:pt x="133" y="115"/>
                  </a:lnTo>
                  <a:lnTo>
                    <a:pt x="133" y="124"/>
                  </a:lnTo>
                  <a:lnTo>
                    <a:pt x="143" y="124"/>
                  </a:lnTo>
                  <a:lnTo>
                    <a:pt x="153" y="134"/>
                  </a:lnTo>
                  <a:lnTo>
                    <a:pt x="153" y="143"/>
                  </a:lnTo>
                  <a:lnTo>
                    <a:pt x="162" y="143"/>
                  </a:lnTo>
                  <a:lnTo>
                    <a:pt x="172" y="143"/>
                  </a:lnTo>
                  <a:lnTo>
                    <a:pt x="181" y="143"/>
                  </a:lnTo>
                  <a:lnTo>
                    <a:pt x="172" y="143"/>
                  </a:lnTo>
                  <a:lnTo>
                    <a:pt x="153" y="143"/>
                  </a:lnTo>
                  <a:lnTo>
                    <a:pt x="143" y="134"/>
                  </a:lnTo>
                  <a:lnTo>
                    <a:pt x="124" y="124"/>
                  </a:lnTo>
                  <a:lnTo>
                    <a:pt x="105" y="124"/>
                  </a:lnTo>
                  <a:lnTo>
                    <a:pt x="86" y="124"/>
                  </a:lnTo>
                  <a:lnTo>
                    <a:pt x="76" y="124"/>
                  </a:lnTo>
                  <a:lnTo>
                    <a:pt x="95" y="134"/>
                  </a:lnTo>
                  <a:lnTo>
                    <a:pt x="76" y="134"/>
                  </a:lnTo>
                  <a:lnTo>
                    <a:pt x="95" y="143"/>
                  </a:lnTo>
                  <a:lnTo>
                    <a:pt x="105" y="143"/>
                  </a:lnTo>
                  <a:lnTo>
                    <a:pt x="114" y="153"/>
                  </a:lnTo>
                  <a:lnTo>
                    <a:pt x="124" y="162"/>
                  </a:lnTo>
                  <a:lnTo>
                    <a:pt x="114" y="162"/>
                  </a:lnTo>
                  <a:lnTo>
                    <a:pt x="105" y="162"/>
                  </a:lnTo>
                  <a:lnTo>
                    <a:pt x="124" y="162"/>
                  </a:lnTo>
                  <a:lnTo>
                    <a:pt x="133" y="162"/>
                  </a:lnTo>
                  <a:lnTo>
                    <a:pt x="153" y="162"/>
                  </a:lnTo>
                  <a:lnTo>
                    <a:pt x="153" y="172"/>
                  </a:lnTo>
                  <a:lnTo>
                    <a:pt x="143" y="172"/>
                  </a:lnTo>
                  <a:lnTo>
                    <a:pt x="381"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98" name="Freeform 379">
              <a:extLst>
                <a:ext uri="{FF2B5EF4-FFF2-40B4-BE49-F238E27FC236}">
                  <a16:creationId xmlns:a16="http://schemas.microsoft.com/office/drawing/2014/main" id="{66EB3BA7-CF86-465A-8C52-F6FF431BFF89}"/>
                </a:ext>
              </a:extLst>
            </p:cNvPr>
            <p:cNvSpPr>
              <a:spLocks/>
            </p:cNvSpPr>
            <p:nvPr/>
          </p:nvSpPr>
          <p:spPr bwMode="gray">
            <a:xfrm>
              <a:off x="1458" y="1335"/>
              <a:ext cx="95" cy="48"/>
            </a:xfrm>
            <a:custGeom>
              <a:avLst/>
              <a:gdLst>
                <a:gd name="T0" fmla="*/ 95 w 95"/>
                <a:gd name="T1" fmla="*/ 10 h 48"/>
                <a:gd name="T2" fmla="*/ 76 w 95"/>
                <a:gd name="T3" fmla="*/ 10 h 48"/>
                <a:gd name="T4" fmla="*/ 66 w 95"/>
                <a:gd name="T5" fmla="*/ 10 h 48"/>
                <a:gd name="T6" fmla="*/ 47 w 95"/>
                <a:gd name="T7" fmla="*/ 0 h 48"/>
                <a:gd name="T8" fmla="*/ 38 w 95"/>
                <a:gd name="T9" fmla="*/ 10 h 48"/>
                <a:gd name="T10" fmla="*/ 28 w 95"/>
                <a:gd name="T11" fmla="*/ 10 h 48"/>
                <a:gd name="T12" fmla="*/ 28 w 95"/>
                <a:gd name="T13" fmla="*/ 10 h 48"/>
                <a:gd name="T14" fmla="*/ 19 w 95"/>
                <a:gd name="T15" fmla="*/ 20 h 48"/>
                <a:gd name="T16" fmla="*/ 19 w 95"/>
                <a:gd name="T17" fmla="*/ 29 h 48"/>
                <a:gd name="T18" fmla="*/ 28 w 95"/>
                <a:gd name="T19" fmla="*/ 29 h 48"/>
                <a:gd name="T20" fmla="*/ 38 w 95"/>
                <a:gd name="T21" fmla="*/ 20 h 48"/>
                <a:gd name="T22" fmla="*/ 38 w 95"/>
                <a:gd name="T23" fmla="*/ 20 h 48"/>
                <a:gd name="T24" fmla="*/ 38 w 95"/>
                <a:gd name="T25" fmla="*/ 29 h 48"/>
                <a:gd name="T26" fmla="*/ 47 w 95"/>
                <a:gd name="T27" fmla="*/ 29 h 48"/>
                <a:gd name="T28" fmla="*/ 57 w 95"/>
                <a:gd name="T29" fmla="*/ 20 h 48"/>
                <a:gd name="T30" fmla="*/ 57 w 95"/>
                <a:gd name="T31" fmla="*/ 20 h 48"/>
                <a:gd name="T32" fmla="*/ 57 w 95"/>
                <a:gd name="T33" fmla="*/ 20 h 48"/>
                <a:gd name="T34" fmla="*/ 66 w 95"/>
                <a:gd name="T35" fmla="*/ 29 h 48"/>
                <a:gd name="T36" fmla="*/ 57 w 95"/>
                <a:gd name="T37" fmla="*/ 29 h 48"/>
                <a:gd name="T38" fmla="*/ 57 w 95"/>
                <a:gd name="T39" fmla="*/ 29 h 48"/>
                <a:gd name="T40" fmla="*/ 47 w 95"/>
                <a:gd name="T41" fmla="*/ 29 h 48"/>
                <a:gd name="T42" fmla="*/ 47 w 95"/>
                <a:gd name="T43" fmla="*/ 39 h 48"/>
                <a:gd name="T44" fmla="*/ 66 w 95"/>
                <a:gd name="T45" fmla="*/ 39 h 48"/>
                <a:gd name="T46" fmla="*/ 76 w 95"/>
                <a:gd name="T47" fmla="*/ 39 h 48"/>
                <a:gd name="T48" fmla="*/ 85 w 95"/>
                <a:gd name="T49" fmla="*/ 29 h 48"/>
                <a:gd name="T50" fmla="*/ 95 w 95"/>
                <a:gd name="T51" fmla="*/ 29 h 48"/>
                <a:gd name="T52" fmla="*/ 95 w 95"/>
                <a:gd name="T53" fmla="*/ 29 h 48"/>
                <a:gd name="T54" fmla="*/ 85 w 95"/>
                <a:gd name="T55" fmla="*/ 39 h 48"/>
                <a:gd name="T56" fmla="*/ 76 w 95"/>
                <a:gd name="T57" fmla="*/ 48 h 48"/>
                <a:gd name="T58" fmla="*/ 66 w 95"/>
                <a:gd name="T59" fmla="*/ 48 h 48"/>
                <a:gd name="T60" fmla="*/ 57 w 95"/>
                <a:gd name="T61" fmla="*/ 48 h 48"/>
                <a:gd name="T62" fmla="*/ 38 w 95"/>
                <a:gd name="T63" fmla="*/ 48 h 48"/>
                <a:gd name="T64" fmla="*/ 38 w 95"/>
                <a:gd name="T65" fmla="*/ 39 h 48"/>
                <a:gd name="T66" fmla="*/ 19 w 95"/>
                <a:gd name="T67" fmla="*/ 29 h 48"/>
                <a:gd name="T68" fmla="*/ 19 w 95"/>
                <a:gd name="T69" fmla="*/ 39 h 48"/>
                <a:gd name="T70" fmla="*/ 0 w 95"/>
                <a:gd name="T71" fmla="*/ 39 h 48"/>
                <a:gd name="T72" fmla="*/ 9 w 95"/>
                <a:gd name="T73" fmla="*/ 48 h 48"/>
                <a:gd name="T74" fmla="*/ 28 w 95"/>
                <a:gd name="T75" fmla="*/ 48 h 48"/>
                <a:gd name="T76" fmla="*/ 95 w 95"/>
                <a:gd name="T77" fmla="*/ 10 h 4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5"/>
                <a:gd name="T118" fmla="*/ 0 h 48"/>
                <a:gd name="T119" fmla="*/ 95 w 95"/>
                <a:gd name="T120" fmla="*/ 48 h 4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5" h="48">
                  <a:moveTo>
                    <a:pt x="95" y="10"/>
                  </a:moveTo>
                  <a:lnTo>
                    <a:pt x="76" y="10"/>
                  </a:lnTo>
                  <a:lnTo>
                    <a:pt x="66" y="10"/>
                  </a:lnTo>
                  <a:lnTo>
                    <a:pt x="47" y="0"/>
                  </a:lnTo>
                  <a:lnTo>
                    <a:pt x="38" y="10"/>
                  </a:lnTo>
                  <a:lnTo>
                    <a:pt x="28" y="10"/>
                  </a:lnTo>
                  <a:lnTo>
                    <a:pt x="19" y="20"/>
                  </a:lnTo>
                  <a:lnTo>
                    <a:pt x="19" y="29"/>
                  </a:lnTo>
                  <a:lnTo>
                    <a:pt x="28" y="29"/>
                  </a:lnTo>
                  <a:lnTo>
                    <a:pt x="38" y="20"/>
                  </a:lnTo>
                  <a:lnTo>
                    <a:pt x="38" y="29"/>
                  </a:lnTo>
                  <a:lnTo>
                    <a:pt x="47" y="29"/>
                  </a:lnTo>
                  <a:lnTo>
                    <a:pt x="57" y="20"/>
                  </a:lnTo>
                  <a:lnTo>
                    <a:pt x="66" y="29"/>
                  </a:lnTo>
                  <a:lnTo>
                    <a:pt x="57" y="29"/>
                  </a:lnTo>
                  <a:lnTo>
                    <a:pt x="47" y="29"/>
                  </a:lnTo>
                  <a:lnTo>
                    <a:pt x="47" y="39"/>
                  </a:lnTo>
                  <a:lnTo>
                    <a:pt x="66" y="39"/>
                  </a:lnTo>
                  <a:lnTo>
                    <a:pt x="76" y="39"/>
                  </a:lnTo>
                  <a:lnTo>
                    <a:pt x="85" y="29"/>
                  </a:lnTo>
                  <a:lnTo>
                    <a:pt x="95" y="29"/>
                  </a:lnTo>
                  <a:lnTo>
                    <a:pt x="85" y="39"/>
                  </a:lnTo>
                  <a:lnTo>
                    <a:pt x="76" y="48"/>
                  </a:lnTo>
                  <a:lnTo>
                    <a:pt x="66" y="48"/>
                  </a:lnTo>
                  <a:lnTo>
                    <a:pt x="57" y="48"/>
                  </a:lnTo>
                  <a:lnTo>
                    <a:pt x="38" y="48"/>
                  </a:lnTo>
                  <a:lnTo>
                    <a:pt x="38" y="39"/>
                  </a:lnTo>
                  <a:lnTo>
                    <a:pt x="19" y="29"/>
                  </a:lnTo>
                  <a:lnTo>
                    <a:pt x="19" y="39"/>
                  </a:lnTo>
                  <a:lnTo>
                    <a:pt x="0" y="39"/>
                  </a:lnTo>
                  <a:lnTo>
                    <a:pt x="9" y="48"/>
                  </a:lnTo>
                  <a:lnTo>
                    <a:pt x="28" y="48"/>
                  </a:lnTo>
                  <a:lnTo>
                    <a:pt x="95"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399" name="Freeform 380">
              <a:extLst>
                <a:ext uri="{FF2B5EF4-FFF2-40B4-BE49-F238E27FC236}">
                  <a16:creationId xmlns:a16="http://schemas.microsoft.com/office/drawing/2014/main" id="{CDED6B50-DD0E-4593-9C83-2D81B04E02BD}"/>
                </a:ext>
              </a:extLst>
            </p:cNvPr>
            <p:cNvSpPr>
              <a:spLocks/>
            </p:cNvSpPr>
            <p:nvPr/>
          </p:nvSpPr>
          <p:spPr bwMode="gray">
            <a:xfrm>
              <a:off x="1343" y="1259"/>
              <a:ext cx="172" cy="105"/>
            </a:xfrm>
            <a:custGeom>
              <a:avLst/>
              <a:gdLst>
                <a:gd name="T0" fmla="*/ 67 w 172"/>
                <a:gd name="T1" fmla="*/ 0 h 105"/>
                <a:gd name="T2" fmla="*/ 77 w 172"/>
                <a:gd name="T3" fmla="*/ 10 h 105"/>
                <a:gd name="T4" fmla="*/ 96 w 172"/>
                <a:gd name="T5" fmla="*/ 29 h 105"/>
                <a:gd name="T6" fmla="*/ 105 w 172"/>
                <a:gd name="T7" fmla="*/ 38 h 105"/>
                <a:gd name="T8" fmla="*/ 124 w 172"/>
                <a:gd name="T9" fmla="*/ 48 h 105"/>
                <a:gd name="T10" fmla="*/ 115 w 172"/>
                <a:gd name="T11" fmla="*/ 38 h 105"/>
                <a:gd name="T12" fmla="*/ 134 w 172"/>
                <a:gd name="T13" fmla="*/ 29 h 105"/>
                <a:gd name="T14" fmla="*/ 134 w 172"/>
                <a:gd name="T15" fmla="*/ 38 h 105"/>
                <a:gd name="T16" fmla="*/ 143 w 172"/>
                <a:gd name="T17" fmla="*/ 57 h 105"/>
                <a:gd name="T18" fmla="*/ 172 w 172"/>
                <a:gd name="T19" fmla="*/ 57 h 105"/>
                <a:gd name="T20" fmla="*/ 162 w 172"/>
                <a:gd name="T21" fmla="*/ 67 h 105"/>
                <a:gd name="T22" fmla="*/ 134 w 172"/>
                <a:gd name="T23" fmla="*/ 86 h 105"/>
                <a:gd name="T24" fmla="*/ 124 w 172"/>
                <a:gd name="T25" fmla="*/ 76 h 105"/>
                <a:gd name="T26" fmla="*/ 124 w 172"/>
                <a:gd name="T27" fmla="*/ 86 h 105"/>
                <a:gd name="T28" fmla="*/ 115 w 172"/>
                <a:gd name="T29" fmla="*/ 86 h 105"/>
                <a:gd name="T30" fmla="*/ 124 w 172"/>
                <a:gd name="T31" fmla="*/ 96 h 105"/>
                <a:gd name="T32" fmla="*/ 105 w 172"/>
                <a:gd name="T33" fmla="*/ 96 h 105"/>
                <a:gd name="T34" fmla="*/ 96 w 172"/>
                <a:gd name="T35" fmla="*/ 86 h 105"/>
                <a:gd name="T36" fmla="*/ 105 w 172"/>
                <a:gd name="T37" fmla="*/ 96 h 105"/>
                <a:gd name="T38" fmla="*/ 86 w 172"/>
                <a:gd name="T39" fmla="*/ 96 h 105"/>
                <a:gd name="T40" fmla="*/ 57 w 172"/>
                <a:gd name="T41" fmla="*/ 96 h 105"/>
                <a:gd name="T42" fmla="*/ 48 w 172"/>
                <a:gd name="T43" fmla="*/ 86 h 105"/>
                <a:gd name="T44" fmla="*/ 48 w 172"/>
                <a:gd name="T45" fmla="*/ 86 h 105"/>
                <a:gd name="T46" fmla="*/ 38 w 172"/>
                <a:gd name="T47" fmla="*/ 76 h 105"/>
                <a:gd name="T48" fmla="*/ 67 w 172"/>
                <a:gd name="T49" fmla="*/ 67 h 105"/>
                <a:gd name="T50" fmla="*/ 57 w 172"/>
                <a:gd name="T51" fmla="*/ 67 h 105"/>
                <a:gd name="T52" fmla="*/ 77 w 172"/>
                <a:gd name="T53" fmla="*/ 67 h 105"/>
                <a:gd name="T54" fmla="*/ 57 w 172"/>
                <a:gd name="T55" fmla="*/ 57 h 105"/>
                <a:gd name="T56" fmla="*/ 19 w 172"/>
                <a:gd name="T57" fmla="*/ 67 h 105"/>
                <a:gd name="T58" fmla="*/ 38 w 172"/>
                <a:gd name="T59" fmla="*/ 57 h 105"/>
                <a:gd name="T60" fmla="*/ 29 w 172"/>
                <a:gd name="T61" fmla="*/ 57 h 105"/>
                <a:gd name="T62" fmla="*/ 10 w 172"/>
                <a:gd name="T63" fmla="*/ 48 h 105"/>
                <a:gd name="T64" fmla="*/ 10 w 172"/>
                <a:gd name="T65" fmla="*/ 38 h 105"/>
                <a:gd name="T66" fmla="*/ 38 w 172"/>
                <a:gd name="T67" fmla="*/ 38 h 105"/>
                <a:gd name="T68" fmla="*/ 29 w 172"/>
                <a:gd name="T69" fmla="*/ 38 h 105"/>
                <a:gd name="T70" fmla="*/ 19 w 172"/>
                <a:gd name="T71" fmla="*/ 29 h 105"/>
                <a:gd name="T72" fmla="*/ 19 w 172"/>
                <a:gd name="T73" fmla="*/ 29 h 105"/>
                <a:gd name="T74" fmla="*/ 29 w 172"/>
                <a:gd name="T75" fmla="*/ 19 h 105"/>
                <a:gd name="T76" fmla="*/ 48 w 172"/>
                <a:gd name="T77" fmla="*/ 19 h 105"/>
                <a:gd name="T78" fmla="*/ 29 w 172"/>
                <a:gd name="T79" fmla="*/ 10 h 105"/>
                <a:gd name="T80" fmla="*/ 38 w 172"/>
                <a:gd name="T81" fmla="*/ 10 h 105"/>
                <a:gd name="T82" fmla="*/ 38 w 172"/>
                <a:gd name="T83" fmla="*/ 10 h 105"/>
                <a:gd name="T84" fmla="*/ 48 w 172"/>
                <a:gd name="T85" fmla="*/ 0 h 105"/>
                <a:gd name="T86" fmla="*/ 29 w 172"/>
                <a:gd name="T87" fmla="*/ 0 h 105"/>
                <a:gd name="T88" fmla="*/ 57 w 172"/>
                <a:gd name="T89" fmla="*/ 0 h 10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2"/>
                <a:gd name="T136" fmla="*/ 0 h 105"/>
                <a:gd name="T137" fmla="*/ 172 w 172"/>
                <a:gd name="T138" fmla="*/ 105 h 10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2" h="105">
                  <a:moveTo>
                    <a:pt x="57" y="0"/>
                  </a:moveTo>
                  <a:lnTo>
                    <a:pt x="67" y="0"/>
                  </a:lnTo>
                  <a:lnTo>
                    <a:pt x="77" y="0"/>
                  </a:lnTo>
                  <a:lnTo>
                    <a:pt x="77" y="10"/>
                  </a:lnTo>
                  <a:lnTo>
                    <a:pt x="86" y="19"/>
                  </a:lnTo>
                  <a:lnTo>
                    <a:pt x="96" y="29"/>
                  </a:lnTo>
                  <a:lnTo>
                    <a:pt x="115" y="29"/>
                  </a:lnTo>
                  <a:lnTo>
                    <a:pt x="105" y="38"/>
                  </a:lnTo>
                  <a:lnTo>
                    <a:pt x="115" y="38"/>
                  </a:lnTo>
                  <a:lnTo>
                    <a:pt x="124" y="48"/>
                  </a:lnTo>
                  <a:lnTo>
                    <a:pt x="124" y="38"/>
                  </a:lnTo>
                  <a:lnTo>
                    <a:pt x="115" y="38"/>
                  </a:lnTo>
                  <a:lnTo>
                    <a:pt x="124" y="29"/>
                  </a:lnTo>
                  <a:lnTo>
                    <a:pt x="134" y="29"/>
                  </a:lnTo>
                  <a:lnTo>
                    <a:pt x="134" y="38"/>
                  </a:lnTo>
                  <a:lnTo>
                    <a:pt x="143" y="48"/>
                  </a:lnTo>
                  <a:lnTo>
                    <a:pt x="143" y="57"/>
                  </a:lnTo>
                  <a:lnTo>
                    <a:pt x="162" y="57"/>
                  </a:lnTo>
                  <a:lnTo>
                    <a:pt x="172" y="57"/>
                  </a:lnTo>
                  <a:lnTo>
                    <a:pt x="172" y="67"/>
                  </a:lnTo>
                  <a:lnTo>
                    <a:pt x="162" y="67"/>
                  </a:lnTo>
                  <a:lnTo>
                    <a:pt x="143" y="76"/>
                  </a:lnTo>
                  <a:lnTo>
                    <a:pt x="134" y="86"/>
                  </a:lnTo>
                  <a:lnTo>
                    <a:pt x="124" y="76"/>
                  </a:lnTo>
                  <a:lnTo>
                    <a:pt x="124" y="86"/>
                  </a:lnTo>
                  <a:lnTo>
                    <a:pt x="124" y="96"/>
                  </a:lnTo>
                  <a:lnTo>
                    <a:pt x="115" y="86"/>
                  </a:lnTo>
                  <a:lnTo>
                    <a:pt x="115" y="96"/>
                  </a:lnTo>
                  <a:lnTo>
                    <a:pt x="124" y="96"/>
                  </a:lnTo>
                  <a:lnTo>
                    <a:pt x="115" y="105"/>
                  </a:lnTo>
                  <a:lnTo>
                    <a:pt x="105" y="96"/>
                  </a:lnTo>
                  <a:lnTo>
                    <a:pt x="96" y="86"/>
                  </a:lnTo>
                  <a:lnTo>
                    <a:pt x="96" y="96"/>
                  </a:lnTo>
                  <a:lnTo>
                    <a:pt x="105" y="96"/>
                  </a:lnTo>
                  <a:lnTo>
                    <a:pt x="86" y="96"/>
                  </a:lnTo>
                  <a:lnTo>
                    <a:pt x="86" y="105"/>
                  </a:lnTo>
                  <a:lnTo>
                    <a:pt x="57" y="96"/>
                  </a:lnTo>
                  <a:lnTo>
                    <a:pt x="48" y="86"/>
                  </a:lnTo>
                  <a:lnTo>
                    <a:pt x="38" y="76"/>
                  </a:lnTo>
                  <a:lnTo>
                    <a:pt x="48" y="86"/>
                  </a:lnTo>
                  <a:lnTo>
                    <a:pt x="48" y="76"/>
                  </a:lnTo>
                  <a:lnTo>
                    <a:pt x="38" y="76"/>
                  </a:lnTo>
                  <a:lnTo>
                    <a:pt x="48" y="67"/>
                  </a:lnTo>
                  <a:lnTo>
                    <a:pt x="67" y="67"/>
                  </a:lnTo>
                  <a:lnTo>
                    <a:pt x="86" y="67"/>
                  </a:lnTo>
                  <a:lnTo>
                    <a:pt x="57" y="67"/>
                  </a:lnTo>
                  <a:lnTo>
                    <a:pt x="77" y="67"/>
                  </a:lnTo>
                  <a:lnTo>
                    <a:pt x="67" y="67"/>
                  </a:lnTo>
                  <a:lnTo>
                    <a:pt x="57" y="57"/>
                  </a:lnTo>
                  <a:lnTo>
                    <a:pt x="38" y="67"/>
                  </a:lnTo>
                  <a:lnTo>
                    <a:pt x="19" y="67"/>
                  </a:lnTo>
                  <a:lnTo>
                    <a:pt x="19" y="57"/>
                  </a:lnTo>
                  <a:lnTo>
                    <a:pt x="38" y="57"/>
                  </a:lnTo>
                  <a:lnTo>
                    <a:pt x="38" y="48"/>
                  </a:lnTo>
                  <a:lnTo>
                    <a:pt x="29" y="57"/>
                  </a:lnTo>
                  <a:lnTo>
                    <a:pt x="19" y="57"/>
                  </a:lnTo>
                  <a:lnTo>
                    <a:pt x="10" y="48"/>
                  </a:lnTo>
                  <a:lnTo>
                    <a:pt x="10" y="38"/>
                  </a:lnTo>
                  <a:lnTo>
                    <a:pt x="19" y="38"/>
                  </a:lnTo>
                  <a:lnTo>
                    <a:pt x="38" y="38"/>
                  </a:lnTo>
                  <a:lnTo>
                    <a:pt x="29" y="38"/>
                  </a:lnTo>
                  <a:lnTo>
                    <a:pt x="0" y="29"/>
                  </a:lnTo>
                  <a:lnTo>
                    <a:pt x="19" y="29"/>
                  </a:lnTo>
                  <a:lnTo>
                    <a:pt x="19" y="19"/>
                  </a:lnTo>
                  <a:lnTo>
                    <a:pt x="29" y="19"/>
                  </a:lnTo>
                  <a:lnTo>
                    <a:pt x="38" y="29"/>
                  </a:lnTo>
                  <a:lnTo>
                    <a:pt x="48" y="19"/>
                  </a:lnTo>
                  <a:lnTo>
                    <a:pt x="29" y="19"/>
                  </a:lnTo>
                  <a:lnTo>
                    <a:pt x="29" y="10"/>
                  </a:lnTo>
                  <a:lnTo>
                    <a:pt x="38" y="10"/>
                  </a:lnTo>
                  <a:lnTo>
                    <a:pt x="48" y="10"/>
                  </a:lnTo>
                  <a:lnTo>
                    <a:pt x="38" y="10"/>
                  </a:lnTo>
                  <a:lnTo>
                    <a:pt x="57" y="0"/>
                  </a:lnTo>
                  <a:lnTo>
                    <a:pt x="48" y="0"/>
                  </a:lnTo>
                  <a:lnTo>
                    <a:pt x="38" y="0"/>
                  </a:lnTo>
                  <a:lnTo>
                    <a:pt x="29" y="0"/>
                  </a:lnTo>
                  <a:lnTo>
                    <a:pt x="48" y="0"/>
                  </a:lnTo>
                  <a:lnTo>
                    <a:pt x="57"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00" name="Freeform 381">
              <a:extLst>
                <a:ext uri="{FF2B5EF4-FFF2-40B4-BE49-F238E27FC236}">
                  <a16:creationId xmlns:a16="http://schemas.microsoft.com/office/drawing/2014/main" id="{4DE3DE58-83AF-469F-A98F-436C543BB0C5}"/>
                </a:ext>
              </a:extLst>
            </p:cNvPr>
            <p:cNvSpPr>
              <a:spLocks/>
            </p:cNvSpPr>
            <p:nvPr/>
          </p:nvSpPr>
          <p:spPr bwMode="gray">
            <a:xfrm>
              <a:off x="1410" y="1173"/>
              <a:ext cx="458" cy="239"/>
            </a:xfrm>
            <a:custGeom>
              <a:avLst/>
              <a:gdLst>
                <a:gd name="T0" fmla="*/ 38 w 458"/>
                <a:gd name="T1" fmla="*/ 220 h 239"/>
                <a:gd name="T2" fmla="*/ 57 w 458"/>
                <a:gd name="T3" fmla="*/ 239 h 239"/>
                <a:gd name="T4" fmla="*/ 86 w 458"/>
                <a:gd name="T5" fmla="*/ 229 h 239"/>
                <a:gd name="T6" fmla="*/ 114 w 458"/>
                <a:gd name="T7" fmla="*/ 229 h 239"/>
                <a:gd name="T8" fmla="*/ 133 w 458"/>
                <a:gd name="T9" fmla="*/ 229 h 239"/>
                <a:gd name="T10" fmla="*/ 162 w 458"/>
                <a:gd name="T11" fmla="*/ 229 h 239"/>
                <a:gd name="T12" fmla="*/ 210 w 458"/>
                <a:gd name="T13" fmla="*/ 229 h 239"/>
                <a:gd name="T14" fmla="*/ 191 w 458"/>
                <a:gd name="T15" fmla="*/ 210 h 239"/>
                <a:gd name="T16" fmla="*/ 153 w 458"/>
                <a:gd name="T17" fmla="*/ 201 h 239"/>
                <a:gd name="T18" fmla="*/ 200 w 458"/>
                <a:gd name="T19" fmla="*/ 191 h 239"/>
                <a:gd name="T20" fmla="*/ 238 w 458"/>
                <a:gd name="T21" fmla="*/ 191 h 239"/>
                <a:gd name="T22" fmla="*/ 248 w 458"/>
                <a:gd name="T23" fmla="*/ 162 h 239"/>
                <a:gd name="T24" fmla="*/ 229 w 458"/>
                <a:gd name="T25" fmla="*/ 162 h 239"/>
                <a:gd name="T26" fmla="*/ 257 w 458"/>
                <a:gd name="T27" fmla="*/ 153 h 239"/>
                <a:gd name="T28" fmla="*/ 229 w 458"/>
                <a:gd name="T29" fmla="*/ 153 h 239"/>
                <a:gd name="T30" fmla="*/ 257 w 458"/>
                <a:gd name="T31" fmla="*/ 143 h 239"/>
                <a:gd name="T32" fmla="*/ 276 w 458"/>
                <a:gd name="T33" fmla="*/ 143 h 239"/>
                <a:gd name="T34" fmla="*/ 286 w 458"/>
                <a:gd name="T35" fmla="*/ 134 h 239"/>
                <a:gd name="T36" fmla="*/ 305 w 458"/>
                <a:gd name="T37" fmla="*/ 115 h 239"/>
                <a:gd name="T38" fmla="*/ 353 w 458"/>
                <a:gd name="T39" fmla="*/ 105 h 239"/>
                <a:gd name="T40" fmla="*/ 400 w 458"/>
                <a:gd name="T41" fmla="*/ 77 h 239"/>
                <a:gd name="T42" fmla="*/ 334 w 458"/>
                <a:gd name="T43" fmla="*/ 86 h 239"/>
                <a:gd name="T44" fmla="*/ 353 w 458"/>
                <a:gd name="T45" fmla="*/ 77 h 239"/>
                <a:gd name="T46" fmla="*/ 334 w 458"/>
                <a:gd name="T47" fmla="*/ 67 h 239"/>
                <a:gd name="T48" fmla="*/ 410 w 458"/>
                <a:gd name="T49" fmla="*/ 67 h 239"/>
                <a:gd name="T50" fmla="*/ 458 w 458"/>
                <a:gd name="T51" fmla="*/ 38 h 239"/>
                <a:gd name="T52" fmla="*/ 410 w 458"/>
                <a:gd name="T53" fmla="*/ 19 h 239"/>
                <a:gd name="T54" fmla="*/ 381 w 458"/>
                <a:gd name="T55" fmla="*/ 19 h 239"/>
                <a:gd name="T56" fmla="*/ 362 w 458"/>
                <a:gd name="T57" fmla="*/ 10 h 239"/>
                <a:gd name="T58" fmla="*/ 286 w 458"/>
                <a:gd name="T59" fmla="*/ 10 h 239"/>
                <a:gd name="T60" fmla="*/ 257 w 458"/>
                <a:gd name="T61" fmla="*/ 10 h 239"/>
                <a:gd name="T62" fmla="*/ 248 w 458"/>
                <a:gd name="T63" fmla="*/ 19 h 239"/>
                <a:gd name="T64" fmla="*/ 238 w 458"/>
                <a:gd name="T65" fmla="*/ 29 h 239"/>
                <a:gd name="T66" fmla="*/ 181 w 458"/>
                <a:gd name="T67" fmla="*/ 10 h 239"/>
                <a:gd name="T68" fmla="*/ 153 w 458"/>
                <a:gd name="T69" fmla="*/ 19 h 239"/>
                <a:gd name="T70" fmla="*/ 133 w 458"/>
                <a:gd name="T71" fmla="*/ 29 h 239"/>
                <a:gd name="T72" fmla="*/ 124 w 458"/>
                <a:gd name="T73" fmla="*/ 38 h 239"/>
                <a:gd name="T74" fmla="*/ 124 w 458"/>
                <a:gd name="T75" fmla="*/ 48 h 239"/>
                <a:gd name="T76" fmla="*/ 86 w 458"/>
                <a:gd name="T77" fmla="*/ 38 h 239"/>
                <a:gd name="T78" fmla="*/ 95 w 458"/>
                <a:gd name="T79" fmla="*/ 57 h 239"/>
                <a:gd name="T80" fmla="*/ 48 w 458"/>
                <a:gd name="T81" fmla="*/ 48 h 239"/>
                <a:gd name="T82" fmla="*/ 19 w 458"/>
                <a:gd name="T83" fmla="*/ 77 h 239"/>
                <a:gd name="T84" fmla="*/ 67 w 458"/>
                <a:gd name="T85" fmla="*/ 77 h 239"/>
                <a:gd name="T86" fmla="*/ 57 w 458"/>
                <a:gd name="T87" fmla="*/ 96 h 239"/>
                <a:gd name="T88" fmla="*/ 57 w 458"/>
                <a:gd name="T89" fmla="*/ 96 h 239"/>
                <a:gd name="T90" fmla="*/ 95 w 458"/>
                <a:gd name="T91" fmla="*/ 96 h 239"/>
                <a:gd name="T92" fmla="*/ 86 w 458"/>
                <a:gd name="T93" fmla="*/ 115 h 239"/>
                <a:gd name="T94" fmla="*/ 143 w 458"/>
                <a:gd name="T95" fmla="*/ 105 h 239"/>
                <a:gd name="T96" fmla="*/ 172 w 458"/>
                <a:gd name="T97" fmla="*/ 86 h 239"/>
                <a:gd name="T98" fmla="*/ 191 w 458"/>
                <a:gd name="T99" fmla="*/ 96 h 239"/>
                <a:gd name="T100" fmla="*/ 181 w 458"/>
                <a:gd name="T101" fmla="*/ 105 h 239"/>
                <a:gd name="T102" fmla="*/ 133 w 458"/>
                <a:gd name="T103" fmla="*/ 124 h 239"/>
                <a:gd name="T104" fmla="*/ 172 w 458"/>
                <a:gd name="T105" fmla="*/ 143 h 239"/>
                <a:gd name="T106" fmla="*/ 95 w 458"/>
                <a:gd name="T107" fmla="*/ 134 h 239"/>
                <a:gd name="T108" fmla="*/ 124 w 458"/>
                <a:gd name="T109" fmla="*/ 162 h 239"/>
                <a:gd name="T110" fmla="*/ 143 w 458"/>
                <a:gd name="T111" fmla="*/ 172 h 239"/>
                <a:gd name="T112" fmla="*/ 76 w 458"/>
                <a:gd name="T113" fmla="*/ 172 h 239"/>
                <a:gd name="T114" fmla="*/ 95 w 458"/>
                <a:gd name="T115" fmla="*/ 191 h 239"/>
                <a:gd name="T116" fmla="*/ 95 w 458"/>
                <a:gd name="T117" fmla="*/ 191 h 239"/>
                <a:gd name="T118" fmla="*/ 133 w 458"/>
                <a:gd name="T119" fmla="*/ 201 h 239"/>
                <a:gd name="T120" fmla="*/ 67 w 458"/>
                <a:gd name="T121" fmla="*/ 201 h 2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58"/>
                <a:gd name="T184" fmla="*/ 0 h 239"/>
                <a:gd name="T185" fmla="*/ 458 w 458"/>
                <a:gd name="T186" fmla="*/ 239 h 2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58" h="239">
                  <a:moveTo>
                    <a:pt x="76" y="210"/>
                  </a:moveTo>
                  <a:lnTo>
                    <a:pt x="76" y="220"/>
                  </a:lnTo>
                  <a:lnTo>
                    <a:pt x="67" y="220"/>
                  </a:lnTo>
                  <a:lnTo>
                    <a:pt x="57" y="220"/>
                  </a:lnTo>
                  <a:lnTo>
                    <a:pt x="48" y="220"/>
                  </a:lnTo>
                  <a:lnTo>
                    <a:pt x="38" y="220"/>
                  </a:lnTo>
                  <a:lnTo>
                    <a:pt x="38" y="229"/>
                  </a:lnTo>
                  <a:lnTo>
                    <a:pt x="48" y="229"/>
                  </a:lnTo>
                  <a:lnTo>
                    <a:pt x="57" y="239"/>
                  </a:lnTo>
                  <a:lnTo>
                    <a:pt x="67" y="229"/>
                  </a:lnTo>
                  <a:lnTo>
                    <a:pt x="57" y="229"/>
                  </a:lnTo>
                  <a:lnTo>
                    <a:pt x="67" y="229"/>
                  </a:lnTo>
                  <a:lnTo>
                    <a:pt x="67" y="239"/>
                  </a:lnTo>
                  <a:lnTo>
                    <a:pt x="76" y="229"/>
                  </a:lnTo>
                  <a:lnTo>
                    <a:pt x="86" y="229"/>
                  </a:lnTo>
                  <a:lnTo>
                    <a:pt x="86" y="239"/>
                  </a:lnTo>
                  <a:lnTo>
                    <a:pt x="95" y="239"/>
                  </a:lnTo>
                  <a:lnTo>
                    <a:pt x="105" y="239"/>
                  </a:lnTo>
                  <a:lnTo>
                    <a:pt x="95" y="229"/>
                  </a:lnTo>
                  <a:lnTo>
                    <a:pt x="105" y="229"/>
                  </a:lnTo>
                  <a:lnTo>
                    <a:pt x="114" y="229"/>
                  </a:lnTo>
                  <a:lnTo>
                    <a:pt x="124" y="229"/>
                  </a:lnTo>
                  <a:lnTo>
                    <a:pt x="133" y="229"/>
                  </a:lnTo>
                  <a:lnTo>
                    <a:pt x="133" y="239"/>
                  </a:lnTo>
                  <a:lnTo>
                    <a:pt x="143" y="239"/>
                  </a:lnTo>
                  <a:lnTo>
                    <a:pt x="143" y="229"/>
                  </a:lnTo>
                  <a:lnTo>
                    <a:pt x="153" y="229"/>
                  </a:lnTo>
                  <a:lnTo>
                    <a:pt x="162" y="229"/>
                  </a:lnTo>
                  <a:lnTo>
                    <a:pt x="162" y="239"/>
                  </a:lnTo>
                  <a:lnTo>
                    <a:pt x="172" y="239"/>
                  </a:lnTo>
                  <a:lnTo>
                    <a:pt x="191" y="239"/>
                  </a:lnTo>
                  <a:lnTo>
                    <a:pt x="191" y="229"/>
                  </a:lnTo>
                  <a:lnTo>
                    <a:pt x="200" y="229"/>
                  </a:lnTo>
                  <a:lnTo>
                    <a:pt x="210" y="229"/>
                  </a:lnTo>
                  <a:lnTo>
                    <a:pt x="200" y="220"/>
                  </a:lnTo>
                  <a:lnTo>
                    <a:pt x="191" y="220"/>
                  </a:lnTo>
                  <a:lnTo>
                    <a:pt x="181" y="220"/>
                  </a:lnTo>
                  <a:lnTo>
                    <a:pt x="191" y="220"/>
                  </a:lnTo>
                  <a:lnTo>
                    <a:pt x="191" y="210"/>
                  </a:lnTo>
                  <a:lnTo>
                    <a:pt x="181" y="210"/>
                  </a:lnTo>
                  <a:lnTo>
                    <a:pt x="172" y="220"/>
                  </a:lnTo>
                  <a:lnTo>
                    <a:pt x="172" y="210"/>
                  </a:lnTo>
                  <a:lnTo>
                    <a:pt x="153" y="220"/>
                  </a:lnTo>
                  <a:lnTo>
                    <a:pt x="153" y="210"/>
                  </a:lnTo>
                  <a:lnTo>
                    <a:pt x="162" y="210"/>
                  </a:lnTo>
                  <a:lnTo>
                    <a:pt x="153" y="201"/>
                  </a:lnTo>
                  <a:lnTo>
                    <a:pt x="172" y="210"/>
                  </a:lnTo>
                  <a:lnTo>
                    <a:pt x="191" y="210"/>
                  </a:lnTo>
                  <a:lnTo>
                    <a:pt x="210" y="201"/>
                  </a:lnTo>
                  <a:lnTo>
                    <a:pt x="200" y="201"/>
                  </a:lnTo>
                  <a:lnTo>
                    <a:pt x="200" y="191"/>
                  </a:lnTo>
                  <a:lnTo>
                    <a:pt x="219" y="191"/>
                  </a:lnTo>
                  <a:lnTo>
                    <a:pt x="238" y="191"/>
                  </a:lnTo>
                  <a:lnTo>
                    <a:pt x="229" y="191"/>
                  </a:lnTo>
                  <a:lnTo>
                    <a:pt x="219" y="191"/>
                  </a:lnTo>
                  <a:lnTo>
                    <a:pt x="229" y="191"/>
                  </a:lnTo>
                  <a:lnTo>
                    <a:pt x="238" y="191"/>
                  </a:lnTo>
                  <a:lnTo>
                    <a:pt x="248" y="182"/>
                  </a:lnTo>
                  <a:lnTo>
                    <a:pt x="229" y="182"/>
                  </a:lnTo>
                  <a:lnTo>
                    <a:pt x="248" y="182"/>
                  </a:lnTo>
                  <a:lnTo>
                    <a:pt x="248" y="172"/>
                  </a:lnTo>
                  <a:lnTo>
                    <a:pt x="248" y="162"/>
                  </a:lnTo>
                  <a:lnTo>
                    <a:pt x="229" y="162"/>
                  </a:lnTo>
                  <a:lnTo>
                    <a:pt x="219" y="162"/>
                  </a:lnTo>
                  <a:lnTo>
                    <a:pt x="210" y="162"/>
                  </a:lnTo>
                  <a:lnTo>
                    <a:pt x="219" y="162"/>
                  </a:lnTo>
                  <a:lnTo>
                    <a:pt x="229" y="162"/>
                  </a:lnTo>
                  <a:lnTo>
                    <a:pt x="210" y="162"/>
                  </a:lnTo>
                  <a:lnTo>
                    <a:pt x="219" y="162"/>
                  </a:lnTo>
                  <a:lnTo>
                    <a:pt x="229" y="162"/>
                  </a:lnTo>
                  <a:lnTo>
                    <a:pt x="238" y="162"/>
                  </a:lnTo>
                  <a:lnTo>
                    <a:pt x="248" y="162"/>
                  </a:lnTo>
                  <a:lnTo>
                    <a:pt x="257" y="153"/>
                  </a:lnTo>
                  <a:lnTo>
                    <a:pt x="229" y="153"/>
                  </a:lnTo>
                  <a:lnTo>
                    <a:pt x="210" y="153"/>
                  </a:lnTo>
                  <a:lnTo>
                    <a:pt x="219" y="153"/>
                  </a:lnTo>
                  <a:lnTo>
                    <a:pt x="229" y="153"/>
                  </a:lnTo>
                  <a:lnTo>
                    <a:pt x="219" y="153"/>
                  </a:lnTo>
                  <a:lnTo>
                    <a:pt x="229" y="153"/>
                  </a:lnTo>
                  <a:lnTo>
                    <a:pt x="238" y="153"/>
                  </a:lnTo>
                  <a:lnTo>
                    <a:pt x="248" y="153"/>
                  </a:lnTo>
                  <a:lnTo>
                    <a:pt x="248" y="143"/>
                  </a:lnTo>
                  <a:lnTo>
                    <a:pt x="257" y="143"/>
                  </a:lnTo>
                  <a:lnTo>
                    <a:pt x="267" y="143"/>
                  </a:lnTo>
                  <a:lnTo>
                    <a:pt x="257" y="143"/>
                  </a:lnTo>
                  <a:lnTo>
                    <a:pt x="248" y="134"/>
                  </a:lnTo>
                  <a:lnTo>
                    <a:pt x="257" y="134"/>
                  </a:lnTo>
                  <a:lnTo>
                    <a:pt x="276" y="143"/>
                  </a:lnTo>
                  <a:lnTo>
                    <a:pt x="296" y="143"/>
                  </a:lnTo>
                  <a:lnTo>
                    <a:pt x="305" y="134"/>
                  </a:lnTo>
                  <a:lnTo>
                    <a:pt x="286" y="134"/>
                  </a:lnTo>
                  <a:lnTo>
                    <a:pt x="286" y="124"/>
                  </a:lnTo>
                  <a:lnTo>
                    <a:pt x="296" y="124"/>
                  </a:lnTo>
                  <a:lnTo>
                    <a:pt x="305" y="124"/>
                  </a:lnTo>
                  <a:lnTo>
                    <a:pt x="315" y="124"/>
                  </a:lnTo>
                  <a:lnTo>
                    <a:pt x="305" y="115"/>
                  </a:lnTo>
                  <a:lnTo>
                    <a:pt x="315" y="115"/>
                  </a:lnTo>
                  <a:lnTo>
                    <a:pt x="324" y="115"/>
                  </a:lnTo>
                  <a:lnTo>
                    <a:pt x="334" y="115"/>
                  </a:lnTo>
                  <a:lnTo>
                    <a:pt x="334" y="105"/>
                  </a:lnTo>
                  <a:lnTo>
                    <a:pt x="353" y="105"/>
                  </a:lnTo>
                  <a:lnTo>
                    <a:pt x="362" y="105"/>
                  </a:lnTo>
                  <a:lnTo>
                    <a:pt x="372" y="96"/>
                  </a:lnTo>
                  <a:lnTo>
                    <a:pt x="381" y="86"/>
                  </a:lnTo>
                  <a:lnTo>
                    <a:pt x="391" y="86"/>
                  </a:lnTo>
                  <a:lnTo>
                    <a:pt x="400" y="77"/>
                  </a:lnTo>
                  <a:lnTo>
                    <a:pt x="391" y="77"/>
                  </a:lnTo>
                  <a:lnTo>
                    <a:pt x="381" y="77"/>
                  </a:lnTo>
                  <a:lnTo>
                    <a:pt x="372" y="77"/>
                  </a:lnTo>
                  <a:lnTo>
                    <a:pt x="343" y="86"/>
                  </a:lnTo>
                  <a:lnTo>
                    <a:pt x="334" y="86"/>
                  </a:lnTo>
                  <a:lnTo>
                    <a:pt x="324" y="86"/>
                  </a:lnTo>
                  <a:lnTo>
                    <a:pt x="305" y="86"/>
                  </a:lnTo>
                  <a:lnTo>
                    <a:pt x="315" y="86"/>
                  </a:lnTo>
                  <a:lnTo>
                    <a:pt x="324" y="86"/>
                  </a:lnTo>
                  <a:lnTo>
                    <a:pt x="343" y="86"/>
                  </a:lnTo>
                  <a:lnTo>
                    <a:pt x="353" y="77"/>
                  </a:lnTo>
                  <a:lnTo>
                    <a:pt x="372" y="77"/>
                  </a:lnTo>
                  <a:lnTo>
                    <a:pt x="353" y="77"/>
                  </a:lnTo>
                  <a:lnTo>
                    <a:pt x="334" y="77"/>
                  </a:lnTo>
                  <a:lnTo>
                    <a:pt x="334" y="67"/>
                  </a:lnTo>
                  <a:lnTo>
                    <a:pt x="343" y="67"/>
                  </a:lnTo>
                  <a:lnTo>
                    <a:pt x="353" y="67"/>
                  </a:lnTo>
                  <a:lnTo>
                    <a:pt x="362" y="67"/>
                  </a:lnTo>
                  <a:lnTo>
                    <a:pt x="381" y="67"/>
                  </a:lnTo>
                  <a:lnTo>
                    <a:pt x="391" y="67"/>
                  </a:lnTo>
                  <a:lnTo>
                    <a:pt x="410" y="67"/>
                  </a:lnTo>
                  <a:lnTo>
                    <a:pt x="419" y="57"/>
                  </a:lnTo>
                  <a:lnTo>
                    <a:pt x="429" y="57"/>
                  </a:lnTo>
                  <a:lnTo>
                    <a:pt x="438" y="57"/>
                  </a:lnTo>
                  <a:lnTo>
                    <a:pt x="438" y="48"/>
                  </a:lnTo>
                  <a:lnTo>
                    <a:pt x="458" y="48"/>
                  </a:lnTo>
                  <a:lnTo>
                    <a:pt x="458" y="38"/>
                  </a:lnTo>
                  <a:lnTo>
                    <a:pt x="438" y="29"/>
                  </a:lnTo>
                  <a:lnTo>
                    <a:pt x="419" y="29"/>
                  </a:lnTo>
                  <a:lnTo>
                    <a:pt x="419" y="19"/>
                  </a:lnTo>
                  <a:lnTo>
                    <a:pt x="410" y="19"/>
                  </a:lnTo>
                  <a:lnTo>
                    <a:pt x="419" y="19"/>
                  </a:lnTo>
                  <a:lnTo>
                    <a:pt x="410" y="19"/>
                  </a:lnTo>
                  <a:lnTo>
                    <a:pt x="400" y="19"/>
                  </a:lnTo>
                  <a:lnTo>
                    <a:pt x="391" y="19"/>
                  </a:lnTo>
                  <a:lnTo>
                    <a:pt x="391" y="10"/>
                  </a:lnTo>
                  <a:lnTo>
                    <a:pt x="391" y="19"/>
                  </a:lnTo>
                  <a:lnTo>
                    <a:pt x="381" y="19"/>
                  </a:lnTo>
                  <a:lnTo>
                    <a:pt x="372" y="19"/>
                  </a:lnTo>
                  <a:lnTo>
                    <a:pt x="353" y="29"/>
                  </a:lnTo>
                  <a:lnTo>
                    <a:pt x="334" y="29"/>
                  </a:lnTo>
                  <a:lnTo>
                    <a:pt x="362" y="19"/>
                  </a:lnTo>
                  <a:lnTo>
                    <a:pt x="362" y="10"/>
                  </a:lnTo>
                  <a:lnTo>
                    <a:pt x="343" y="10"/>
                  </a:lnTo>
                  <a:lnTo>
                    <a:pt x="334" y="10"/>
                  </a:lnTo>
                  <a:lnTo>
                    <a:pt x="324" y="10"/>
                  </a:lnTo>
                  <a:lnTo>
                    <a:pt x="305" y="10"/>
                  </a:lnTo>
                  <a:lnTo>
                    <a:pt x="305" y="0"/>
                  </a:lnTo>
                  <a:lnTo>
                    <a:pt x="286" y="10"/>
                  </a:lnTo>
                  <a:lnTo>
                    <a:pt x="305" y="10"/>
                  </a:lnTo>
                  <a:lnTo>
                    <a:pt x="296" y="10"/>
                  </a:lnTo>
                  <a:lnTo>
                    <a:pt x="276" y="10"/>
                  </a:lnTo>
                  <a:lnTo>
                    <a:pt x="267" y="10"/>
                  </a:lnTo>
                  <a:lnTo>
                    <a:pt x="257" y="10"/>
                  </a:lnTo>
                  <a:lnTo>
                    <a:pt x="276" y="19"/>
                  </a:lnTo>
                  <a:lnTo>
                    <a:pt x="276" y="29"/>
                  </a:lnTo>
                  <a:lnTo>
                    <a:pt x="267" y="29"/>
                  </a:lnTo>
                  <a:lnTo>
                    <a:pt x="267" y="19"/>
                  </a:lnTo>
                  <a:lnTo>
                    <a:pt x="248" y="19"/>
                  </a:lnTo>
                  <a:lnTo>
                    <a:pt x="238" y="10"/>
                  </a:lnTo>
                  <a:lnTo>
                    <a:pt x="210" y="10"/>
                  </a:lnTo>
                  <a:lnTo>
                    <a:pt x="229" y="19"/>
                  </a:lnTo>
                  <a:lnTo>
                    <a:pt x="238" y="29"/>
                  </a:lnTo>
                  <a:lnTo>
                    <a:pt x="229" y="29"/>
                  </a:lnTo>
                  <a:lnTo>
                    <a:pt x="219" y="38"/>
                  </a:lnTo>
                  <a:lnTo>
                    <a:pt x="219" y="29"/>
                  </a:lnTo>
                  <a:lnTo>
                    <a:pt x="210" y="19"/>
                  </a:lnTo>
                  <a:lnTo>
                    <a:pt x="200" y="10"/>
                  </a:lnTo>
                  <a:lnTo>
                    <a:pt x="191" y="19"/>
                  </a:lnTo>
                  <a:lnTo>
                    <a:pt x="181" y="10"/>
                  </a:lnTo>
                  <a:lnTo>
                    <a:pt x="172" y="10"/>
                  </a:lnTo>
                  <a:lnTo>
                    <a:pt x="162" y="19"/>
                  </a:lnTo>
                  <a:lnTo>
                    <a:pt x="172" y="19"/>
                  </a:lnTo>
                  <a:lnTo>
                    <a:pt x="181" y="19"/>
                  </a:lnTo>
                  <a:lnTo>
                    <a:pt x="181" y="29"/>
                  </a:lnTo>
                  <a:lnTo>
                    <a:pt x="172" y="29"/>
                  </a:lnTo>
                  <a:lnTo>
                    <a:pt x="153" y="19"/>
                  </a:lnTo>
                  <a:lnTo>
                    <a:pt x="143" y="19"/>
                  </a:lnTo>
                  <a:lnTo>
                    <a:pt x="162" y="29"/>
                  </a:lnTo>
                  <a:lnTo>
                    <a:pt x="143" y="29"/>
                  </a:lnTo>
                  <a:lnTo>
                    <a:pt x="133" y="29"/>
                  </a:lnTo>
                  <a:lnTo>
                    <a:pt x="124" y="29"/>
                  </a:lnTo>
                  <a:lnTo>
                    <a:pt x="133" y="29"/>
                  </a:lnTo>
                  <a:lnTo>
                    <a:pt x="143" y="29"/>
                  </a:lnTo>
                  <a:lnTo>
                    <a:pt x="133" y="38"/>
                  </a:lnTo>
                  <a:lnTo>
                    <a:pt x="124" y="38"/>
                  </a:lnTo>
                  <a:lnTo>
                    <a:pt x="133" y="38"/>
                  </a:lnTo>
                  <a:lnTo>
                    <a:pt x="153" y="48"/>
                  </a:lnTo>
                  <a:lnTo>
                    <a:pt x="162" y="48"/>
                  </a:lnTo>
                  <a:lnTo>
                    <a:pt x="162" y="57"/>
                  </a:lnTo>
                  <a:lnTo>
                    <a:pt x="133" y="48"/>
                  </a:lnTo>
                  <a:lnTo>
                    <a:pt x="124" y="48"/>
                  </a:lnTo>
                  <a:lnTo>
                    <a:pt x="133" y="48"/>
                  </a:lnTo>
                  <a:lnTo>
                    <a:pt x="124" y="48"/>
                  </a:lnTo>
                  <a:lnTo>
                    <a:pt x="105" y="38"/>
                  </a:lnTo>
                  <a:lnTo>
                    <a:pt x="95" y="29"/>
                  </a:lnTo>
                  <a:lnTo>
                    <a:pt x="86" y="38"/>
                  </a:lnTo>
                  <a:lnTo>
                    <a:pt x="76" y="38"/>
                  </a:lnTo>
                  <a:lnTo>
                    <a:pt x="76" y="48"/>
                  </a:lnTo>
                  <a:lnTo>
                    <a:pt x="86" y="48"/>
                  </a:lnTo>
                  <a:lnTo>
                    <a:pt x="95" y="48"/>
                  </a:lnTo>
                  <a:lnTo>
                    <a:pt x="105" y="57"/>
                  </a:lnTo>
                  <a:lnTo>
                    <a:pt x="95" y="57"/>
                  </a:lnTo>
                  <a:lnTo>
                    <a:pt x="86" y="57"/>
                  </a:lnTo>
                  <a:lnTo>
                    <a:pt x="76" y="57"/>
                  </a:lnTo>
                  <a:lnTo>
                    <a:pt x="67" y="57"/>
                  </a:lnTo>
                  <a:lnTo>
                    <a:pt x="57" y="48"/>
                  </a:lnTo>
                  <a:lnTo>
                    <a:pt x="48" y="48"/>
                  </a:lnTo>
                  <a:lnTo>
                    <a:pt x="38" y="57"/>
                  </a:lnTo>
                  <a:lnTo>
                    <a:pt x="19" y="57"/>
                  </a:lnTo>
                  <a:lnTo>
                    <a:pt x="10" y="67"/>
                  </a:lnTo>
                  <a:lnTo>
                    <a:pt x="0" y="67"/>
                  </a:lnTo>
                  <a:lnTo>
                    <a:pt x="10" y="67"/>
                  </a:lnTo>
                  <a:lnTo>
                    <a:pt x="19" y="77"/>
                  </a:lnTo>
                  <a:lnTo>
                    <a:pt x="29" y="67"/>
                  </a:lnTo>
                  <a:lnTo>
                    <a:pt x="29" y="77"/>
                  </a:lnTo>
                  <a:lnTo>
                    <a:pt x="19" y="77"/>
                  </a:lnTo>
                  <a:lnTo>
                    <a:pt x="29" y="77"/>
                  </a:lnTo>
                  <a:lnTo>
                    <a:pt x="38" y="77"/>
                  </a:lnTo>
                  <a:lnTo>
                    <a:pt x="57" y="77"/>
                  </a:lnTo>
                  <a:lnTo>
                    <a:pt x="67" y="77"/>
                  </a:lnTo>
                  <a:lnTo>
                    <a:pt x="48" y="77"/>
                  </a:lnTo>
                  <a:lnTo>
                    <a:pt x="38" y="86"/>
                  </a:lnTo>
                  <a:lnTo>
                    <a:pt x="29" y="86"/>
                  </a:lnTo>
                  <a:lnTo>
                    <a:pt x="29" y="96"/>
                  </a:lnTo>
                  <a:lnTo>
                    <a:pt x="57" y="96"/>
                  </a:lnTo>
                  <a:lnTo>
                    <a:pt x="76" y="96"/>
                  </a:lnTo>
                  <a:lnTo>
                    <a:pt x="95" y="86"/>
                  </a:lnTo>
                  <a:lnTo>
                    <a:pt x="105" y="86"/>
                  </a:lnTo>
                  <a:lnTo>
                    <a:pt x="95" y="96"/>
                  </a:lnTo>
                  <a:lnTo>
                    <a:pt x="76" y="96"/>
                  </a:lnTo>
                  <a:lnTo>
                    <a:pt x="57" y="96"/>
                  </a:lnTo>
                  <a:lnTo>
                    <a:pt x="38" y="96"/>
                  </a:lnTo>
                  <a:lnTo>
                    <a:pt x="38" y="105"/>
                  </a:lnTo>
                  <a:lnTo>
                    <a:pt x="57" y="105"/>
                  </a:lnTo>
                  <a:lnTo>
                    <a:pt x="67" y="105"/>
                  </a:lnTo>
                  <a:lnTo>
                    <a:pt x="76" y="105"/>
                  </a:lnTo>
                  <a:lnTo>
                    <a:pt x="95" y="96"/>
                  </a:lnTo>
                  <a:lnTo>
                    <a:pt x="114" y="96"/>
                  </a:lnTo>
                  <a:lnTo>
                    <a:pt x="133" y="86"/>
                  </a:lnTo>
                  <a:lnTo>
                    <a:pt x="133" y="96"/>
                  </a:lnTo>
                  <a:lnTo>
                    <a:pt x="105" y="96"/>
                  </a:lnTo>
                  <a:lnTo>
                    <a:pt x="86" y="105"/>
                  </a:lnTo>
                  <a:lnTo>
                    <a:pt x="86" y="115"/>
                  </a:lnTo>
                  <a:lnTo>
                    <a:pt x="105" y="115"/>
                  </a:lnTo>
                  <a:lnTo>
                    <a:pt x="114" y="115"/>
                  </a:lnTo>
                  <a:lnTo>
                    <a:pt x="114" y="105"/>
                  </a:lnTo>
                  <a:lnTo>
                    <a:pt x="124" y="105"/>
                  </a:lnTo>
                  <a:lnTo>
                    <a:pt x="133" y="105"/>
                  </a:lnTo>
                  <a:lnTo>
                    <a:pt x="143" y="105"/>
                  </a:lnTo>
                  <a:lnTo>
                    <a:pt x="124" y="105"/>
                  </a:lnTo>
                  <a:lnTo>
                    <a:pt x="133" y="115"/>
                  </a:lnTo>
                  <a:lnTo>
                    <a:pt x="153" y="105"/>
                  </a:lnTo>
                  <a:lnTo>
                    <a:pt x="162" y="105"/>
                  </a:lnTo>
                  <a:lnTo>
                    <a:pt x="181" y="96"/>
                  </a:lnTo>
                  <a:lnTo>
                    <a:pt x="172" y="86"/>
                  </a:lnTo>
                  <a:lnTo>
                    <a:pt x="191" y="86"/>
                  </a:lnTo>
                  <a:lnTo>
                    <a:pt x="200" y="77"/>
                  </a:lnTo>
                  <a:lnTo>
                    <a:pt x="210" y="77"/>
                  </a:lnTo>
                  <a:lnTo>
                    <a:pt x="210" y="86"/>
                  </a:lnTo>
                  <a:lnTo>
                    <a:pt x="191" y="86"/>
                  </a:lnTo>
                  <a:lnTo>
                    <a:pt x="191" y="96"/>
                  </a:lnTo>
                  <a:lnTo>
                    <a:pt x="210" y="96"/>
                  </a:lnTo>
                  <a:lnTo>
                    <a:pt x="229" y="96"/>
                  </a:lnTo>
                  <a:lnTo>
                    <a:pt x="229" y="105"/>
                  </a:lnTo>
                  <a:lnTo>
                    <a:pt x="210" y="105"/>
                  </a:lnTo>
                  <a:lnTo>
                    <a:pt x="191" y="105"/>
                  </a:lnTo>
                  <a:lnTo>
                    <a:pt x="172" y="105"/>
                  </a:lnTo>
                  <a:lnTo>
                    <a:pt x="181" y="105"/>
                  </a:lnTo>
                  <a:lnTo>
                    <a:pt x="191" y="105"/>
                  </a:lnTo>
                  <a:lnTo>
                    <a:pt x="191" y="115"/>
                  </a:lnTo>
                  <a:lnTo>
                    <a:pt x="172" y="115"/>
                  </a:lnTo>
                  <a:lnTo>
                    <a:pt x="162" y="115"/>
                  </a:lnTo>
                  <a:lnTo>
                    <a:pt x="153" y="115"/>
                  </a:lnTo>
                  <a:lnTo>
                    <a:pt x="133" y="115"/>
                  </a:lnTo>
                  <a:lnTo>
                    <a:pt x="133" y="124"/>
                  </a:lnTo>
                  <a:lnTo>
                    <a:pt x="143" y="124"/>
                  </a:lnTo>
                  <a:lnTo>
                    <a:pt x="153" y="134"/>
                  </a:lnTo>
                  <a:lnTo>
                    <a:pt x="153" y="143"/>
                  </a:lnTo>
                  <a:lnTo>
                    <a:pt x="162" y="143"/>
                  </a:lnTo>
                  <a:lnTo>
                    <a:pt x="172" y="143"/>
                  </a:lnTo>
                  <a:lnTo>
                    <a:pt x="181" y="143"/>
                  </a:lnTo>
                  <a:lnTo>
                    <a:pt x="172" y="143"/>
                  </a:lnTo>
                  <a:lnTo>
                    <a:pt x="153" y="143"/>
                  </a:lnTo>
                  <a:lnTo>
                    <a:pt x="143" y="134"/>
                  </a:lnTo>
                  <a:lnTo>
                    <a:pt x="124" y="124"/>
                  </a:lnTo>
                  <a:lnTo>
                    <a:pt x="105" y="124"/>
                  </a:lnTo>
                  <a:lnTo>
                    <a:pt x="86" y="124"/>
                  </a:lnTo>
                  <a:lnTo>
                    <a:pt x="76" y="124"/>
                  </a:lnTo>
                  <a:lnTo>
                    <a:pt x="95" y="134"/>
                  </a:lnTo>
                  <a:lnTo>
                    <a:pt x="76" y="134"/>
                  </a:lnTo>
                  <a:lnTo>
                    <a:pt x="95" y="143"/>
                  </a:lnTo>
                  <a:lnTo>
                    <a:pt x="105" y="143"/>
                  </a:lnTo>
                  <a:lnTo>
                    <a:pt x="114" y="153"/>
                  </a:lnTo>
                  <a:lnTo>
                    <a:pt x="124" y="162"/>
                  </a:lnTo>
                  <a:lnTo>
                    <a:pt x="114" y="162"/>
                  </a:lnTo>
                  <a:lnTo>
                    <a:pt x="105" y="162"/>
                  </a:lnTo>
                  <a:lnTo>
                    <a:pt x="124" y="162"/>
                  </a:lnTo>
                  <a:lnTo>
                    <a:pt x="133" y="162"/>
                  </a:lnTo>
                  <a:lnTo>
                    <a:pt x="153" y="162"/>
                  </a:lnTo>
                  <a:lnTo>
                    <a:pt x="153" y="172"/>
                  </a:lnTo>
                  <a:lnTo>
                    <a:pt x="143" y="172"/>
                  </a:lnTo>
                  <a:lnTo>
                    <a:pt x="124" y="172"/>
                  </a:lnTo>
                  <a:lnTo>
                    <a:pt x="114" y="172"/>
                  </a:lnTo>
                  <a:lnTo>
                    <a:pt x="95" y="162"/>
                  </a:lnTo>
                  <a:lnTo>
                    <a:pt x="86" y="172"/>
                  </a:lnTo>
                  <a:lnTo>
                    <a:pt x="76" y="172"/>
                  </a:lnTo>
                  <a:lnTo>
                    <a:pt x="67" y="182"/>
                  </a:lnTo>
                  <a:lnTo>
                    <a:pt x="67" y="191"/>
                  </a:lnTo>
                  <a:lnTo>
                    <a:pt x="76" y="191"/>
                  </a:lnTo>
                  <a:lnTo>
                    <a:pt x="86" y="182"/>
                  </a:lnTo>
                  <a:lnTo>
                    <a:pt x="86" y="191"/>
                  </a:lnTo>
                  <a:lnTo>
                    <a:pt x="95" y="191"/>
                  </a:lnTo>
                  <a:lnTo>
                    <a:pt x="105" y="182"/>
                  </a:lnTo>
                  <a:lnTo>
                    <a:pt x="114" y="191"/>
                  </a:lnTo>
                  <a:lnTo>
                    <a:pt x="105" y="191"/>
                  </a:lnTo>
                  <a:lnTo>
                    <a:pt x="95" y="191"/>
                  </a:lnTo>
                  <a:lnTo>
                    <a:pt x="95" y="201"/>
                  </a:lnTo>
                  <a:lnTo>
                    <a:pt x="114" y="201"/>
                  </a:lnTo>
                  <a:lnTo>
                    <a:pt x="124" y="201"/>
                  </a:lnTo>
                  <a:lnTo>
                    <a:pt x="133" y="191"/>
                  </a:lnTo>
                  <a:lnTo>
                    <a:pt x="143" y="191"/>
                  </a:lnTo>
                  <a:lnTo>
                    <a:pt x="133" y="201"/>
                  </a:lnTo>
                  <a:lnTo>
                    <a:pt x="124" y="210"/>
                  </a:lnTo>
                  <a:lnTo>
                    <a:pt x="114" y="210"/>
                  </a:lnTo>
                  <a:lnTo>
                    <a:pt x="105" y="210"/>
                  </a:lnTo>
                  <a:lnTo>
                    <a:pt x="86" y="210"/>
                  </a:lnTo>
                  <a:lnTo>
                    <a:pt x="86" y="201"/>
                  </a:lnTo>
                  <a:lnTo>
                    <a:pt x="67" y="191"/>
                  </a:lnTo>
                  <a:lnTo>
                    <a:pt x="67" y="201"/>
                  </a:lnTo>
                  <a:lnTo>
                    <a:pt x="48" y="201"/>
                  </a:lnTo>
                  <a:lnTo>
                    <a:pt x="57" y="210"/>
                  </a:lnTo>
                  <a:lnTo>
                    <a:pt x="76" y="2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01" name="Freeform 382">
              <a:extLst>
                <a:ext uri="{FF2B5EF4-FFF2-40B4-BE49-F238E27FC236}">
                  <a16:creationId xmlns:a16="http://schemas.microsoft.com/office/drawing/2014/main" id="{5B011DE8-63A0-4CA0-B796-BB70F13F52D7}"/>
                </a:ext>
              </a:extLst>
            </p:cNvPr>
            <p:cNvSpPr>
              <a:spLocks/>
            </p:cNvSpPr>
            <p:nvPr/>
          </p:nvSpPr>
          <p:spPr bwMode="gray">
            <a:xfrm>
              <a:off x="1343" y="1259"/>
              <a:ext cx="172" cy="105"/>
            </a:xfrm>
            <a:custGeom>
              <a:avLst/>
              <a:gdLst>
                <a:gd name="T0" fmla="*/ 67 w 172"/>
                <a:gd name="T1" fmla="*/ 0 h 105"/>
                <a:gd name="T2" fmla="*/ 77 w 172"/>
                <a:gd name="T3" fmla="*/ 10 h 105"/>
                <a:gd name="T4" fmla="*/ 96 w 172"/>
                <a:gd name="T5" fmla="*/ 29 h 105"/>
                <a:gd name="T6" fmla="*/ 105 w 172"/>
                <a:gd name="T7" fmla="*/ 38 h 105"/>
                <a:gd name="T8" fmla="*/ 124 w 172"/>
                <a:gd name="T9" fmla="*/ 48 h 105"/>
                <a:gd name="T10" fmla="*/ 115 w 172"/>
                <a:gd name="T11" fmla="*/ 38 h 105"/>
                <a:gd name="T12" fmla="*/ 134 w 172"/>
                <a:gd name="T13" fmla="*/ 29 h 105"/>
                <a:gd name="T14" fmla="*/ 134 w 172"/>
                <a:gd name="T15" fmla="*/ 38 h 105"/>
                <a:gd name="T16" fmla="*/ 143 w 172"/>
                <a:gd name="T17" fmla="*/ 57 h 105"/>
                <a:gd name="T18" fmla="*/ 172 w 172"/>
                <a:gd name="T19" fmla="*/ 57 h 105"/>
                <a:gd name="T20" fmla="*/ 162 w 172"/>
                <a:gd name="T21" fmla="*/ 67 h 105"/>
                <a:gd name="T22" fmla="*/ 134 w 172"/>
                <a:gd name="T23" fmla="*/ 86 h 105"/>
                <a:gd name="T24" fmla="*/ 124 w 172"/>
                <a:gd name="T25" fmla="*/ 76 h 105"/>
                <a:gd name="T26" fmla="*/ 124 w 172"/>
                <a:gd name="T27" fmla="*/ 86 h 105"/>
                <a:gd name="T28" fmla="*/ 115 w 172"/>
                <a:gd name="T29" fmla="*/ 86 h 105"/>
                <a:gd name="T30" fmla="*/ 124 w 172"/>
                <a:gd name="T31" fmla="*/ 96 h 105"/>
                <a:gd name="T32" fmla="*/ 105 w 172"/>
                <a:gd name="T33" fmla="*/ 96 h 105"/>
                <a:gd name="T34" fmla="*/ 96 w 172"/>
                <a:gd name="T35" fmla="*/ 86 h 105"/>
                <a:gd name="T36" fmla="*/ 105 w 172"/>
                <a:gd name="T37" fmla="*/ 96 h 105"/>
                <a:gd name="T38" fmla="*/ 86 w 172"/>
                <a:gd name="T39" fmla="*/ 96 h 105"/>
                <a:gd name="T40" fmla="*/ 57 w 172"/>
                <a:gd name="T41" fmla="*/ 96 h 105"/>
                <a:gd name="T42" fmla="*/ 48 w 172"/>
                <a:gd name="T43" fmla="*/ 86 h 105"/>
                <a:gd name="T44" fmla="*/ 48 w 172"/>
                <a:gd name="T45" fmla="*/ 86 h 105"/>
                <a:gd name="T46" fmla="*/ 38 w 172"/>
                <a:gd name="T47" fmla="*/ 76 h 105"/>
                <a:gd name="T48" fmla="*/ 67 w 172"/>
                <a:gd name="T49" fmla="*/ 67 h 105"/>
                <a:gd name="T50" fmla="*/ 57 w 172"/>
                <a:gd name="T51" fmla="*/ 67 h 105"/>
                <a:gd name="T52" fmla="*/ 77 w 172"/>
                <a:gd name="T53" fmla="*/ 67 h 105"/>
                <a:gd name="T54" fmla="*/ 57 w 172"/>
                <a:gd name="T55" fmla="*/ 57 h 105"/>
                <a:gd name="T56" fmla="*/ 19 w 172"/>
                <a:gd name="T57" fmla="*/ 67 h 105"/>
                <a:gd name="T58" fmla="*/ 38 w 172"/>
                <a:gd name="T59" fmla="*/ 57 h 105"/>
                <a:gd name="T60" fmla="*/ 29 w 172"/>
                <a:gd name="T61" fmla="*/ 57 h 105"/>
                <a:gd name="T62" fmla="*/ 10 w 172"/>
                <a:gd name="T63" fmla="*/ 48 h 105"/>
                <a:gd name="T64" fmla="*/ 10 w 172"/>
                <a:gd name="T65" fmla="*/ 38 h 105"/>
                <a:gd name="T66" fmla="*/ 38 w 172"/>
                <a:gd name="T67" fmla="*/ 38 h 105"/>
                <a:gd name="T68" fmla="*/ 29 w 172"/>
                <a:gd name="T69" fmla="*/ 38 h 105"/>
                <a:gd name="T70" fmla="*/ 19 w 172"/>
                <a:gd name="T71" fmla="*/ 29 h 105"/>
                <a:gd name="T72" fmla="*/ 19 w 172"/>
                <a:gd name="T73" fmla="*/ 29 h 105"/>
                <a:gd name="T74" fmla="*/ 29 w 172"/>
                <a:gd name="T75" fmla="*/ 19 h 105"/>
                <a:gd name="T76" fmla="*/ 48 w 172"/>
                <a:gd name="T77" fmla="*/ 19 h 105"/>
                <a:gd name="T78" fmla="*/ 29 w 172"/>
                <a:gd name="T79" fmla="*/ 10 h 105"/>
                <a:gd name="T80" fmla="*/ 38 w 172"/>
                <a:gd name="T81" fmla="*/ 10 h 105"/>
                <a:gd name="T82" fmla="*/ 38 w 172"/>
                <a:gd name="T83" fmla="*/ 10 h 105"/>
                <a:gd name="T84" fmla="*/ 48 w 172"/>
                <a:gd name="T85" fmla="*/ 0 h 105"/>
                <a:gd name="T86" fmla="*/ 29 w 172"/>
                <a:gd name="T87" fmla="*/ 0 h 105"/>
                <a:gd name="T88" fmla="*/ 57 w 172"/>
                <a:gd name="T89" fmla="*/ 0 h 10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2"/>
                <a:gd name="T136" fmla="*/ 0 h 105"/>
                <a:gd name="T137" fmla="*/ 172 w 172"/>
                <a:gd name="T138" fmla="*/ 105 h 10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2" h="105">
                  <a:moveTo>
                    <a:pt x="57" y="0"/>
                  </a:moveTo>
                  <a:lnTo>
                    <a:pt x="67" y="0"/>
                  </a:lnTo>
                  <a:lnTo>
                    <a:pt x="77" y="0"/>
                  </a:lnTo>
                  <a:lnTo>
                    <a:pt x="77" y="10"/>
                  </a:lnTo>
                  <a:lnTo>
                    <a:pt x="86" y="19"/>
                  </a:lnTo>
                  <a:lnTo>
                    <a:pt x="96" y="29"/>
                  </a:lnTo>
                  <a:lnTo>
                    <a:pt x="115" y="29"/>
                  </a:lnTo>
                  <a:lnTo>
                    <a:pt x="105" y="38"/>
                  </a:lnTo>
                  <a:lnTo>
                    <a:pt x="115" y="38"/>
                  </a:lnTo>
                  <a:lnTo>
                    <a:pt x="124" y="48"/>
                  </a:lnTo>
                  <a:lnTo>
                    <a:pt x="124" y="38"/>
                  </a:lnTo>
                  <a:lnTo>
                    <a:pt x="115" y="38"/>
                  </a:lnTo>
                  <a:lnTo>
                    <a:pt x="124" y="29"/>
                  </a:lnTo>
                  <a:lnTo>
                    <a:pt x="134" y="29"/>
                  </a:lnTo>
                  <a:lnTo>
                    <a:pt x="134" y="38"/>
                  </a:lnTo>
                  <a:lnTo>
                    <a:pt x="143" y="48"/>
                  </a:lnTo>
                  <a:lnTo>
                    <a:pt x="143" y="57"/>
                  </a:lnTo>
                  <a:lnTo>
                    <a:pt x="162" y="57"/>
                  </a:lnTo>
                  <a:lnTo>
                    <a:pt x="172" y="57"/>
                  </a:lnTo>
                  <a:lnTo>
                    <a:pt x="172" y="67"/>
                  </a:lnTo>
                  <a:lnTo>
                    <a:pt x="162" y="67"/>
                  </a:lnTo>
                  <a:lnTo>
                    <a:pt x="143" y="76"/>
                  </a:lnTo>
                  <a:lnTo>
                    <a:pt x="134" y="86"/>
                  </a:lnTo>
                  <a:lnTo>
                    <a:pt x="124" y="76"/>
                  </a:lnTo>
                  <a:lnTo>
                    <a:pt x="124" y="86"/>
                  </a:lnTo>
                  <a:lnTo>
                    <a:pt x="124" y="96"/>
                  </a:lnTo>
                  <a:lnTo>
                    <a:pt x="115" y="86"/>
                  </a:lnTo>
                  <a:lnTo>
                    <a:pt x="115" y="96"/>
                  </a:lnTo>
                  <a:lnTo>
                    <a:pt x="124" y="96"/>
                  </a:lnTo>
                  <a:lnTo>
                    <a:pt x="115" y="105"/>
                  </a:lnTo>
                  <a:lnTo>
                    <a:pt x="105" y="96"/>
                  </a:lnTo>
                  <a:lnTo>
                    <a:pt x="96" y="86"/>
                  </a:lnTo>
                  <a:lnTo>
                    <a:pt x="96" y="96"/>
                  </a:lnTo>
                  <a:lnTo>
                    <a:pt x="105" y="96"/>
                  </a:lnTo>
                  <a:lnTo>
                    <a:pt x="86" y="96"/>
                  </a:lnTo>
                  <a:lnTo>
                    <a:pt x="86" y="105"/>
                  </a:lnTo>
                  <a:lnTo>
                    <a:pt x="57" y="96"/>
                  </a:lnTo>
                  <a:lnTo>
                    <a:pt x="48" y="86"/>
                  </a:lnTo>
                  <a:lnTo>
                    <a:pt x="38" y="76"/>
                  </a:lnTo>
                  <a:lnTo>
                    <a:pt x="48" y="86"/>
                  </a:lnTo>
                  <a:lnTo>
                    <a:pt x="48" y="76"/>
                  </a:lnTo>
                  <a:lnTo>
                    <a:pt x="38" y="76"/>
                  </a:lnTo>
                  <a:lnTo>
                    <a:pt x="48" y="67"/>
                  </a:lnTo>
                  <a:lnTo>
                    <a:pt x="67" y="67"/>
                  </a:lnTo>
                  <a:lnTo>
                    <a:pt x="86" y="67"/>
                  </a:lnTo>
                  <a:lnTo>
                    <a:pt x="57" y="67"/>
                  </a:lnTo>
                  <a:lnTo>
                    <a:pt x="77" y="67"/>
                  </a:lnTo>
                  <a:lnTo>
                    <a:pt x="67" y="67"/>
                  </a:lnTo>
                  <a:lnTo>
                    <a:pt x="57" y="57"/>
                  </a:lnTo>
                  <a:lnTo>
                    <a:pt x="38" y="67"/>
                  </a:lnTo>
                  <a:lnTo>
                    <a:pt x="19" y="67"/>
                  </a:lnTo>
                  <a:lnTo>
                    <a:pt x="19" y="57"/>
                  </a:lnTo>
                  <a:lnTo>
                    <a:pt x="38" y="57"/>
                  </a:lnTo>
                  <a:lnTo>
                    <a:pt x="38" y="48"/>
                  </a:lnTo>
                  <a:lnTo>
                    <a:pt x="29" y="57"/>
                  </a:lnTo>
                  <a:lnTo>
                    <a:pt x="19" y="57"/>
                  </a:lnTo>
                  <a:lnTo>
                    <a:pt x="10" y="48"/>
                  </a:lnTo>
                  <a:lnTo>
                    <a:pt x="10" y="38"/>
                  </a:lnTo>
                  <a:lnTo>
                    <a:pt x="19" y="38"/>
                  </a:lnTo>
                  <a:lnTo>
                    <a:pt x="38" y="38"/>
                  </a:lnTo>
                  <a:lnTo>
                    <a:pt x="29" y="38"/>
                  </a:lnTo>
                  <a:lnTo>
                    <a:pt x="0" y="29"/>
                  </a:lnTo>
                  <a:lnTo>
                    <a:pt x="19" y="29"/>
                  </a:lnTo>
                  <a:lnTo>
                    <a:pt x="19" y="19"/>
                  </a:lnTo>
                  <a:lnTo>
                    <a:pt x="29" y="19"/>
                  </a:lnTo>
                  <a:lnTo>
                    <a:pt x="38" y="29"/>
                  </a:lnTo>
                  <a:lnTo>
                    <a:pt x="48" y="19"/>
                  </a:lnTo>
                  <a:lnTo>
                    <a:pt x="29" y="19"/>
                  </a:lnTo>
                  <a:lnTo>
                    <a:pt x="29" y="10"/>
                  </a:lnTo>
                  <a:lnTo>
                    <a:pt x="38" y="10"/>
                  </a:lnTo>
                  <a:lnTo>
                    <a:pt x="48" y="10"/>
                  </a:lnTo>
                  <a:lnTo>
                    <a:pt x="38" y="10"/>
                  </a:lnTo>
                  <a:lnTo>
                    <a:pt x="57" y="0"/>
                  </a:lnTo>
                  <a:lnTo>
                    <a:pt x="48" y="0"/>
                  </a:lnTo>
                  <a:lnTo>
                    <a:pt x="38" y="0"/>
                  </a:lnTo>
                  <a:lnTo>
                    <a:pt x="29" y="0"/>
                  </a:lnTo>
                  <a:lnTo>
                    <a:pt x="48" y="0"/>
                  </a:lnTo>
                  <a:lnTo>
                    <a:pt x="57"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02" name="Freeform 383">
              <a:extLst>
                <a:ext uri="{FF2B5EF4-FFF2-40B4-BE49-F238E27FC236}">
                  <a16:creationId xmlns:a16="http://schemas.microsoft.com/office/drawing/2014/main" id="{999259EE-2F77-4F6D-B517-F477A3E76A90}"/>
                </a:ext>
              </a:extLst>
            </p:cNvPr>
            <p:cNvSpPr>
              <a:spLocks/>
            </p:cNvSpPr>
            <p:nvPr/>
          </p:nvSpPr>
          <p:spPr bwMode="gray">
            <a:xfrm>
              <a:off x="1343" y="1259"/>
              <a:ext cx="172" cy="105"/>
            </a:xfrm>
            <a:custGeom>
              <a:avLst/>
              <a:gdLst>
                <a:gd name="T0" fmla="*/ 67 w 172"/>
                <a:gd name="T1" fmla="*/ 0 h 105"/>
                <a:gd name="T2" fmla="*/ 77 w 172"/>
                <a:gd name="T3" fmla="*/ 10 h 105"/>
                <a:gd name="T4" fmla="*/ 96 w 172"/>
                <a:gd name="T5" fmla="*/ 29 h 105"/>
                <a:gd name="T6" fmla="*/ 105 w 172"/>
                <a:gd name="T7" fmla="*/ 38 h 105"/>
                <a:gd name="T8" fmla="*/ 124 w 172"/>
                <a:gd name="T9" fmla="*/ 48 h 105"/>
                <a:gd name="T10" fmla="*/ 115 w 172"/>
                <a:gd name="T11" fmla="*/ 38 h 105"/>
                <a:gd name="T12" fmla="*/ 134 w 172"/>
                <a:gd name="T13" fmla="*/ 29 h 105"/>
                <a:gd name="T14" fmla="*/ 134 w 172"/>
                <a:gd name="T15" fmla="*/ 38 h 105"/>
                <a:gd name="T16" fmla="*/ 143 w 172"/>
                <a:gd name="T17" fmla="*/ 57 h 105"/>
                <a:gd name="T18" fmla="*/ 172 w 172"/>
                <a:gd name="T19" fmla="*/ 57 h 105"/>
                <a:gd name="T20" fmla="*/ 162 w 172"/>
                <a:gd name="T21" fmla="*/ 67 h 105"/>
                <a:gd name="T22" fmla="*/ 134 w 172"/>
                <a:gd name="T23" fmla="*/ 86 h 105"/>
                <a:gd name="T24" fmla="*/ 124 w 172"/>
                <a:gd name="T25" fmla="*/ 76 h 105"/>
                <a:gd name="T26" fmla="*/ 124 w 172"/>
                <a:gd name="T27" fmla="*/ 86 h 105"/>
                <a:gd name="T28" fmla="*/ 115 w 172"/>
                <a:gd name="T29" fmla="*/ 86 h 105"/>
                <a:gd name="T30" fmla="*/ 124 w 172"/>
                <a:gd name="T31" fmla="*/ 96 h 105"/>
                <a:gd name="T32" fmla="*/ 105 w 172"/>
                <a:gd name="T33" fmla="*/ 96 h 105"/>
                <a:gd name="T34" fmla="*/ 96 w 172"/>
                <a:gd name="T35" fmla="*/ 86 h 105"/>
                <a:gd name="T36" fmla="*/ 105 w 172"/>
                <a:gd name="T37" fmla="*/ 96 h 105"/>
                <a:gd name="T38" fmla="*/ 86 w 172"/>
                <a:gd name="T39" fmla="*/ 96 h 105"/>
                <a:gd name="T40" fmla="*/ 57 w 172"/>
                <a:gd name="T41" fmla="*/ 96 h 105"/>
                <a:gd name="T42" fmla="*/ 48 w 172"/>
                <a:gd name="T43" fmla="*/ 86 h 105"/>
                <a:gd name="T44" fmla="*/ 48 w 172"/>
                <a:gd name="T45" fmla="*/ 86 h 105"/>
                <a:gd name="T46" fmla="*/ 38 w 172"/>
                <a:gd name="T47" fmla="*/ 76 h 105"/>
                <a:gd name="T48" fmla="*/ 67 w 172"/>
                <a:gd name="T49" fmla="*/ 67 h 105"/>
                <a:gd name="T50" fmla="*/ 57 w 172"/>
                <a:gd name="T51" fmla="*/ 67 h 105"/>
                <a:gd name="T52" fmla="*/ 77 w 172"/>
                <a:gd name="T53" fmla="*/ 67 h 105"/>
                <a:gd name="T54" fmla="*/ 57 w 172"/>
                <a:gd name="T55" fmla="*/ 57 h 105"/>
                <a:gd name="T56" fmla="*/ 19 w 172"/>
                <a:gd name="T57" fmla="*/ 67 h 105"/>
                <a:gd name="T58" fmla="*/ 38 w 172"/>
                <a:gd name="T59" fmla="*/ 57 h 105"/>
                <a:gd name="T60" fmla="*/ 29 w 172"/>
                <a:gd name="T61" fmla="*/ 57 h 105"/>
                <a:gd name="T62" fmla="*/ 10 w 172"/>
                <a:gd name="T63" fmla="*/ 48 h 105"/>
                <a:gd name="T64" fmla="*/ 10 w 172"/>
                <a:gd name="T65" fmla="*/ 38 h 105"/>
                <a:gd name="T66" fmla="*/ 38 w 172"/>
                <a:gd name="T67" fmla="*/ 38 h 105"/>
                <a:gd name="T68" fmla="*/ 29 w 172"/>
                <a:gd name="T69" fmla="*/ 38 h 105"/>
                <a:gd name="T70" fmla="*/ 19 w 172"/>
                <a:gd name="T71" fmla="*/ 29 h 105"/>
                <a:gd name="T72" fmla="*/ 19 w 172"/>
                <a:gd name="T73" fmla="*/ 29 h 105"/>
                <a:gd name="T74" fmla="*/ 29 w 172"/>
                <a:gd name="T75" fmla="*/ 19 h 105"/>
                <a:gd name="T76" fmla="*/ 48 w 172"/>
                <a:gd name="T77" fmla="*/ 19 h 105"/>
                <a:gd name="T78" fmla="*/ 29 w 172"/>
                <a:gd name="T79" fmla="*/ 10 h 105"/>
                <a:gd name="T80" fmla="*/ 38 w 172"/>
                <a:gd name="T81" fmla="*/ 10 h 105"/>
                <a:gd name="T82" fmla="*/ 38 w 172"/>
                <a:gd name="T83" fmla="*/ 10 h 105"/>
                <a:gd name="T84" fmla="*/ 48 w 172"/>
                <a:gd name="T85" fmla="*/ 0 h 105"/>
                <a:gd name="T86" fmla="*/ 29 w 172"/>
                <a:gd name="T87" fmla="*/ 0 h 105"/>
                <a:gd name="T88" fmla="*/ 57 w 172"/>
                <a:gd name="T89" fmla="*/ 0 h 10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2"/>
                <a:gd name="T136" fmla="*/ 0 h 105"/>
                <a:gd name="T137" fmla="*/ 172 w 172"/>
                <a:gd name="T138" fmla="*/ 105 h 10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2" h="105">
                  <a:moveTo>
                    <a:pt x="57" y="0"/>
                  </a:moveTo>
                  <a:lnTo>
                    <a:pt x="67" y="0"/>
                  </a:lnTo>
                  <a:lnTo>
                    <a:pt x="77" y="0"/>
                  </a:lnTo>
                  <a:lnTo>
                    <a:pt x="77" y="10"/>
                  </a:lnTo>
                  <a:lnTo>
                    <a:pt x="86" y="19"/>
                  </a:lnTo>
                  <a:lnTo>
                    <a:pt x="96" y="29"/>
                  </a:lnTo>
                  <a:lnTo>
                    <a:pt x="115" y="29"/>
                  </a:lnTo>
                  <a:lnTo>
                    <a:pt x="105" y="38"/>
                  </a:lnTo>
                  <a:lnTo>
                    <a:pt x="115" y="38"/>
                  </a:lnTo>
                  <a:lnTo>
                    <a:pt x="124" y="48"/>
                  </a:lnTo>
                  <a:lnTo>
                    <a:pt x="124" y="38"/>
                  </a:lnTo>
                  <a:lnTo>
                    <a:pt x="115" y="38"/>
                  </a:lnTo>
                  <a:lnTo>
                    <a:pt x="124" y="29"/>
                  </a:lnTo>
                  <a:lnTo>
                    <a:pt x="134" y="29"/>
                  </a:lnTo>
                  <a:lnTo>
                    <a:pt x="134" y="38"/>
                  </a:lnTo>
                  <a:lnTo>
                    <a:pt x="143" y="48"/>
                  </a:lnTo>
                  <a:lnTo>
                    <a:pt x="143" y="57"/>
                  </a:lnTo>
                  <a:lnTo>
                    <a:pt x="162" y="57"/>
                  </a:lnTo>
                  <a:lnTo>
                    <a:pt x="172" y="57"/>
                  </a:lnTo>
                  <a:lnTo>
                    <a:pt x="172" y="67"/>
                  </a:lnTo>
                  <a:lnTo>
                    <a:pt x="162" y="67"/>
                  </a:lnTo>
                  <a:lnTo>
                    <a:pt x="143" y="76"/>
                  </a:lnTo>
                  <a:lnTo>
                    <a:pt x="134" y="86"/>
                  </a:lnTo>
                  <a:lnTo>
                    <a:pt x="124" y="76"/>
                  </a:lnTo>
                  <a:lnTo>
                    <a:pt x="124" y="86"/>
                  </a:lnTo>
                  <a:lnTo>
                    <a:pt x="124" y="96"/>
                  </a:lnTo>
                  <a:lnTo>
                    <a:pt x="115" y="86"/>
                  </a:lnTo>
                  <a:lnTo>
                    <a:pt x="115" y="96"/>
                  </a:lnTo>
                  <a:lnTo>
                    <a:pt x="124" y="96"/>
                  </a:lnTo>
                  <a:lnTo>
                    <a:pt x="115" y="105"/>
                  </a:lnTo>
                  <a:lnTo>
                    <a:pt x="105" y="96"/>
                  </a:lnTo>
                  <a:lnTo>
                    <a:pt x="96" y="86"/>
                  </a:lnTo>
                  <a:lnTo>
                    <a:pt x="96" y="96"/>
                  </a:lnTo>
                  <a:lnTo>
                    <a:pt x="105" y="96"/>
                  </a:lnTo>
                  <a:lnTo>
                    <a:pt x="86" y="96"/>
                  </a:lnTo>
                  <a:lnTo>
                    <a:pt x="86" y="105"/>
                  </a:lnTo>
                  <a:lnTo>
                    <a:pt x="57" y="96"/>
                  </a:lnTo>
                  <a:lnTo>
                    <a:pt x="48" y="86"/>
                  </a:lnTo>
                  <a:lnTo>
                    <a:pt x="38" y="76"/>
                  </a:lnTo>
                  <a:lnTo>
                    <a:pt x="48" y="86"/>
                  </a:lnTo>
                  <a:lnTo>
                    <a:pt x="48" y="76"/>
                  </a:lnTo>
                  <a:lnTo>
                    <a:pt x="38" y="76"/>
                  </a:lnTo>
                  <a:lnTo>
                    <a:pt x="48" y="67"/>
                  </a:lnTo>
                  <a:lnTo>
                    <a:pt x="67" y="67"/>
                  </a:lnTo>
                  <a:lnTo>
                    <a:pt x="86" y="67"/>
                  </a:lnTo>
                  <a:lnTo>
                    <a:pt x="57" y="67"/>
                  </a:lnTo>
                  <a:lnTo>
                    <a:pt x="77" y="67"/>
                  </a:lnTo>
                  <a:lnTo>
                    <a:pt x="67" y="67"/>
                  </a:lnTo>
                  <a:lnTo>
                    <a:pt x="57" y="57"/>
                  </a:lnTo>
                  <a:lnTo>
                    <a:pt x="38" y="67"/>
                  </a:lnTo>
                  <a:lnTo>
                    <a:pt x="19" y="67"/>
                  </a:lnTo>
                  <a:lnTo>
                    <a:pt x="19" y="57"/>
                  </a:lnTo>
                  <a:lnTo>
                    <a:pt x="38" y="57"/>
                  </a:lnTo>
                  <a:lnTo>
                    <a:pt x="38" y="48"/>
                  </a:lnTo>
                  <a:lnTo>
                    <a:pt x="29" y="57"/>
                  </a:lnTo>
                  <a:lnTo>
                    <a:pt x="19" y="57"/>
                  </a:lnTo>
                  <a:lnTo>
                    <a:pt x="10" y="48"/>
                  </a:lnTo>
                  <a:lnTo>
                    <a:pt x="10" y="38"/>
                  </a:lnTo>
                  <a:lnTo>
                    <a:pt x="19" y="38"/>
                  </a:lnTo>
                  <a:lnTo>
                    <a:pt x="38" y="38"/>
                  </a:lnTo>
                  <a:lnTo>
                    <a:pt x="29" y="38"/>
                  </a:lnTo>
                  <a:lnTo>
                    <a:pt x="0" y="29"/>
                  </a:lnTo>
                  <a:lnTo>
                    <a:pt x="19" y="29"/>
                  </a:lnTo>
                  <a:lnTo>
                    <a:pt x="19" y="19"/>
                  </a:lnTo>
                  <a:lnTo>
                    <a:pt x="29" y="19"/>
                  </a:lnTo>
                  <a:lnTo>
                    <a:pt x="38" y="29"/>
                  </a:lnTo>
                  <a:lnTo>
                    <a:pt x="48" y="19"/>
                  </a:lnTo>
                  <a:lnTo>
                    <a:pt x="29" y="19"/>
                  </a:lnTo>
                  <a:lnTo>
                    <a:pt x="29" y="10"/>
                  </a:lnTo>
                  <a:lnTo>
                    <a:pt x="38" y="10"/>
                  </a:lnTo>
                  <a:lnTo>
                    <a:pt x="48" y="10"/>
                  </a:lnTo>
                  <a:lnTo>
                    <a:pt x="38" y="10"/>
                  </a:lnTo>
                  <a:lnTo>
                    <a:pt x="57" y="0"/>
                  </a:lnTo>
                  <a:lnTo>
                    <a:pt x="48" y="0"/>
                  </a:lnTo>
                  <a:lnTo>
                    <a:pt x="38" y="0"/>
                  </a:lnTo>
                  <a:lnTo>
                    <a:pt x="29" y="0"/>
                  </a:lnTo>
                  <a:lnTo>
                    <a:pt x="48" y="0"/>
                  </a:lnTo>
                  <a:lnTo>
                    <a:pt x="57"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03" name="Freeform 384">
              <a:extLst>
                <a:ext uri="{FF2B5EF4-FFF2-40B4-BE49-F238E27FC236}">
                  <a16:creationId xmlns:a16="http://schemas.microsoft.com/office/drawing/2014/main" id="{EEF2B110-4584-4B3A-99DB-302A6E8FD598}"/>
                </a:ext>
              </a:extLst>
            </p:cNvPr>
            <p:cNvSpPr>
              <a:spLocks/>
            </p:cNvSpPr>
            <p:nvPr/>
          </p:nvSpPr>
          <p:spPr bwMode="gray">
            <a:xfrm>
              <a:off x="1353" y="1278"/>
              <a:ext cx="19" cy="1"/>
            </a:xfrm>
            <a:custGeom>
              <a:avLst/>
              <a:gdLst>
                <a:gd name="T0" fmla="*/ 9 w 19"/>
                <a:gd name="T1" fmla="*/ 0 h 1"/>
                <a:gd name="T2" fmla="*/ 19 w 19"/>
                <a:gd name="T3" fmla="*/ 0 h 1"/>
                <a:gd name="T4" fmla="*/ 9 w 19"/>
                <a:gd name="T5" fmla="*/ 0 h 1"/>
                <a:gd name="T6" fmla="*/ 0 w 19"/>
                <a:gd name="T7" fmla="*/ 0 h 1"/>
                <a:gd name="T8" fmla="*/ 0 w 19"/>
                <a:gd name="T9" fmla="*/ 0 h 1"/>
                <a:gd name="T10" fmla="*/ 9 w 19"/>
                <a:gd name="T11" fmla="*/ 0 h 1"/>
                <a:gd name="T12" fmla="*/ 0 60000 65536"/>
                <a:gd name="T13" fmla="*/ 0 60000 65536"/>
                <a:gd name="T14" fmla="*/ 0 60000 65536"/>
                <a:gd name="T15" fmla="*/ 0 60000 65536"/>
                <a:gd name="T16" fmla="*/ 0 60000 65536"/>
                <a:gd name="T17" fmla="*/ 0 60000 65536"/>
                <a:gd name="T18" fmla="*/ 0 w 19"/>
                <a:gd name="T19" fmla="*/ 0 h 1"/>
                <a:gd name="T20" fmla="*/ 19 w 19"/>
                <a:gd name="T21" fmla="*/ 1 h 1"/>
              </a:gdLst>
              <a:ahLst/>
              <a:cxnLst>
                <a:cxn ang="T12">
                  <a:pos x="T0" y="T1"/>
                </a:cxn>
                <a:cxn ang="T13">
                  <a:pos x="T2" y="T3"/>
                </a:cxn>
                <a:cxn ang="T14">
                  <a:pos x="T4" y="T5"/>
                </a:cxn>
                <a:cxn ang="T15">
                  <a:pos x="T6" y="T7"/>
                </a:cxn>
                <a:cxn ang="T16">
                  <a:pos x="T8" y="T9"/>
                </a:cxn>
                <a:cxn ang="T17">
                  <a:pos x="T10" y="T11"/>
                </a:cxn>
              </a:cxnLst>
              <a:rect l="T18" t="T19" r="T20" b="T21"/>
              <a:pathLst>
                <a:path w="19" h="1">
                  <a:moveTo>
                    <a:pt x="9" y="0"/>
                  </a:moveTo>
                  <a:lnTo>
                    <a:pt x="19" y="0"/>
                  </a:lnTo>
                  <a:lnTo>
                    <a:pt x="9" y="0"/>
                  </a:lnTo>
                  <a:lnTo>
                    <a:pt x="0" y="0"/>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04" name="Freeform 385">
              <a:extLst>
                <a:ext uri="{FF2B5EF4-FFF2-40B4-BE49-F238E27FC236}">
                  <a16:creationId xmlns:a16="http://schemas.microsoft.com/office/drawing/2014/main" id="{7A407781-5FB4-448A-9C66-70443CFD3AC0}"/>
                </a:ext>
              </a:extLst>
            </p:cNvPr>
            <p:cNvSpPr>
              <a:spLocks/>
            </p:cNvSpPr>
            <p:nvPr/>
          </p:nvSpPr>
          <p:spPr bwMode="gray">
            <a:xfrm>
              <a:off x="1353" y="1278"/>
              <a:ext cx="19" cy="1"/>
            </a:xfrm>
            <a:custGeom>
              <a:avLst/>
              <a:gdLst>
                <a:gd name="T0" fmla="*/ 9 w 19"/>
                <a:gd name="T1" fmla="*/ 0 h 1"/>
                <a:gd name="T2" fmla="*/ 19 w 19"/>
                <a:gd name="T3" fmla="*/ 0 h 1"/>
                <a:gd name="T4" fmla="*/ 9 w 19"/>
                <a:gd name="T5" fmla="*/ 0 h 1"/>
                <a:gd name="T6" fmla="*/ 0 w 19"/>
                <a:gd name="T7" fmla="*/ 0 h 1"/>
                <a:gd name="T8" fmla="*/ 0 w 19"/>
                <a:gd name="T9" fmla="*/ 0 h 1"/>
                <a:gd name="T10" fmla="*/ 9 w 19"/>
                <a:gd name="T11" fmla="*/ 0 h 1"/>
                <a:gd name="T12" fmla="*/ 0 60000 65536"/>
                <a:gd name="T13" fmla="*/ 0 60000 65536"/>
                <a:gd name="T14" fmla="*/ 0 60000 65536"/>
                <a:gd name="T15" fmla="*/ 0 60000 65536"/>
                <a:gd name="T16" fmla="*/ 0 60000 65536"/>
                <a:gd name="T17" fmla="*/ 0 60000 65536"/>
                <a:gd name="T18" fmla="*/ 0 w 19"/>
                <a:gd name="T19" fmla="*/ 0 h 1"/>
                <a:gd name="T20" fmla="*/ 19 w 19"/>
                <a:gd name="T21" fmla="*/ 1 h 1"/>
              </a:gdLst>
              <a:ahLst/>
              <a:cxnLst>
                <a:cxn ang="T12">
                  <a:pos x="T0" y="T1"/>
                </a:cxn>
                <a:cxn ang="T13">
                  <a:pos x="T2" y="T3"/>
                </a:cxn>
                <a:cxn ang="T14">
                  <a:pos x="T4" y="T5"/>
                </a:cxn>
                <a:cxn ang="T15">
                  <a:pos x="T6" y="T7"/>
                </a:cxn>
                <a:cxn ang="T16">
                  <a:pos x="T8" y="T9"/>
                </a:cxn>
                <a:cxn ang="T17">
                  <a:pos x="T10" y="T11"/>
                </a:cxn>
              </a:cxnLst>
              <a:rect l="T18" t="T19" r="T20" b="T21"/>
              <a:pathLst>
                <a:path w="19" h="1">
                  <a:moveTo>
                    <a:pt x="9" y="0"/>
                  </a:moveTo>
                  <a:lnTo>
                    <a:pt x="19" y="0"/>
                  </a:lnTo>
                  <a:lnTo>
                    <a:pt x="9" y="0"/>
                  </a:lnTo>
                  <a:lnTo>
                    <a:pt x="0" y="0"/>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05" name="Freeform 386">
              <a:extLst>
                <a:ext uri="{FF2B5EF4-FFF2-40B4-BE49-F238E27FC236}">
                  <a16:creationId xmlns:a16="http://schemas.microsoft.com/office/drawing/2014/main" id="{46818560-3904-4891-8D32-DDB87318A258}"/>
                </a:ext>
              </a:extLst>
            </p:cNvPr>
            <p:cNvSpPr>
              <a:spLocks/>
            </p:cNvSpPr>
            <p:nvPr/>
          </p:nvSpPr>
          <p:spPr bwMode="gray">
            <a:xfrm>
              <a:off x="1686" y="1145"/>
              <a:ext cx="896" cy="715"/>
            </a:xfrm>
            <a:custGeom>
              <a:avLst/>
              <a:gdLst>
                <a:gd name="T0" fmla="*/ 353 w 896"/>
                <a:gd name="T1" fmla="*/ 668 h 715"/>
                <a:gd name="T2" fmla="*/ 315 w 896"/>
                <a:gd name="T3" fmla="*/ 601 h 715"/>
                <a:gd name="T4" fmla="*/ 305 w 896"/>
                <a:gd name="T5" fmla="*/ 553 h 715"/>
                <a:gd name="T6" fmla="*/ 286 w 896"/>
                <a:gd name="T7" fmla="*/ 505 h 715"/>
                <a:gd name="T8" fmla="*/ 286 w 896"/>
                <a:gd name="T9" fmla="*/ 486 h 715"/>
                <a:gd name="T10" fmla="*/ 325 w 896"/>
                <a:gd name="T11" fmla="*/ 467 h 715"/>
                <a:gd name="T12" fmla="*/ 277 w 896"/>
                <a:gd name="T13" fmla="*/ 419 h 715"/>
                <a:gd name="T14" fmla="*/ 305 w 896"/>
                <a:gd name="T15" fmla="*/ 391 h 715"/>
                <a:gd name="T16" fmla="*/ 258 w 896"/>
                <a:gd name="T17" fmla="*/ 372 h 715"/>
                <a:gd name="T18" fmla="*/ 229 w 896"/>
                <a:gd name="T19" fmla="*/ 305 h 715"/>
                <a:gd name="T20" fmla="*/ 143 w 896"/>
                <a:gd name="T21" fmla="*/ 267 h 715"/>
                <a:gd name="T22" fmla="*/ 86 w 896"/>
                <a:gd name="T23" fmla="*/ 267 h 715"/>
                <a:gd name="T24" fmla="*/ 48 w 896"/>
                <a:gd name="T25" fmla="*/ 257 h 715"/>
                <a:gd name="T26" fmla="*/ 96 w 896"/>
                <a:gd name="T27" fmla="*/ 248 h 715"/>
                <a:gd name="T28" fmla="*/ 67 w 896"/>
                <a:gd name="T29" fmla="*/ 229 h 715"/>
                <a:gd name="T30" fmla="*/ 0 w 896"/>
                <a:gd name="T31" fmla="*/ 210 h 715"/>
                <a:gd name="T32" fmla="*/ 67 w 896"/>
                <a:gd name="T33" fmla="*/ 190 h 715"/>
                <a:gd name="T34" fmla="*/ 105 w 896"/>
                <a:gd name="T35" fmla="*/ 162 h 715"/>
                <a:gd name="T36" fmla="*/ 143 w 896"/>
                <a:gd name="T37" fmla="*/ 124 h 715"/>
                <a:gd name="T38" fmla="*/ 172 w 896"/>
                <a:gd name="T39" fmla="*/ 85 h 715"/>
                <a:gd name="T40" fmla="*/ 239 w 896"/>
                <a:gd name="T41" fmla="*/ 76 h 715"/>
                <a:gd name="T42" fmla="*/ 305 w 896"/>
                <a:gd name="T43" fmla="*/ 85 h 715"/>
                <a:gd name="T44" fmla="*/ 344 w 896"/>
                <a:gd name="T45" fmla="*/ 66 h 715"/>
                <a:gd name="T46" fmla="*/ 420 w 896"/>
                <a:gd name="T47" fmla="*/ 76 h 715"/>
                <a:gd name="T48" fmla="*/ 448 w 896"/>
                <a:gd name="T49" fmla="*/ 57 h 715"/>
                <a:gd name="T50" fmla="*/ 410 w 896"/>
                <a:gd name="T51" fmla="*/ 47 h 715"/>
                <a:gd name="T52" fmla="*/ 420 w 896"/>
                <a:gd name="T53" fmla="*/ 28 h 715"/>
                <a:gd name="T54" fmla="*/ 496 w 896"/>
                <a:gd name="T55" fmla="*/ 38 h 715"/>
                <a:gd name="T56" fmla="*/ 496 w 896"/>
                <a:gd name="T57" fmla="*/ 19 h 715"/>
                <a:gd name="T58" fmla="*/ 553 w 896"/>
                <a:gd name="T59" fmla="*/ 9 h 715"/>
                <a:gd name="T60" fmla="*/ 630 w 896"/>
                <a:gd name="T61" fmla="*/ 9 h 715"/>
                <a:gd name="T62" fmla="*/ 572 w 896"/>
                <a:gd name="T63" fmla="*/ 28 h 715"/>
                <a:gd name="T64" fmla="*/ 591 w 896"/>
                <a:gd name="T65" fmla="*/ 38 h 715"/>
                <a:gd name="T66" fmla="*/ 715 w 896"/>
                <a:gd name="T67" fmla="*/ 38 h 715"/>
                <a:gd name="T68" fmla="*/ 668 w 896"/>
                <a:gd name="T69" fmla="*/ 76 h 715"/>
                <a:gd name="T70" fmla="*/ 620 w 896"/>
                <a:gd name="T71" fmla="*/ 85 h 715"/>
                <a:gd name="T72" fmla="*/ 677 w 896"/>
                <a:gd name="T73" fmla="*/ 105 h 715"/>
                <a:gd name="T74" fmla="*/ 725 w 896"/>
                <a:gd name="T75" fmla="*/ 133 h 715"/>
                <a:gd name="T76" fmla="*/ 792 w 896"/>
                <a:gd name="T77" fmla="*/ 105 h 715"/>
                <a:gd name="T78" fmla="*/ 868 w 896"/>
                <a:gd name="T79" fmla="*/ 114 h 715"/>
                <a:gd name="T80" fmla="*/ 782 w 896"/>
                <a:gd name="T81" fmla="*/ 133 h 715"/>
                <a:gd name="T82" fmla="*/ 820 w 896"/>
                <a:gd name="T83" fmla="*/ 152 h 715"/>
                <a:gd name="T84" fmla="*/ 811 w 896"/>
                <a:gd name="T85" fmla="*/ 152 h 715"/>
                <a:gd name="T86" fmla="*/ 753 w 896"/>
                <a:gd name="T87" fmla="*/ 229 h 715"/>
                <a:gd name="T88" fmla="*/ 811 w 896"/>
                <a:gd name="T89" fmla="*/ 238 h 715"/>
                <a:gd name="T90" fmla="*/ 763 w 896"/>
                <a:gd name="T91" fmla="*/ 267 h 715"/>
                <a:gd name="T92" fmla="*/ 763 w 896"/>
                <a:gd name="T93" fmla="*/ 286 h 715"/>
                <a:gd name="T94" fmla="*/ 782 w 896"/>
                <a:gd name="T95" fmla="*/ 314 h 715"/>
                <a:gd name="T96" fmla="*/ 763 w 896"/>
                <a:gd name="T97" fmla="*/ 334 h 715"/>
                <a:gd name="T98" fmla="*/ 715 w 896"/>
                <a:gd name="T99" fmla="*/ 343 h 715"/>
                <a:gd name="T100" fmla="*/ 696 w 896"/>
                <a:gd name="T101" fmla="*/ 362 h 715"/>
                <a:gd name="T102" fmla="*/ 753 w 896"/>
                <a:gd name="T103" fmla="*/ 391 h 715"/>
                <a:gd name="T104" fmla="*/ 668 w 896"/>
                <a:gd name="T105" fmla="*/ 381 h 715"/>
                <a:gd name="T106" fmla="*/ 649 w 896"/>
                <a:gd name="T107" fmla="*/ 419 h 715"/>
                <a:gd name="T108" fmla="*/ 696 w 896"/>
                <a:gd name="T109" fmla="*/ 429 h 715"/>
                <a:gd name="T110" fmla="*/ 706 w 896"/>
                <a:gd name="T111" fmla="*/ 448 h 715"/>
                <a:gd name="T112" fmla="*/ 620 w 896"/>
                <a:gd name="T113" fmla="*/ 477 h 715"/>
                <a:gd name="T114" fmla="*/ 544 w 896"/>
                <a:gd name="T115" fmla="*/ 524 h 715"/>
                <a:gd name="T116" fmla="*/ 487 w 896"/>
                <a:gd name="T117" fmla="*/ 553 h 715"/>
                <a:gd name="T118" fmla="*/ 458 w 896"/>
                <a:gd name="T119" fmla="*/ 610 h 715"/>
                <a:gd name="T120" fmla="*/ 429 w 896"/>
                <a:gd name="T121" fmla="*/ 696 h 7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96"/>
                <a:gd name="T184" fmla="*/ 0 h 715"/>
                <a:gd name="T185" fmla="*/ 896 w 896"/>
                <a:gd name="T186" fmla="*/ 715 h 71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96" h="715">
                  <a:moveTo>
                    <a:pt x="429" y="715"/>
                  </a:moveTo>
                  <a:lnTo>
                    <a:pt x="429" y="706"/>
                  </a:lnTo>
                  <a:lnTo>
                    <a:pt x="420" y="706"/>
                  </a:lnTo>
                  <a:lnTo>
                    <a:pt x="410" y="706"/>
                  </a:lnTo>
                  <a:lnTo>
                    <a:pt x="410" y="696"/>
                  </a:lnTo>
                  <a:lnTo>
                    <a:pt x="401" y="687"/>
                  </a:lnTo>
                  <a:lnTo>
                    <a:pt x="391" y="677"/>
                  </a:lnTo>
                  <a:lnTo>
                    <a:pt x="372" y="687"/>
                  </a:lnTo>
                  <a:lnTo>
                    <a:pt x="363" y="687"/>
                  </a:lnTo>
                  <a:lnTo>
                    <a:pt x="363" y="677"/>
                  </a:lnTo>
                  <a:lnTo>
                    <a:pt x="353" y="668"/>
                  </a:lnTo>
                  <a:lnTo>
                    <a:pt x="344" y="658"/>
                  </a:lnTo>
                  <a:lnTo>
                    <a:pt x="344" y="649"/>
                  </a:lnTo>
                  <a:lnTo>
                    <a:pt x="334" y="639"/>
                  </a:lnTo>
                  <a:lnTo>
                    <a:pt x="325" y="639"/>
                  </a:lnTo>
                  <a:lnTo>
                    <a:pt x="334" y="629"/>
                  </a:lnTo>
                  <a:lnTo>
                    <a:pt x="334" y="620"/>
                  </a:lnTo>
                  <a:lnTo>
                    <a:pt x="325" y="610"/>
                  </a:lnTo>
                  <a:lnTo>
                    <a:pt x="315" y="601"/>
                  </a:lnTo>
                  <a:lnTo>
                    <a:pt x="315" y="591"/>
                  </a:lnTo>
                  <a:lnTo>
                    <a:pt x="325" y="591"/>
                  </a:lnTo>
                  <a:lnTo>
                    <a:pt x="325" y="582"/>
                  </a:lnTo>
                  <a:lnTo>
                    <a:pt x="334" y="582"/>
                  </a:lnTo>
                  <a:lnTo>
                    <a:pt x="334" y="572"/>
                  </a:lnTo>
                  <a:lnTo>
                    <a:pt x="325" y="572"/>
                  </a:lnTo>
                  <a:lnTo>
                    <a:pt x="315" y="572"/>
                  </a:lnTo>
                  <a:lnTo>
                    <a:pt x="315" y="582"/>
                  </a:lnTo>
                  <a:lnTo>
                    <a:pt x="305" y="582"/>
                  </a:lnTo>
                  <a:lnTo>
                    <a:pt x="305" y="572"/>
                  </a:lnTo>
                  <a:lnTo>
                    <a:pt x="305" y="553"/>
                  </a:lnTo>
                  <a:lnTo>
                    <a:pt x="296" y="544"/>
                  </a:lnTo>
                  <a:lnTo>
                    <a:pt x="305" y="544"/>
                  </a:lnTo>
                  <a:lnTo>
                    <a:pt x="296" y="534"/>
                  </a:lnTo>
                  <a:lnTo>
                    <a:pt x="286" y="524"/>
                  </a:lnTo>
                  <a:lnTo>
                    <a:pt x="286" y="515"/>
                  </a:lnTo>
                  <a:lnTo>
                    <a:pt x="296" y="515"/>
                  </a:lnTo>
                  <a:lnTo>
                    <a:pt x="296" y="505"/>
                  </a:lnTo>
                  <a:lnTo>
                    <a:pt x="286" y="505"/>
                  </a:lnTo>
                  <a:lnTo>
                    <a:pt x="277" y="505"/>
                  </a:lnTo>
                  <a:lnTo>
                    <a:pt x="286" y="496"/>
                  </a:lnTo>
                  <a:lnTo>
                    <a:pt x="305" y="486"/>
                  </a:lnTo>
                  <a:lnTo>
                    <a:pt x="315" y="486"/>
                  </a:lnTo>
                  <a:lnTo>
                    <a:pt x="325" y="496"/>
                  </a:lnTo>
                  <a:lnTo>
                    <a:pt x="325" y="486"/>
                  </a:lnTo>
                  <a:lnTo>
                    <a:pt x="305" y="486"/>
                  </a:lnTo>
                  <a:lnTo>
                    <a:pt x="296" y="486"/>
                  </a:lnTo>
                  <a:lnTo>
                    <a:pt x="286" y="486"/>
                  </a:lnTo>
                  <a:lnTo>
                    <a:pt x="296" y="477"/>
                  </a:lnTo>
                  <a:lnTo>
                    <a:pt x="315" y="477"/>
                  </a:lnTo>
                  <a:lnTo>
                    <a:pt x="325" y="486"/>
                  </a:lnTo>
                  <a:lnTo>
                    <a:pt x="334" y="477"/>
                  </a:lnTo>
                  <a:lnTo>
                    <a:pt x="325" y="477"/>
                  </a:lnTo>
                  <a:lnTo>
                    <a:pt x="315" y="477"/>
                  </a:lnTo>
                  <a:lnTo>
                    <a:pt x="305" y="477"/>
                  </a:lnTo>
                  <a:lnTo>
                    <a:pt x="296" y="477"/>
                  </a:lnTo>
                  <a:lnTo>
                    <a:pt x="296" y="467"/>
                  </a:lnTo>
                  <a:lnTo>
                    <a:pt x="315" y="467"/>
                  </a:lnTo>
                  <a:lnTo>
                    <a:pt x="325" y="467"/>
                  </a:lnTo>
                  <a:lnTo>
                    <a:pt x="315" y="458"/>
                  </a:lnTo>
                  <a:lnTo>
                    <a:pt x="325" y="448"/>
                  </a:lnTo>
                  <a:lnTo>
                    <a:pt x="334" y="448"/>
                  </a:lnTo>
                  <a:lnTo>
                    <a:pt x="325" y="448"/>
                  </a:lnTo>
                  <a:lnTo>
                    <a:pt x="334" y="439"/>
                  </a:lnTo>
                  <a:lnTo>
                    <a:pt x="334" y="429"/>
                  </a:lnTo>
                  <a:lnTo>
                    <a:pt x="315" y="439"/>
                  </a:lnTo>
                  <a:lnTo>
                    <a:pt x="296" y="429"/>
                  </a:lnTo>
                  <a:lnTo>
                    <a:pt x="286" y="429"/>
                  </a:lnTo>
                  <a:lnTo>
                    <a:pt x="277" y="419"/>
                  </a:lnTo>
                  <a:lnTo>
                    <a:pt x="267" y="419"/>
                  </a:lnTo>
                  <a:lnTo>
                    <a:pt x="277" y="419"/>
                  </a:lnTo>
                  <a:lnTo>
                    <a:pt x="286" y="419"/>
                  </a:lnTo>
                  <a:lnTo>
                    <a:pt x="296" y="419"/>
                  </a:lnTo>
                  <a:lnTo>
                    <a:pt x="305" y="419"/>
                  </a:lnTo>
                  <a:lnTo>
                    <a:pt x="325" y="429"/>
                  </a:lnTo>
                  <a:lnTo>
                    <a:pt x="325" y="419"/>
                  </a:lnTo>
                  <a:lnTo>
                    <a:pt x="315" y="419"/>
                  </a:lnTo>
                  <a:lnTo>
                    <a:pt x="315" y="410"/>
                  </a:lnTo>
                  <a:lnTo>
                    <a:pt x="296" y="400"/>
                  </a:lnTo>
                  <a:lnTo>
                    <a:pt x="305" y="391"/>
                  </a:lnTo>
                  <a:lnTo>
                    <a:pt x="296" y="391"/>
                  </a:lnTo>
                  <a:lnTo>
                    <a:pt x="286" y="381"/>
                  </a:lnTo>
                  <a:lnTo>
                    <a:pt x="277" y="381"/>
                  </a:lnTo>
                  <a:lnTo>
                    <a:pt x="277" y="391"/>
                  </a:lnTo>
                  <a:lnTo>
                    <a:pt x="277" y="400"/>
                  </a:lnTo>
                  <a:lnTo>
                    <a:pt x="258" y="400"/>
                  </a:lnTo>
                  <a:lnTo>
                    <a:pt x="248" y="391"/>
                  </a:lnTo>
                  <a:lnTo>
                    <a:pt x="267" y="391"/>
                  </a:lnTo>
                  <a:lnTo>
                    <a:pt x="258" y="381"/>
                  </a:lnTo>
                  <a:lnTo>
                    <a:pt x="258" y="372"/>
                  </a:lnTo>
                  <a:lnTo>
                    <a:pt x="267" y="372"/>
                  </a:lnTo>
                  <a:lnTo>
                    <a:pt x="267" y="362"/>
                  </a:lnTo>
                  <a:lnTo>
                    <a:pt x="258" y="353"/>
                  </a:lnTo>
                  <a:lnTo>
                    <a:pt x="248" y="343"/>
                  </a:lnTo>
                  <a:lnTo>
                    <a:pt x="248" y="334"/>
                  </a:lnTo>
                  <a:lnTo>
                    <a:pt x="248" y="324"/>
                  </a:lnTo>
                  <a:lnTo>
                    <a:pt x="239" y="314"/>
                  </a:lnTo>
                  <a:lnTo>
                    <a:pt x="248" y="314"/>
                  </a:lnTo>
                  <a:lnTo>
                    <a:pt x="239" y="314"/>
                  </a:lnTo>
                  <a:lnTo>
                    <a:pt x="229" y="305"/>
                  </a:lnTo>
                  <a:lnTo>
                    <a:pt x="210" y="286"/>
                  </a:lnTo>
                  <a:lnTo>
                    <a:pt x="210" y="276"/>
                  </a:lnTo>
                  <a:lnTo>
                    <a:pt x="201" y="276"/>
                  </a:lnTo>
                  <a:lnTo>
                    <a:pt x="191" y="276"/>
                  </a:lnTo>
                  <a:lnTo>
                    <a:pt x="182" y="276"/>
                  </a:lnTo>
                  <a:lnTo>
                    <a:pt x="172" y="276"/>
                  </a:lnTo>
                  <a:lnTo>
                    <a:pt x="172" y="267"/>
                  </a:lnTo>
                  <a:lnTo>
                    <a:pt x="153" y="267"/>
                  </a:lnTo>
                  <a:lnTo>
                    <a:pt x="143" y="267"/>
                  </a:lnTo>
                  <a:lnTo>
                    <a:pt x="134" y="267"/>
                  </a:lnTo>
                  <a:lnTo>
                    <a:pt x="124" y="267"/>
                  </a:lnTo>
                  <a:lnTo>
                    <a:pt x="115" y="276"/>
                  </a:lnTo>
                  <a:lnTo>
                    <a:pt x="105" y="267"/>
                  </a:lnTo>
                  <a:lnTo>
                    <a:pt x="96" y="267"/>
                  </a:lnTo>
                  <a:lnTo>
                    <a:pt x="86" y="267"/>
                  </a:lnTo>
                  <a:lnTo>
                    <a:pt x="86" y="276"/>
                  </a:lnTo>
                  <a:lnTo>
                    <a:pt x="77" y="276"/>
                  </a:lnTo>
                  <a:lnTo>
                    <a:pt x="58" y="267"/>
                  </a:lnTo>
                  <a:lnTo>
                    <a:pt x="48" y="267"/>
                  </a:lnTo>
                  <a:lnTo>
                    <a:pt x="58" y="257"/>
                  </a:lnTo>
                  <a:lnTo>
                    <a:pt x="67" y="257"/>
                  </a:lnTo>
                  <a:lnTo>
                    <a:pt x="48" y="257"/>
                  </a:lnTo>
                  <a:lnTo>
                    <a:pt x="48" y="248"/>
                  </a:lnTo>
                  <a:lnTo>
                    <a:pt x="39" y="248"/>
                  </a:lnTo>
                  <a:lnTo>
                    <a:pt x="29" y="248"/>
                  </a:lnTo>
                  <a:lnTo>
                    <a:pt x="20" y="248"/>
                  </a:lnTo>
                  <a:lnTo>
                    <a:pt x="39" y="238"/>
                  </a:lnTo>
                  <a:lnTo>
                    <a:pt x="48" y="238"/>
                  </a:lnTo>
                  <a:lnTo>
                    <a:pt x="58" y="248"/>
                  </a:lnTo>
                  <a:lnTo>
                    <a:pt x="67" y="248"/>
                  </a:lnTo>
                  <a:lnTo>
                    <a:pt x="77" y="248"/>
                  </a:lnTo>
                  <a:lnTo>
                    <a:pt x="86" y="248"/>
                  </a:lnTo>
                  <a:lnTo>
                    <a:pt x="96" y="248"/>
                  </a:lnTo>
                  <a:lnTo>
                    <a:pt x="77" y="238"/>
                  </a:lnTo>
                  <a:lnTo>
                    <a:pt x="58" y="238"/>
                  </a:lnTo>
                  <a:lnTo>
                    <a:pt x="77" y="238"/>
                  </a:lnTo>
                  <a:lnTo>
                    <a:pt x="86" y="238"/>
                  </a:lnTo>
                  <a:lnTo>
                    <a:pt x="105" y="238"/>
                  </a:lnTo>
                  <a:lnTo>
                    <a:pt x="96" y="229"/>
                  </a:lnTo>
                  <a:lnTo>
                    <a:pt x="86" y="229"/>
                  </a:lnTo>
                  <a:lnTo>
                    <a:pt x="77" y="229"/>
                  </a:lnTo>
                  <a:lnTo>
                    <a:pt x="67" y="229"/>
                  </a:lnTo>
                  <a:lnTo>
                    <a:pt x="58" y="238"/>
                  </a:lnTo>
                  <a:lnTo>
                    <a:pt x="39" y="229"/>
                  </a:lnTo>
                  <a:lnTo>
                    <a:pt x="29" y="229"/>
                  </a:lnTo>
                  <a:lnTo>
                    <a:pt x="20" y="229"/>
                  </a:lnTo>
                  <a:lnTo>
                    <a:pt x="10" y="219"/>
                  </a:lnTo>
                  <a:lnTo>
                    <a:pt x="0" y="219"/>
                  </a:lnTo>
                  <a:lnTo>
                    <a:pt x="0" y="210"/>
                  </a:lnTo>
                  <a:lnTo>
                    <a:pt x="10" y="210"/>
                  </a:lnTo>
                  <a:lnTo>
                    <a:pt x="10" y="200"/>
                  </a:lnTo>
                  <a:lnTo>
                    <a:pt x="20" y="200"/>
                  </a:lnTo>
                  <a:lnTo>
                    <a:pt x="29" y="200"/>
                  </a:lnTo>
                  <a:lnTo>
                    <a:pt x="39" y="200"/>
                  </a:lnTo>
                  <a:lnTo>
                    <a:pt x="58" y="200"/>
                  </a:lnTo>
                  <a:lnTo>
                    <a:pt x="58" y="190"/>
                  </a:lnTo>
                  <a:lnTo>
                    <a:pt x="48" y="190"/>
                  </a:lnTo>
                  <a:lnTo>
                    <a:pt x="67" y="190"/>
                  </a:lnTo>
                  <a:lnTo>
                    <a:pt x="86" y="190"/>
                  </a:lnTo>
                  <a:lnTo>
                    <a:pt x="96" y="190"/>
                  </a:lnTo>
                  <a:lnTo>
                    <a:pt x="124" y="171"/>
                  </a:lnTo>
                  <a:lnTo>
                    <a:pt x="115" y="171"/>
                  </a:lnTo>
                  <a:lnTo>
                    <a:pt x="124" y="162"/>
                  </a:lnTo>
                  <a:lnTo>
                    <a:pt x="124" y="152"/>
                  </a:lnTo>
                  <a:lnTo>
                    <a:pt x="115" y="152"/>
                  </a:lnTo>
                  <a:lnTo>
                    <a:pt x="105" y="152"/>
                  </a:lnTo>
                  <a:lnTo>
                    <a:pt x="105" y="162"/>
                  </a:lnTo>
                  <a:lnTo>
                    <a:pt x="86" y="152"/>
                  </a:lnTo>
                  <a:lnTo>
                    <a:pt x="77" y="152"/>
                  </a:lnTo>
                  <a:lnTo>
                    <a:pt x="77" y="143"/>
                  </a:lnTo>
                  <a:lnTo>
                    <a:pt x="96" y="143"/>
                  </a:lnTo>
                  <a:lnTo>
                    <a:pt x="105" y="133"/>
                  </a:lnTo>
                  <a:lnTo>
                    <a:pt x="134" y="114"/>
                  </a:lnTo>
                  <a:lnTo>
                    <a:pt x="134" y="124"/>
                  </a:lnTo>
                  <a:lnTo>
                    <a:pt x="143" y="124"/>
                  </a:lnTo>
                  <a:lnTo>
                    <a:pt x="143" y="114"/>
                  </a:lnTo>
                  <a:lnTo>
                    <a:pt x="153" y="114"/>
                  </a:lnTo>
                  <a:lnTo>
                    <a:pt x="153" y="124"/>
                  </a:lnTo>
                  <a:lnTo>
                    <a:pt x="172" y="114"/>
                  </a:lnTo>
                  <a:lnTo>
                    <a:pt x="162" y="105"/>
                  </a:lnTo>
                  <a:lnTo>
                    <a:pt x="172" y="105"/>
                  </a:lnTo>
                  <a:lnTo>
                    <a:pt x="162" y="95"/>
                  </a:lnTo>
                  <a:lnTo>
                    <a:pt x="172" y="85"/>
                  </a:lnTo>
                  <a:lnTo>
                    <a:pt x="191" y="85"/>
                  </a:lnTo>
                  <a:lnTo>
                    <a:pt x="201" y="95"/>
                  </a:lnTo>
                  <a:lnTo>
                    <a:pt x="220" y="105"/>
                  </a:lnTo>
                  <a:lnTo>
                    <a:pt x="220" y="95"/>
                  </a:lnTo>
                  <a:lnTo>
                    <a:pt x="210" y="95"/>
                  </a:lnTo>
                  <a:lnTo>
                    <a:pt x="201" y="85"/>
                  </a:lnTo>
                  <a:lnTo>
                    <a:pt x="191" y="85"/>
                  </a:lnTo>
                  <a:lnTo>
                    <a:pt x="191" y="76"/>
                  </a:lnTo>
                  <a:lnTo>
                    <a:pt x="220" y="76"/>
                  </a:lnTo>
                  <a:lnTo>
                    <a:pt x="229" y="76"/>
                  </a:lnTo>
                  <a:lnTo>
                    <a:pt x="239" y="76"/>
                  </a:lnTo>
                  <a:lnTo>
                    <a:pt x="248" y="76"/>
                  </a:lnTo>
                  <a:lnTo>
                    <a:pt x="248" y="66"/>
                  </a:lnTo>
                  <a:lnTo>
                    <a:pt x="267" y="66"/>
                  </a:lnTo>
                  <a:lnTo>
                    <a:pt x="277" y="76"/>
                  </a:lnTo>
                  <a:lnTo>
                    <a:pt x="277" y="95"/>
                  </a:lnTo>
                  <a:lnTo>
                    <a:pt x="277" y="105"/>
                  </a:lnTo>
                  <a:lnTo>
                    <a:pt x="277" y="95"/>
                  </a:lnTo>
                  <a:lnTo>
                    <a:pt x="286" y="85"/>
                  </a:lnTo>
                  <a:lnTo>
                    <a:pt x="305" y="85"/>
                  </a:lnTo>
                  <a:lnTo>
                    <a:pt x="334" y="95"/>
                  </a:lnTo>
                  <a:lnTo>
                    <a:pt x="315" y="85"/>
                  </a:lnTo>
                  <a:lnTo>
                    <a:pt x="334" y="85"/>
                  </a:lnTo>
                  <a:lnTo>
                    <a:pt x="315" y="76"/>
                  </a:lnTo>
                  <a:lnTo>
                    <a:pt x="315" y="66"/>
                  </a:lnTo>
                  <a:lnTo>
                    <a:pt x="315" y="57"/>
                  </a:lnTo>
                  <a:lnTo>
                    <a:pt x="334" y="57"/>
                  </a:lnTo>
                  <a:lnTo>
                    <a:pt x="344" y="66"/>
                  </a:lnTo>
                  <a:lnTo>
                    <a:pt x="363" y="66"/>
                  </a:lnTo>
                  <a:lnTo>
                    <a:pt x="363" y="76"/>
                  </a:lnTo>
                  <a:lnTo>
                    <a:pt x="372" y="76"/>
                  </a:lnTo>
                  <a:lnTo>
                    <a:pt x="382" y="76"/>
                  </a:lnTo>
                  <a:lnTo>
                    <a:pt x="401" y="95"/>
                  </a:lnTo>
                  <a:lnTo>
                    <a:pt x="410" y="95"/>
                  </a:lnTo>
                  <a:lnTo>
                    <a:pt x="401" y="85"/>
                  </a:lnTo>
                  <a:lnTo>
                    <a:pt x="410" y="85"/>
                  </a:lnTo>
                  <a:lnTo>
                    <a:pt x="401" y="76"/>
                  </a:lnTo>
                  <a:lnTo>
                    <a:pt x="410" y="76"/>
                  </a:lnTo>
                  <a:lnTo>
                    <a:pt x="420" y="76"/>
                  </a:lnTo>
                  <a:lnTo>
                    <a:pt x="429" y="76"/>
                  </a:lnTo>
                  <a:lnTo>
                    <a:pt x="439" y="76"/>
                  </a:lnTo>
                  <a:lnTo>
                    <a:pt x="410" y="66"/>
                  </a:lnTo>
                  <a:lnTo>
                    <a:pt x="420" y="66"/>
                  </a:lnTo>
                  <a:lnTo>
                    <a:pt x="401" y="57"/>
                  </a:lnTo>
                  <a:lnTo>
                    <a:pt x="391" y="47"/>
                  </a:lnTo>
                  <a:lnTo>
                    <a:pt x="420" y="47"/>
                  </a:lnTo>
                  <a:lnTo>
                    <a:pt x="439" y="47"/>
                  </a:lnTo>
                  <a:lnTo>
                    <a:pt x="439" y="57"/>
                  </a:lnTo>
                  <a:lnTo>
                    <a:pt x="448" y="57"/>
                  </a:lnTo>
                  <a:lnTo>
                    <a:pt x="448" y="47"/>
                  </a:lnTo>
                  <a:lnTo>
                    <a:pt x="458" y="57"/>
                  </a:lnTo>
                  <a:lnTo>
                    <a:pt x="468" y="57"/>
                  </a:lnTo>
                  <a:lnTo>
                    <a:pt x="468" y="66"/>
                  </a:lnTo>
                  <a:lnTo>
                    <a:pt x="477" y="66"/>
                  </a:lnTo>
                  <a:lnTo>
                    <a:pt x="468" y="57"/>
                  </a:lnTo>
                  <a:lnTo>
                    <a:pt x="458" y="47"/>
                  </a:lnTo>
                  <a:lnTo>
                    <a:pt x="429" y="47"/>
                  </a:lnTo>
                  <a:lnTo>
                    <a:pt x="410" y="47"/>
                  </a:lnTo>
                  <a:lnTo>
                    <a:pt x="401" y="38"/>
                  </a:lnTo>
                  <a:lnTo>
                    <a:pt x="420" y="38"/>
                  </a:lnTo>
                  <a:lnTo>
                    <a:pt x="410" y="38"/>
                  </a:lnTo>
                  <a:lnTo>
                    <a:pt x="391" y="28"/>
                  </a:lnTo>
                  <a:lnTo>
                    <a:pt x="401" y="28"/>
                  </a:lnTo>
                  <a:lnTo>
                    <a:pt x="410" y="28"/>
                  </a:lnTo>
                  <a:lnTo>
                    <a:pt x="420" y="28"/>
                  </a:lnTo>
                  <a:lnTo>
                    <a:pt x="429" y="28"/>
                  </a:lnTo>
                  <a:lnTo>
                    <a:pt x="410" y="28"/>
                  </a:lnTo>
                  <a:lnTo>
                    <a:pt x="420" y="28"/>
                  </a:lnTo>
                  <a:lnTo>
                    <a:pt x="429" y="28"/>
                  </a:lnTo>
                  <a:lnTo>
                    <a:pt x="448" y="28"/>
                  </a:lnTo>
                  <a:lnTo>
                    <a:pt x="458" y="38"/>
                  </a:lnTo>
                  <a:lnTo>
                    <a:pt x="468" y="38"/>
                  </a:lnTo>
                  <a:lnTo>
                    <a:pt x="477" y="38"/>
                  </a:lnTo>
                  <a:lnTo>
                    <a:pt x="487" y="38"/>
                  </a:lnTo>
                  <a:lnTo>
                    <a:pt x="487" y="47"/>
                  </a:lnTo>
                  <a:lnTo>
                    <a:pt x="496" y="47"/>
                  </a:lnTo>
                  <a:lnTo>
                    <a:pt x="487" y="38"/>
                  </a:lnTo>
                  <a:lnTo>
                    <a:pt x="496" y="38"/>
                  </a:lnTo>
                  <a:lnTo>
                    <a:pt x="506" y="38"/>
                  </a:lnTo>
                  <a:lnTo>
                    <a:pt x="515" y="38"/>
                  </a:lnTo>
                  <a:lnTo>
                    <a:pt x="496" y="38"/>
                  </a:lnTo>
                  <a:lnTo>
                    <a:pt x="496" y="28"/>
                  </a:lnTo>
                  <a:lnTo>
                    <a:pt x="506" y="28"/>
                  </a:lnTo>
                  <a:lnTo>
                    <a:pt x="515" y="28"/>
                  </a:lnTo>
                  <a:lnTo>
                    <a:pt x="496" y="28"/>
                  </a:lnTo>
                  <a:lnTo>
                    <a:pt x="487" y="28"/>
                  </a:lnTo>
                  <a:lnTo>
                    <a:pt x="496" y="19"/>
                  </a:lnTo>
                  <a:lnTo>
                    <a:pt x="487" y="19"/>
                  </a:lnTo>
                  <a:lnTo>
                    <a:pt x="496" y="19"/>
                  </a:lnTo>
                  <a:lnTo>
                    <a:pt x="506" y="19"/>
                  </a:lnTo>
                  <a:lnTo>
                    <a:pt x="496" y="9"/>
                  </a:lnTo>
                  <a:lnTo>
                    <a:pt x="506" y="9"/>
                  </a:lnTo>
                  <a:lnTo>
                    <a:pt x="515" y="19"/>
                  </a:lnTo>
                  <a:lnTo>
                    <a:pt x="525" y="19"/>
                  </a:lnTo>
                  <a:lnTo>
                    <a:pt x="515" y="9"/>
                  </a:lnTo>
                  <a:lnTo>
                    <a:pt x="525" y="9"/>
                  </a:lnTo>
                  <a:lnTo>
                    <a:pt x="534" y="9"/>
                  </a:lnTo>
                  <a:lnTo>
                    <a:pt x="544" y="9"/>
                  </a:lnTo>
                  <a:lnTo>
                    <a:pt x="553" y="9"/>
                  </a:lnTo>
                  <a:lnTo>
                    <a:pt x="563" y="9"/>
                  </a:lnTo>
                  <a:lnTo>
                    <a:pt x="572" y="0"/>
                  </a:lnTo>
                  <a:lnTo>
                    <a:pt x="582" y="9"/>
                  </a:lnTo>
                  <a:lnTo>
                    <a:pt x="591" y="9"/>
                  </a:lnTo>
                  <a:lnTo>
                    <a:pt x="601" y="9"/>
                  </a:lnTo>
                  <a:lnTo>
                    <a:pt x="610" y="9"/>
                  </a:lnTo>
                  <a:lnTo>
                    <a:pt x="620" y="9"/>
                  </a:lnTo>
                  <a:lnTo>
                    <a:pt x="630" y="9"/>
                  </a:lnTo>
                  <a:lnTo>
                    <a:pt x="639" y="9"/>
                  </a:lnTo>
                  <a:lnTo>
                    <a:pt x="630" y="9"/>
                  </a:lnTo>
                  <a:lnTo>
                    <a:pt x="639" y="19"/>
                  </a:lnTo>
                  <a:lnTo>
                    <a:pt x="649" y="19"/>
                  </a:lnTo>
                  <a:lnTo>
                    <a:pt x="649" y="9"/>
                  </a:lnTo>
                  <a:lnTo>
                    <a:pt x="687" y="19"/>
                  </a:lnTo>
                  <a:lnTo>
                    <a:pt x="696" y="19"/>
                  </a:lnTo>
                  <a:lnTo>
                    <a:pt x="677" y="28"/>
                  </a:lnTo>
                  <a:lnTo>
                    <a:pt x="649" y="28"/>
                  </a:lnTo>
                  <a:lnTo>
                    <a:pt x="630" y="28"/>
                  </a:lnTo>
                  <a:lnTo>
                    <a:pt x="601" y="28"/>
                  </a:lnTo>
                  <a:lnTo>
                    <a:pt x="591" y="38"/>
                  </a:lnTo>
                  <a:lnTo>
                    <a:pt x="582" y="28"/>
                  </a:lnTo>
                  <a:lnTo>
                    <a:pt x="572" y="28"/>
                  </a:lnTo>
                  <a:lnTo>
                    <a:pt x="572" y="38"/>
                  </a:lnTo>
                  <a:lnTo>
                    <a:pt x="553" y="38"/>
                  </a:lnTo>
                  <a:lnTo>
                    <a:pt x="534" y="38"/>
                  </a:lnTo>
                  <a:lnTo>
                    <a:pt x="544" y="47"/>
                  </a:lnTo>
                  <a:lnTo>
                    <a:pt x="534" y="47"/>
                  </a:lnTo>
                  <a:lnTo>
                    <a:pt x="544" y="47"/>
                  </a:lnTo>
                  <a:lnTo>
                    <a:pt x="553" y="47"/>
                  </a:lnTo>
                  <a:lnTo>
                    <a:pt x="563" y="47"/>
                  </a:lnTo>
                  <a:lnTo>
                    <a:pt x="563" y="38"/>
                  </a:lnTo>
                  <a:lnTo>
                    <a:pt x="591" y="38"/>
                  </a:lnTo>
                  <a:lnTo>
                    <a:pt x="610" y="28"/>
                  </a:lnTo>
                  <a:lnTo>
                    <a:pt x="630" y="28"/>
                  </a:lnTo>
                  <a:lnTo>
                    <a:pt x="649" y="38"/>
                  </a:lnTo>
                  <a:lnTo>
                    <a:pt x="677" y="28"/>
                  </a:lnTo>
                  <a:lnTo>
                    <a:pt x="696" y="28"/>
                  </a:lnTo>
                  <a:lnTo>
                    <a:pt x="706" y="38"/>
                  </a:lnTo>
                  <a:lnTo>
                    <a:pt x="696" y="38"/>
                  </a:lnTo>
                  <a:lnTo>
                    <a:pt x="696" y="47"/>
                  </a:lnTo>
                  <a:lnTo>
                    <a:pt x="715" y="38"/>
                  </a:lnTo>
                  <a:lnTo>
                    <a:pt x="715" y="47"/>
                  </a:lnTo>
                  <a:lnTo>
                    <a:pt x="725" y="47"/>
                  </a:lnTo>
                  <a:lnTo>
                    <a:pt x="744" y="47"/>
                  </a:lnTo>
                  <a:lnTo>
                    <a:pt x="753" y="57"/>
                  </a:lnTo>
                  <a:lnTo>
                    <a:pt x="744" y="57"/>
                  </a:lnTo>
                  <a:lnTo>
                    <a:pt x="744" y="66"/>
                  </a:lnTo>
                  <a:lnTo>
                    <a:pt x="725" y="66"/>
                  </a:lnTo>
                  <a:lnTo>
                    <a:pt x="715" y="66"/>
                  </a:lnTo>
                  <a:lnTo>
                    <a:pt x="706" y="76"/>
                  </a:lnTo>
                  <a:lnTo>
                    <a:pt x="668" y="76"/>
                  </a:lnTo>
                  <a:lnTo>
                    <a:pt x="658" y="76"/>
                  </a:lnTo>
                  <a:lnTo>
                    <a:pt x="620" y="76"/>
                  </a:lnTo>
                  <a:lnTo>
                    <a:pt x="601" y="76"/>
                  </a:lnTo>
                  <a:lnTo>
                    <a:pt x="610" y="76"/>
                  </a:lnTo>
                  <a:lnTo>
                    <a:pt x="582" y="85"/>
                  </a:lnTo>
                  <a:lnTo>
                    <a:pt x="572" y="95"/>
                  </a:lnTo>
                  <a:lnTo>
                    <a:pt x="582" y="95"/>
                  </a:lnTo>
                  <a:lnTo>
                    <a:pt x="591" y="95"/>
                  </a:lnTo>
                  <a:lnTo>
                    <a:pt x="620" y="85"/>
                  </a:lnTo>
                  <a:lnTo>
                    <a:pt x="630" y="85"/>
                  </a:lnTo>
                  <a:lnTo>
                    <a:pt x="649" y="76"/>
                  </a:lnTo>
                  <a:lnTo>
                    <a:pt x="658" y="85"/>
                  </a:lnTo>
                  <a:lnTo>
                    <a:pt x="696" y="85"/>
                  </a:lnTo>
                  <a:lnTo>
                    <a:pt x="677" y="95"/>
                  </a:lnTo>
                  <a:lnTo>
                    <a:pt x="658" y="105"/>
                  </a:lnTo>
                  <a:lnTo>
                    <a:pt x="668" y="105"/>
                  </a:lnTo>
                  <a:lnTo>
                    <a:pt x="677" y="105"/>
                  </a:lnTo>
                  <a:lnTo>
                    <a:pt x="687" y="105"/>
                  </a:lnTo>
                  <a:lnTo>
                    <a:pt x="715" y="95"/>
                  </a:lnTo>
                  <a:lnTo>
                    <a:pt x="715" y="85"/>
                  </a:lnTo>
                  <a:lnTo>
                    <a:pt x="744" y="76"/>
                  </a:lnTo>
                  <a:lnTo>
                    <a:pt x="744" y="85"/>
                  </a:lnTo>
                  <a:lnTo>
                    <a:pt x="744" y="105"/>
                  </a:lnTo>
                  <a:lnTo>
                    <a:pt x="734" y="105"/>
                  </a:lnTo>
                  <a:lnTo>
                    <a:pt x="734" y="114"/>
                  </a:lnTo>
                  <a:lnTo>
                    <a:pt x="734" y="124"/>
                  </a:lnTo>
                  <a:lnTo>
                    <a:pt x="725" y="124"/>
                  </a:lnTo>
                  <a:lnTo>
                    <a:pt x="725" y="133"/>
                  </a:lnTo>
                  <a:lnTo>
                    <a:pt x="715" y="133"/>
                  </a:lnTo>
                  <a:lnTo>
                    <a:pt x="725" y="143"/>
                  </a:lnTo>
                  <a:lnTo>
                    <a:pt x="725" y="133"/>
                  </a:lnTo>
                  <a:lnTo>
                    <a:pt x="725" y="124"/>
                  </a:lnTo>
                  <a:lnTo>
                    <a:pt x="744" y="124"/>
                  </a:lnTo>
                  <a:lnTo>
                    <a:pt x="753" y="114"/>
                  </a:lnTo>
                  <a:lnTo>
                    <a:pt x="773" y="105"/>
                  </a:lnTo>
                  <a:lnTo>
                    <a:pt x="773" y="95"/>
                  </a:lnTo>
                  <a:lnTo>
                    <a:pt x="782" y="95"/>
                  </a:lnTo>
                  <a:lnTo>
                    <a:pt x="782" y="105"/>
                  </a:lnTo>
                  <a:lnTo>
                    <a:pt x="792" y="105"/>
                  </a:lnTo>
                  <a:lnTo>
                    <a:pt x="811" y="105"/>
                  </a:lnTo>
                  <a:lnTo>
                    <a:pt x="811" y="95"/>
                  </a:lnTo>
                  <a:lnTo>
                    <a:pt x="820" y="95"/>
                  </a:lnTo>
                  <a:lnTo>
                    <a:pt x="811" y="85"/>
                  </a:lnTo>
                  <a:lnTo>
                    <a:pt x="820" y="85"/>
                  </a:lnTo>
                  <a:lnTo>
                    <a:pt x="839" y="85"/>
                  </a:lnTo>
                  <a:lnTo>
                    <a:pt x="868" y="85"/>
                  </a:lnTo>
                  <a:lnTo>
                    <a:pt x="896" y="95"/>
                  </a:lnTo>
                  <a:lnTo>
                    <a:pt x="896" y="105"/>
                  </a:lnTo>
                  <a:lnTo>
                    <a:pt x="868" y="114"/>
                  </a:lnTo>
                  <a:lnTo>
                    <a:pt x="858" y="114"/>
                  </a:lnTo>
                  <a:lnTo>
                    <a:pt x="849" y="114"/>
                  </a:lnTo>
                  <a:lnTo>
                    <a:pt x="858" y="124"/>
                  </a:lnTo>
                  <a:lnTo>
                    <a:pt x="839" y="124"/>
                  </a:lnTo>
                  <a:lnTo>
                    <a:pt x="839" y="133"/>
                  </a:lnTo>
                  <a:lnTo>
                    <a:pt x="830" y="133"/>
                  </a:lnTo>
                  <a:lnTo>
                    <a:pt x="820" y="133"/>
                  </a:lnTo>
                  <a:lnTo>
                    <a:pt x="811" y="133"/>
                  </a:lnTo>
                  <a:lnTo>
                    <a:pt x="801" y="133"/>
                  </a:lnTo>
                  <a:lnTo>
                    <a:pt x="782" y="133"/>
                  </a:lnTo>
                  <a:lnTo>
                    <a:pt x="773" y="133"/>
                  </a:lnTo>
                  <a:lnTo>
                    <a:pt x="763" y="133"/>
                  </a:lnTo>
                  <a:lnTo>
                    <a:pt x="763" y="143"/>
                  </a:lnTo>
                  <a:lnTo>
                    <a:pt x="782" y="143"/>
                  </a:lnTo>
                  <a:lnTo>
                    <a:pt x="782" y="133"/>
                  </a:lnTo>
                  <a:lnTo>
                    <a:pt x="792" y="133"/>
                  </a:lnTo>
                  <a:lnTo>
                    <a:pt x="801" y="143"/>
                  </a:lnTo>
                  <a:lnTo>
                    <a:pt x="811" y="143"/>
                  </a:lnTo>
                  <a:lnTo>
                    <a:pt x="820" y="133"/>
                  </a:lnTo>
                  <a:lnTo>
                    <a:pt x="839" y="143"/>
                  </a:lnTo>
                  <a:lnTo>
                    <a:pt x="820" y="152"/>
                  </a:lnTo>
                  <a:lnTo>
                    <a:pt x="801" y="143"/>
                  </a:lnTo>
                  <a:lnTo>
                    <a:pt x="782" y="143"/>
                  </a:lnTo>
                  <a:lnTo>
                    <a:pt x="782" y="152"/>
                  </a:lnTo>
                  <a:lnTo>
                    <a:pt x="782" y="162"/>
                  </a:lnTo>
                  <a:lnTo>
                    <a:pt x="792" y="162"/>
                  </a:lnTo>
                  <a:lnTo>
                    <a:pt x="792" y="152"/>
                  </a:lnTo>
                  <a:lnTo>
                    <a:pt x="782" y="152"/>
                  </a:lnTo>
                  <a:lnTo>
                    <a:pt x="792" y="152"/>
                  </a:lnTo>
                  <a:lnTo>
                    <a:pt x="801" y="152"/>
                  </a:lnTo>
                  <a:lnTo>
                    <a:pt x="811" y="152"/>
                  </a:lnTo>
                  <a:lnTo>
                    <a:pt x="820" y="152"/>
                  </a:lnTo>
                  <a:lnTo>
                    <a:pt x="811" y="162"/>
                  </a:lnTo>
                  <a:lnTo>
                    <a:pt x="792" y="162"/>
                  </a:lnTo>
                  <a:lnTo>
                    <a:pt x="782" y="181"/>
                  </a:lnTo>
                  <a:lnTo>
                    <a:pt x="792" y="181"/>
                  </a:lnTo>
                  <a:lnTo>
                    <a:pt x="782" y="190"/>
                  </a:lnTo>
                  <a:lnTo>
                    <a:pt x="773" y="190"/>
                  </a:lnTo>
                  <a:lnTo>
                    <a:pt x="763" y="200"/>
                  </a:lnTo>
                  <a:lnTo>
                    <a:pt x="753" y="219"/>
                  </a:lnTo>
                  <a:lnTo>
                    <a:pt x="753" y="229"/>
                  </a:lnTo>
                  <a:lnTo>
                    <a:pt x="763" y="229"/>
                  </a:lnTo>
                  <a:lnTo>
                    <a:pt x="763" y="219"/>
                  </a:lnTo>
                  <a:lnTo>
                    <a:pt x="773" y="219"/>
                  </a:lnTo>
                  <a:lnTo>
                    <a:pt x="792" y="229"/>
                  </a:lnTo>
                  <a:lnTo>
                    <a:pt x="782" y="229"/>
                  </a:lnTo>
                  <a:lnTo>
                    <a:pt x="773" y="229"/>
                  </a:lnTo>
                  <a:lnTo>
                    <a:pt x="782" y="238"/>
                  </a:lnTo>
                  <a:lnTo>
                    <a:pt x="792" y="238"/>
                  </a:lnTo>
                  <a:lnTo>
                    <a:pt x="801" y="238"/>
                  </a:lnTo>
                  <a:lnTo>
                    <a:pt x="811" y="238"/>
                  </a:lnTo>
                  <a:lnTo>
                    <a:pt x="811" y="248"/>
                  </a:lnTo>
                  <a:lnTo>
                    <a:pt x="801" y="248"/>
                  </a:lnTo>
                  <a:lnTo>
                    <a:pt x="792" y="248"/>
                  </a:lnTo>
                  <a:lnTo>
                    <a:pt x="773" y="248"/>
                  </a:lnTo>
                  <a:lnTo>
                    <a:pt x="763" y="248"/>
                  </a:lnTo>
                  <a:lnTo>
                    <a:pt x="773" y="248"/>
                  </a:lnTo>
                  <a:lnTo>
                    <a:pt x="753" y="248"/>
                  </a:lnTo>
                  <a:lnTo>
                    <a:pt x="753" y="257"/>
                  </a:lnTo>
                  <a:lnTo>
                    <a:pt x="753" y="267"/>
                  </a:lnTo>
                  <a:lnTo>
                    <a:pt x="763" y="267"/>
                  </a:lnTo>
                  <a:lnTo>
                    <a:pt x="773" y="267"/>
                  </a:lnTo>
                  <a:lnTo>
                    <a:pt x="782" y="267"/>
                  </a:lnTo>
                  <a:lnTo>
                    <a:pt x="773" y="267"/>
                  </a:lnTo>
                  <a:lnTo>
                    <a:pt x="753" y="267"/>
                  </a:lnTo>
                  <a:lnTo>
                    <a:pt x="763" y="276"/>
                  </a:lnTo>
                  <a:lnTo>
                    <a:pt x="782" y="276"/>
                  </a:lnTo>
                  <a:lnTo>
                    <a:pt x="792" y="276"/>
                  </a:lnTo>
                  <a:lnTo>
                    <a:pt x="792" y="286"/>
                  </a:lnTo>
                  <a:lnTo>
                    <a:pt x="782" y="295"/>
                  </a:lnTo>
                  <a:lnTo>
                    <a:pt x="773" y="286"/>
                  </a:lnTo>
                  <a:lnTo>
                    <a:pt x="763" y="286"/>
                  </a:lnTo>
                  <a:lnTo>
                    <a:pt x="753" y="286"/>
                  </a:lnTo>
                  <a:lnTo>
                    <a:pt x="773" y="286"/>
                  </a:lnTo>
                  <a:lnTo>
                    <a:pt x="773" y="295"/>
                  </a:lnTo>
                  <a:lnTo>
                    <a:pt x="753" y="295"/>
                  </a:lnTo>
                  <a:lnTo>
                    <a:pt x="763" y="295"/>
                  </a:lnTo>
                  <a:lnTo>
                    <a:pt x="773" y="305"/>
                  </a:lnTo>
                  <a:lnTo>
                    <a:pt x="763" y="305"/>
                  </a:lnTo>
                  <a:lnTo>
                    <a:pt x="782" y="314"/>
                  </a:lnTo>
                  <a:lnTo>
                    <a:pt x="792" y="305"/>
                  </a:lnTo>
                  <a:lnTo>
                    <a:pt x="792" y="314"/>
                  </a:lnTo>
                  <a:lnTo>
                    <a:pt x="792" y="324"/>
                  </a:lnTo>
                  <a:lnTo>
                    <a:pt x="782" y="324"/>
                  </a:lnTo>
                  <a:lnTo>
                    <a:pt x="773" y="314"/>
                  </a:lnTo>
                  <a:lnTo>
                    <a:pt x="753" y="314"/>
                  </a:lnTo>
                  <a:lnTo>
                    <a:pt x="753" y="324"/>
                  </a:lnTo>
                  <a:lnTo>
                    <a:pt x="753" y="343"/>
                  </a:lnTo>
                  <a:lnTo>
                    <a:pt x="763" y="334"/>
                  </a:lnTo>
                  <a:lnTo>
                    <a:pt x="773" y="334"/>
                  </a:lnTo>
                  <a:lnTo>
                    <a:pt x="782" y="343"/>
                  </a:lnTo>
                  <a:lnTo>
                    <a:pt x="763" y="343"/>
                  </a:lnTo>
                  <a:lnTo>
                    <a:pt x="744" y="353"/>
                  </a:lnTo>
                  <a:lnTo>
                    <a:pt x="725" y="343"/>
                  </a:lnTo>
                  <a:lnTo>
                    <a:pt x="744" y="343"/>
                  </a:lnTo>
                  <a:lnTo>
                    <a:pt x="725" y="334"/>
                  </a:lnTo>
                  <a:lnTo>
                    <a:pt x="715" y="334"/>
                  </a:lnTo>
                  <a:lnTo>
                    <a:pt x="706" y="334"/>
                  </a:lnTo>
                  <a:lnTo>
                    <a:pt x="696" y="334"/>
                  </a:lnTo>
                  <a:lnTo>
                    <a:pt x="715" y="343"/>
                  </a:lnTo>
                  <a:lnTo>
                    <a:pt x="706" y="343"/>
                  </a:lnTo>
                  <a:lnTo>
                    <a:pt x="696" y="353"/>
                  </a:lnTo>
                  <a:lnTo>
                    <a:pt x="677" y="343"/>
                  </a:lnTo>
                  <a:lnTo>
                    <a:pt x="687" y="353"/>
                  </a:lnTo>
                  <a:lnTo>
                    <a:pt x="668" y="353"/>
                  </a:lnTo>
                  <a:lnTo>
                    <a:pt x="677" y="353"/>
                  </a:lnTo>
                  <a:lnTo>
                    <a:pt x="687" y="353"/>
                  </a:lnTo>
                  <a:lnTo>
                    <a:pt x="696" y="353"/>
                  </a:lnTo>
                  <a:lnTo>
                    <a:pt x="706" y="353"/>
                  </a:lnTo>
                  <a:lnTo>
                    <a:pt x="696" y="362"/>
                  </a:lnTo>
                  <a:lnTo>
                    <a:pt x="687" y="362"/>
                  </a:lnTo>
                  <a:lnTo>
                    <a:pt x="706" y="362"/>
                  </a:lnTo>
                  <a:lnTo>
                    <a:pt x="706" y="372"/>
                  </a:lnTo>
                  <a:lnTo>
                    <a:pt x="696" y="372"/>
                  </a:lnTo>
                  <a:lnTo>
                    <a:pt x="706" y="381"/>
                  </a:lnTo>
                  <a:lnTo>
                    <a:pt x="715" y="372"/>
                  </a:lnTo>
                  <a:lnTo>
                    <a:pt x="725" y="381"/>
                  </a:lnTo>
                  <a:lnTo>
                    <a:pt x="744" y="381"/>
                  </a:lnTo>
                  <a:lnTo>
                    <a:pt x="744" y="391"/>
                  </a:lnTo>
                  <a:lnTo>
                    <a:pt x="753" y="400"/>
                  </a:lnTo>
                  <a:lnTo>
                    <a:pt x="753" y="391"/>
                  </a:lnTo>
                  <a:lnTo>
                    <a:pt x="763" y="400"/>
                  </a:lnTo>
                  <a:lnTo>
                    <a:pt x="763" y="419"/>
                  </a:lnTo>
                  <a:lnTo>
                    <a:pt x="753" y="419"/>
                  </a:lnTo>
                  <a:lnTo>
                    <a:pt x="744" y="419"/>
                  </a:lnTo>
                  <a:lnTo>
                    <a:pt x="725" y="419"/>
                  </a:lnTo>
                  <a:lnTo>
                    <a:pt x="715" y="400"/>
                  </a:lnTo>
                  <a:lnTo>
                    <a:pt x="696" y="391"/>
                  </a:lnTo>
                  <a:lnTo>
                    <a:pt x="677" y="391"/>
                  </a:lnTo>
                  <a:lnTo>
                    <a:pt x="668" y="381"/>
                  </a:lnTo>
                  <a:lnTo>
                    <a:pt x="658" y="381"/>
                  </a:lnTo>
                  <a:lnTo>
                    <a:pt x="649" y="381"/>
                  </a:lnTo>
                  <a:lnTo>
                    <a:pt x="658" y="391"/>
                  </a:lnTo>
                  <a:lnTo>
                    <a:pt x="677" y="391"/>
                  </a:lnTo>
                  <a:lnTo>
                    <a:pt x="696" y="400"/>
                  </a:lnTo>
                  <a:lnTo>
                    <a:pt x="696" y="410"/>
                  </a:lnTo>
                  <a:lnTo>
                    <a:pt x="677" y="410"/>
                  </a:lnTo>
                  <a:lnTo>
                    <a:pt x="658" y="410"/>
                  </a:lnTo>
                  <a:lnTo>
                    <a:pt x="658" y="419"/>
                  </a:lnTo>
                  <a:lnTo>
                    <a:pt x="649" y="419"/>
                  </a:lnTo>
                  <a:lnTo>
                    <a:pt x="658" y="419"/>
                  </a:lnTo>
                  <a:lnTo>
                    <a:pt x="668" y="419"/>
                  </a:lnTo>
                  <a:lnTo>
                    <a:pt x="677" y="419"/>
                  </a:lnTo>
                  <a:lnTo>
                    <a:pt x="687" y="419"/>
                  </a:lnTo>
                  <a:lnTo>
                    <a:pt x="687" y="429"/>
                  </a:lnTo>
                  <a:lnTo>
                    <a:pt x="668" y="429"/>
                  </a:lnTo>
                  <a:lnTo>
                    <a:pt x="658" y="429"/>
                  </a:lnTo>
                  <a:lnTo>
                    <a:pt x="677" y="429"/>
                  </a:lnTo>
                  <a:lnTo>
                    <a:pt x="687" y="429"/>
                  </a:lnTo>
                  <a:lnTo>
                    <a:pt x="696" y="429"/>
                  </a:lnTo>
                  <a:lnTo>
                    <a:pt x="696" y="419"/>
                  </a:lnTo>
                  <a:lnTo>
                    <a:pt x="706" y="419"/>
                  </a:lnTo>
                  <a:lnTo>
                    <a:pt x="706" y="429"/>
                  </a:lnTo>
                  <a:lnTo>
                    <a:pt x="734" y="429"/>
                  </a:lnTo>
                  <a:lnTo>
                    <a:pt x="744" y="429"/>
                  </a:lnTo>
                  <a:lnTo>
                    <a:pt x="725" y="448"/>
                  </a:lnTo>
                  <a:lnTo>
                    <a:pt x="715" y="448"/>
                  </a:lnTo>
                  <a:lnTo>
                    <a:pt x="706" y="448"/>
                  </a:lnTo>
                  <a:lnTo>
                    <a:pt x="706" y="458"/>
                  </a:lnTo>
                  <a:lnTo>
                    <a:pt x="696" y="458"/>
                  </a:lnTo>
                  <a:lnTo>
                    <a:pt x="687" y="458"/>
                  </a:lnTo>
                  <a:lnTo>
                    <a:pt x="677" y="458"/>
                  </a:lnTo>
                  <a:lnTo>
                    <a:pt x="668" y="467"/>
                  </a:lnTo>
                  <a:lnTo>
                    <a:pt x="658" y="467"/>
                  </a:lnTo>
                  <a:lnTo>
                    <a:pt x="649" y="477"/>
                  </a:lnTo>
                  <a:lnTo>
                    <a:pt x="639" y="477"/>
                  </a:lnTo>
                  <a:lnTo>
                    <a:pt x="639" y="467"/>
                  </a:lnTo>
                  <a:lnTo>
                    <a:pt x="630" y="477"/>
                  </a:lnTo>
                  <a:lnTo>
                    <a:pt x="620" y="467"/>
                  </a:lnTo>
                  <a:lnTo>
                    <a:pt x="620" y="477"/>
                  </a:lnTo>
                  <a:lnTo>
                    <a:pt x="610" y="477"/>
                  </a:lnTo>
                  <a:lnTo>
                    <a:pt x="601" y="467"/>
                  </a:lnTo>
                  <a:lnTo>
                    <a:pt x="591" y="467"/>
                  </a:lnTo>
                  <a:lnTo>
                    <a:pt x="601" y="477"/>
                  </a:lnTo>
                  <a:lnTo>
                    <a:pt x="601" y="486"/>
                  </a:lnTo>
                  <a:lnTo>
                    <a:pt x="582" y="486"/>
                  </a:lnTo>
                  <a:lnTo>
                    <a:pt x="582" y="496"/>
                  </a:lnTo>
                  <a:lnTo>
                    <a:pt x="572" y="505"/>
                  </a:lnTo>
                  <a:lnTo>
                    <a:pt x="563" y="515"/>
                  </a:lnTo>
                  <a:lnTo>
                    <a:pt x="553" y="515"/>
                  </a:lnTo>
                  <a:lnTo>
                    <a:pt x="544" y="524"/>
                  </a:lnTo>
                  <a:lnTo>
                    <a:pt x="534" y="534"/>
                  </a:lnTo>
                  <a:lnTo>
                    <a:pt x="534" y="524"/>
                  </a:lnTo>
                  <a:lnTo>
                    <a:pt x="525" y="534"/>
                  </a:lnTo>
                  <a:lnTo>
                    <a:pt x="515" y="524"/>
                  </a:lnTo>
                  <a:lnTo>
                    <a:pt x="525" y="515"/>
                  </a:lnTo>
                  <a:lnTo>
                    <a:pt x="515" y="515"/>
                  </a:lnTo>
                  <a:lnTo>
                    <a:pt x="515" y="524"/>
                  </a:lnTo>
                  <a:lnTo>
                    <a:pt x="506" y="534"/>
                  </a:lnTo>
                  <a:lnTo>
                    <a:pt x="477" y="544"/>
                  </a:lnTo>
                  <a:lnTo>
                    <a:pt x="487" y="553"/>
                  </a:lnTo>
                  <a:lnTo>
                    <a:pt x="468" y="563"/>
                  </a:lnTo>
                  <a:lnTo>
                    <a:pt x="468" y="572"/>
                  </a:lnTo>
                  <a:lnTo>
                    <a:pt x="477" y="572"/>
                  </a:lnTo>
                  <a:lnTo>
                    <a:pt x="468" y="582"/>
                  </a:lnTo>
                  <a:lnTo>
                    <a:pt x="458" y="582"/>
                  </a:lnTo>
                  <a:lnTo>
                    <a:pt x="458" y="591"/>
                  </a:lnTo>
                  <a:lnTo>
                    <a:pt x="477" y="591"/>
                  </a:lnTo>
                  <a:lnTo>
                    <a:pt x="477" y="601"/>
                  </a:lnTo>
                  <a:lnTo>
                    <a:pt x="458" y="601"/>
                  </a:lnTo>
                  <a:lnTo>
                    <a:pt x="468" y="610"/>
                  </a:lnTo>
                  <a:lnTo>
                    <a:pt x="458" y="610"/>
                  </a:lnTo>
                  <a:lnTo>
                    <a:pt x="458" y="629"/>
                  </a:lnTo>
                  <a:lnTo>
                    <a:pt x="448" y="629"/>
                  </a:lnTo>
                  <a:lnTo>
                    <a:pt x="448" y="639"/>
                  </a:lnTo>
                  <a:lnTo>
                    <a:pt x="448" y="649"/>
                  </a:lnTo>
                  <a:lnTo>
                    <a:pt x="458" y="658"/>
                  </a:lnTo>
                  <a:lnTo>
                    <a:pt x="448" y="668"/>
                  </a:lnTo>
                  <a:lnTo>
                    <a:pt x="448" y="677"/>
                  </a:lnTo>
                  <a:lnTo>
                    <a:pt x="439" y="687"/>
                  </a:lnTo>
                  <a:lnTo>
                    <a:pt x="429" y="696"/>
                  </a:lnTo>
                  <a:lnTo>
                    <a:pt x="439" y="696"/>
                  </a:lnTo>
                  <a:lnTo>
                    <a:pt x="429" y="715"/>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06" name="Freeform 387">
              <a:extLst>
                <a:ext uri="{FF2B5EF4-FFF2-40B4-BE49-F238E27FC236}">
                  <a16:creationId xmlns:a16="http://schemas.microsoft.com/office/drawing/2014/main" id="{55C196C3-EAF8-4FC0-B0F2-12DDFC389DC3}"/>
                </a:ext>
              </a:extLst>
            </p:cNvPr>
            <p:cNvSpPr>
              <a:spLocks/>
            </p:cNvSpPr>
            <p:nvPr/>
          </p:nvSpPr>
          <p:spPr bwMode="gray">
            <a:xfrm>
              <a:off x="1706" y="1383"/>
              <a:ext cx="19" cy="1"/>
            </a:xfrm>
            <a:custGeom>
              <a:avLst/>
              <a:gdLst>
                <a:gd name="T0" fmla="*/ 9 w 19"/>
                <a:gd name="T1" fmla="*/ 0 h 1"/>
                <a:gd name="T2" fmla="*/ 0 w 19"/>
                <a:gd name="T3" fmla="*/ 0 h 1"/>
                <a:gd name="T4" fmla="*/ 9 w 19"/>
                <a:gd name="T5" fmla="*/ 0 h 1"/>
                <a:gd name="T6" fmla="*/ 19 w 19"/>
                <a:gd name="T7" fmla="*/ 0 h 1"/>
                <a:gd name="T8" fmla="*/ 19 w 19"/>
                <a:gd name="T9" fmla="*/ 0 h 1"/>
                <a:gd name="T10" fmla="*/ 9 w 19"/>
                <a:gd name="T11" fmla="*/ 0 h 1"/>
                <a:gd name="T12" fmla="*/ 0 60000 65536"/>
                <a:gd name="T13" fmla="*/ 0 60000 65536"/>
                <a:gd name="T14" fmla="*/ 0 60000 65536"/>
                <a:gd name="T15" fmla="*/ 0 60000 65536"/>
                <a:gd name="T16" fmla="*/ 0 60000 65536"/>
                <a:gd name="T17" fmla="*/ 0 60000 65536"/>
                <a:gd name="T18" fmla="*/ 0 w 19"/>
                <a:gd name="T19" fmla="*/ 0 h 1"/>
                <a:gd name="T20" fmla="*/ 19 w 19"/>
                <a:gd name="T21" fmla="*/ 1 h 1"/>
              </a:gdLst>
              <a:ahLst/>
              <a:cxnLst>
                <a:cxn ang="T12">
                  <a:pos x="T0" y="T1"/>
                </a:cxn>
                <a:cxn ang="T13">
                  <a:pos x="T2" y="T3"/>
                </a:cxn>
                <a:cxn ang="T14">
                  <a:pos x="T4" y="T5"/>
                </a:cxn>
                <a:cxn ang="T15">
                  <a:pos x="T6" y="T7"/>
                </a:cxn>
                <a:cxn ang="T16">
                  <a:pos x="T8" y="T9"/>
                </a:cxn>
                <a:cxn ang="T17">
                  <a:pos x="T10" y="T11"/>
                </a:cxn>
              </a:cxnLst>
              <a:rect l="T18" t="T19" r="T20" b="T21"/>
              <a:pathLst>
                <a:path w="19" h="1">
                  <a:moveTo>
                    <a:pt x="9" y="0"/>
                  </a:moveTo>
                  <a:lnTo>
                    <a:pt x="0" y="0"/>
                  </a:lnTo>
                  <a:lnTo>
                    <a:pt x="9" y="0"/>
                  </a:lnTo>
                  <a:lnTo>
                    <a:pt x="19" y="0"/>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07" name="Freeform 388">
              <a:extLst>
                <a:ext uri="{FF2B5EF4-FFF2-40B4-BE49-F238E27FC236}">
                  <a16:creationId xmlns:a16="http://schemas.microsoft.com/office/drawing/2014/main" id="{84F44BC9-57FE-4C74-82EB-A749684EC310}"/>
                </a:ext>
              </a:extLst>
            </p:cNvPr>
            <p:cNvSpPr>
              <a:spLocks/>
            </p:cNvSpPr>
            <p:nvPr/>
          </p:nvSpPr>
          <p:spPr bwMode="gray">
            <a:xfrm>
              <a:off x="1706" y="1383"/>
              <a:ext cx="19" cy="1"/>
            </a:xfrm>
            <a:custGeom>
              <a:avLst/>
              <a:gdLst>
                <a:gd name="T0" fmla="*/ 9 w 19"/>
                <a:gd name="T1" fmla="*/ 0 h 1"/>
                <a:gd name="T2" fmla="*/ 0 w 19"/>
                <a:gd name="T3" fmla="*/ 0 h 1"/>
                <a:gd name="T4" fmla="*/ 9 w 19"/>
                <a:gd name="T5" fmla="*/ 0 h 1"/>
                <a:gd name="T6" fmla="*/ 19 w 19"/>
                <a:gd name="T7" fmla="*/ 0 h 1"/>
                <a:gd name="T8" fmla="*/ 19 w 19"/>
                <a:gd name="T9" fmla="*/ 0 h 1"/>
                <a:gd name="T10" fmla="*/ 9 w 19"/>
                <a:gd name="T11" fmla="*/ 0 h 1"/>
                <a:gd name="T12" fmla="*/ 0 60000 65536"/>
                <a:gd name="T13" fmla="*/ 0 60000 65536"/>
                <a:gd name="T14" fmla="*/ 0 60000 65536"/>
                <a:gd name="T15" fmla="*/ 0 60000 65536"/>
                <a:gd name="T16" fmla="*/ 0 60000 65536"/>
                <a:gd name="T17" fmla="*/ 0 60000 65536"/>
                <a:gd name="T18" fmla="*/ 0 w 19"/>
                <a:gd name="T19" fmla="*/ 0 h 1"/>
                <a:gd name="T20" fmla="*/ 19 w 19"/>
                <a:gd name="T21" fmla="*/ 1 h 1"/>
              </a:gdLst>
              <a:ahLst/>
              <a:cxnLst>
                <a:cxn ang="T12">
                  <a:pos x="T0" y="T1"/>
                </a:cxn>
                <a:cxn ang="T13">
                  <a:pos x="T2" y="T3"/>
                </a:cxn>
                <a:cxn ang="T14">
                  <a:pos x="T4" y="T5"/>
                </a:cxn>
                <a:cxn ang="T15">
                  <a:pos x="T6" y="T7"/>
                </a:cxn>
                <a:cxn ang="T16">
                  <a:pos x="T8" y="T9"/>
                </a:cxn>
                <a:cxn ang="T17">
                  <a:pos x="T10" y="T11"/>
                </a:cxn>
              </a:cxnLst>
              <a:rect l="T18" t="T19" r="T20" b="T21"/>
              <a:pathLst>
                <a:path w="19" h="1">
                  <a:moveTo>
                    <a:pt x="9" y="0"/>
                  </a:moveTo>
                  <a:lnTo>
                    <a:pt x="0" y="0"/>
                  </a:lnTo>
                  <a:lnTo>
                    <a:pt x="9" y="0"/>
                  </a:lnTo>
                  <a:lnTo>
                    <a:pt x="19" y="0"/>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08" name="Freeform 389">
              <a:extLst>
                <a:ext uri="{FF2B5EF4-FFF2-40B4-BE49-F238E27FC236}">
                  <a16:creationId xmlns:a16="http://schemas.microsoft.com/office/drawing/2014/main" id="{6E0014D3-FF60-45C7-AFB8-719576E41725}"/>
                </a:ext>
              </a:extLst>
            </p:cNvPr>
            <p:cNvSpPr>
              <a:spLocks/>
            </p:cNvSpPr>
            <p:nvPr/>
          </p:nvSpPr>
          <p:spPr bwMode="gray">
            <a:xfrm>
              <a:off x="1696" y="1383"/>
              <a:ext cx="10" cy="1"/>
            </a:xfrm>
            <a:custGeom>
              <a:avLst/>
              <a:gdLst>
                <a:gd name="T0" fmla="*/ 0 w 10"/>
                <a:gd name="T1" fmla="*/ 0 h 1"/>
                <a:gd name="T2" fmla="*/ 0 w 10"/>
                <a:gd name="T3" fmla="*/ 0 h 1"/>
                <a:gd name="T4" fmla="*/ 10 w 10"/>
                <a:gd name="T5" fmla="*/ 0 h 1"/>
                <a:gd name="T6" fmla="*/ 10 w 10"/>
                <a:gd name="T7" fmla="*/ 0 h 1"/>
                <a:gd name="T8" fmla="*/ 0 w 10"/>
                <a:gd name="T9" fmla="*/ 0 h 1"/>
                <a:gd name="T10" fmla="*/ 0 w 10"/>
                <a:gd name="T11" fmla="*/ 0 h 1"/>
                <a:gd name="T12" fmla="*/ 0 60000 65536"/>
                <a:gd name="T13" fmla="*/ 0 60000 65536"/>
                <a:gd name="T14" fmla="*/ 0 60000 65536"/>
                <a:gd name="T15" fmla="*/ 0 60000 65536"/>
                <a:gd name="T16" fmla="*/ 0 60000 65536"/>
                <a:gd name="T17" fmla="*/ 0 60000 65536"/>
                <a:gd name="T18" fmla="*/ 0 w 10"/>
                <a:gd name="T19" fmla="*/ 0 h 1"/>
                <a:gd name="T20" fmla="*/ 10 w 10"/>
                <a:gd name="T21" fmla="*/ 1 h 1"/>
              </a:gdLst>
              <a:ahLst/>
              <a:cxnLst>
                <a:cxn ang="T12">
                  <a:pos x="T0" y="T1"/>
                </a:cxn>
                <a:cxn ang="T13">
                  <a:pos x="T2" y="T3"/>
                </a:cxn>
                <a:cxn ang="T14">
                  <a:pos x="T4" y="T5"/>
                </a:cxn>
                <a:cxn ang="T15">
                  <a:pos x="T6" y="T7"/>
                </a:cxn>
                <a:cxn ang="T16">
                  <a:pos x="T8" y="T9"/>
                </a:cxn>
                <a:cxn ang="T17">
                  <a:pos x="T10" y="T11"/>
                </a:cxn>
              </a:cxnLst>
              <a:rect l="T18" t="T19" r="T20" b="T21"/>
              <a:pathLst>
                <a:path w="10" h="1">
                  <a:moveTo>
                    <a:pt x="0" y="0"/>
                  </a:moveTo>
                  <a:lnTo>
                    <a:pt x="0" y="0"/>
                  </a:lnTo>
                  <a:lnTo>
                    <a:pt x="10"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09" name="Freeform 390">
              <a:extLst>
                <a:ext uri="{FF2B5EF4-FFF2-40B4-BE49-F238E27FC236}">
                  <a16:creationId xmlns:a16="http://schemas.microsoft.com/office/drawing/2014/main" id="{A3B2E944-2A70-49E8-B279-8A6BF4109998}"/>
                </a:ext>
              </a:extLst>
            </p:cNvPr>
            <p:cNvSpPr>
              <a:spLocks/>
            </p:cNvSpPr>
            <p:nvPr/>
          </p:nvSpPr>
          <p:spPr bwMode="gray">
            <a:xfrm>
              <a:off x="1696" y="1383"/>
              <a:ext cx="10" cy="1"/>
            </a:xfrm>
            <a:custGeom>
              <a:avLst/>
              <a:gdLst>
                <a:gd name="T0" fmla="*/ 0 w 10"/>
                <a:gd name="T1" fmla="*/ 0 h 1"/>
                <a:gd name="T2" fmla="*/ 0 w 10"/>
                <a:gd name="T3" fmla="*/ 0 h 1"/>
                <a:gd name="T4" fmla="*/ 10 w 10"/>
                <a:gd name="T5" fmla="*/ 0 h 1"/>
                <a:gd name="T6" fmla="*/ 10 w 10"/>
                <a:gd name="T7" fmla="*/ 0 h 1"/>
                <a:gd name="T8" fmla="*/ 0 w 10"/>
                <a:gd name="T9" fmla="*/ 0 h 1"/>
                <a:gd name="T10" fmla="*/ 0 w 10"/>
                <a:gd name="T11" fmla="*/ 0 h 1"/>
                <a:gd name="T12" fmla="*/ 0 60000 65536"/>
                <a:gd name="T13" fmla="*/ 0 60000 65536"/>
                <a:gd name="T14" fmla="*/ 0 60000 65536"/>
                <a:gd name="T15" fmla="*/ 0 60000 65536"/>
                <a:gd name="T16" fmla="*/ 0 60000 65536"/>
                <a:gd name="T17" fmla="*/ 0 60000 65536"/>
                <a:gd name="T18" fmla="*/ 0 w 10"/>
                <a:gd name="T19" fmla="*/ 0 h 1"/>
                <a:gd name="T20" fmla="*/ 10 w 10"/>
                <a:gd name="T21" fmla="*/ 1 h 1"/>
              </a:gdLst>
              <a:ahLst/>
              <a:cxnLst>
                <a:cxn ang="T12">
                  <a:pos x="T0" y="T1"/>
                </a:cxn>
                <a:cxn ang="T13">
                  <a:pos x="T2" y="T3"/>
                </a:cxn>
                <a:cxn ang="T14">
                  <a:pos x="T4" y="T5"/>
                </a:cxn>
                <a:cxn ang="T15">
                  <a:pos x="T6" y="T7"/>
                </a:cxn>
                <a:cxn ang="T16">
                  <a:pos x="T8" y="T9"/>
                </a:cxn>
                <a:cxn ang="T17">
                  <a:pos x="T10" y="T11"/>
                </a:cxn>
              </a:cxnLst>
              <a:rect l="T18" t="T19" r="T20" b="T21"/>
              <a:pathLst>
                <a:path w="10" h="1">
                  <a:moveTo>
                    <a:pt x="0" y="0"/>
                  </a:moveTo>
                  <a:lnTo>
                    <a:pt x="0" y="0"/>
                  </a:lnTo>
                  <a:lnTo>
                    <a:pt x="10"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10" name="Rectangle 391">
              <a:extLst>
                <a:ext uri="{FF2B5EF4-FFF2-40B4-BE49-F238E27FC236}">
                  <a16:creationId xmlns:a16="http://schemas.microsoft.com/office/drawing/2014/main" id="{E73573D7-AD01-41A8-BE3D-6C1E6B3C143A}"/>
                </a:ext>
              </a:extLst>
            </p:cNvPr>
            <p:cNvSpPr>
              <a:spLocks noChangeArrowheads="1"/>
            </p:cNvSpPr>
            <p:nvPr/>
          </p:nvSpPr>
          <p:spPr bwMode="gray">
            <a:xfrm>
              <a:off x="2497" y="1326"/>
              <a:ext cx="9" cy="9"/>
            </a:xfrm>
            <a:prstGeom prst="rect">
              <a:avLst/>
            </a:pr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11" name="Rectangle 392">
              <a:extLst>
                <a:ext uri="{FF2B5EF4-FFF2-40B4-BE49-F238E27FC236}">
                  <a16:creationId xmlns:a16="http://schemas.microsoft.com/office/drawing/2014/main" id="{B2C5487C-00F1-430A-9253-2B6189E087AD}"/>
                </a:ext>
              </a:extLst>
            </p:cNvPr>
            <p:cNvSpPr>
              <a:spLocks noChangeArrowheads="1"/>
            </p:cNvSpPr>
            <p:nvPr/>
          </p:nvSpPr>
          <p:spPr bwMode="gray">
            <a:xfrm>
              <a:off x="2497" y="1326"/>
              <a:ext cx="9" cy="9"/>
            </a:xfrm>
            <a:prstGeom prst="rect">
              <a:avLst/>
            </a:pr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12" name="Freeform 393">
              <a:extLst>
                <a:ext uri="{FF2B5EF4-FFF2-40B4-BE49-F238E27FC236}">
                  <a16:creationId xmlns:a16="http://schemas.microsoft.com/office/drawing/2014/main" id="{AB311B5B-5AE1-448B-A3A3-784D774833A4}"/>
                </a:ext>
              </a:extLst>
            </p:cNvPr>
            <p:cNvSpPr>
              <a:spLocks/>
            </p:cNvSpPr>
            <p:nvPr/>
          </p:nvSpPr>
          <p:spPr bwMode="gray">
            <a:xfrm>
              <a:off x="2487" y="1335"/>
              <a:ext cx="10" cy="10"/>
            </a:xfrm>
            <a:custGeom>
              <a:avLst/>
              <a:gdLst>
                <a:gd name="T0" fmla="*/ 10 w 10"/>
                <a:gd name="T1" fmla="*/ 10 h 10"/>
                <a:gd name="T2" fmla="*/ 0 w 10"/>
                <a:gd name="T3" fmla="*/ 10 h 10"/>
                <a:gd name="T4" fmla="*/ 0 w 10"/>
                <a:gd name="T5" fmla="*/ 10 h 10"/>
                <a:gd name="T6" fmla="*/ 0 w 10"/>
                <a:gd name="T7" fmla="*/ 10 h 10"/>
                <a:gd name="T8" fmla="*/ 10 w 10"/>
                <a:gd name="T9" fmla="*/ 10 h 10"/>
                <a:gd name="T10" fmla="*/ 10 w 10"/>
                <a:gd name="T11" fmla="*/ 0 h 10"/>
                <a:gd name="T12" fmla="*/ 10 w 10"/>
                <a:gd name="T13" fmla="*/ 10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10" y="10"/>
                  </a:moveTo>
                  <a:lnTo>
                    <a:pt x="0" y="10"/>
                  </a:lnTo>
                  <a:lnTo>
                    <a:pt x="10" y="10"/>
                  </a:lnTo>
                  <a:lnTo>
                    <a:pt x="10" y="0"/>
                  </a:lnTo>
                  <a:lnTo>
                    <a:pt x="1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13" name="Freeform 394">
              <a:extLst>
                <a:ext uri="{FF2B5EF4-FFF2-40B4-BE49-F238E27FC236}">
                  <a16:creationId xmlns:a16="http://schemas.microsoft.com/office/drawing/2014/main" id="{153843A0-45B3-4C98-8348-EBE59DA42D43}"/>
                </a:ext>
              </a:extLst>
            </p:cNvPr>
            <p:cNvSpPr>
              <a:spLocks/>
            </p:cNvSpPr>
            <p:nvPr/>
          </p:nvSpPr>
          <p:spPr bwMode="gray">
            <a:xfrm>
              <a:off x="2487" y="1335"/>
              <a:ext cx="10" cy="10"/>
            </a:xfrm>
            <a:custGeom>
              <a:avLst/>
              <a:gdLst>
                <a:gd name="T0" fmla="*/ 10 w 10"/>
                <a:gd name="T1" fmla="*/ 10 h 10"/>
                <a:gd name="T2" fmla="*/ 0 w 10"/>
                <a:gd name="T3" fmla="*/ 10 h 10"/>
                <a:gd name="T4" fmla="*/ 0 w 10"/>
                <a:gd name="T5" fmla="*/ 10 h 10"/>
                <a:gd name="T6" fmla="*/ 0 w 10"/>
                <a:gd name="T7" fmla="*/ 10 h 10"/>
                <a:gd name="T8" fmla="*/ 10 w 10"/>
                <a:gd name="T9" fmla="*/ 10 h 10"/>
                <a:gd name="T10" fmla="*/ 10 w 10"/>
                <a:gd name="T11" fmla="*/ 0 h 10"/>
                <a:gd name="T12" fmla="*/ 10 w 10"/>
                <a:gd name="T13" fmla="*/ 10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10" y="10"/>
                  </a:moveTo>
                  <a:lnTo>
                    <a:pt x="0" y="10"/>
                  </a:lnTo>
                  <a:lnTo>
                    <a:pt x="10" y="10"/>
                  </a:lnTo>
                  <a:lnTo>
                    <a:pt x="10" y="0"/>
                  </a:lnTo>
                  <a:lnTo>
                    <a:pt x="1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14" name="Freeform 395">
              <a:extLst>
                <a:ext uri="{FF2B5EF4-FFF2-40B4-BE49-F238E27FC236}">
                  <a16:creationId xmlns:a16="http://schemas.microsoft.com/office/drawing/2014/main" id="{027BF79A-C475-41CB-8CC2-6AABF5FD6D4D}"/>
                </a:ext>
              </a:extLst>
            </p:cNvPr>
            <p:cNvSpPr>
              <a:spLocks/>
            </p:cNvSpPr>
            <p:nvPr/>
          </p:nvSpPr>
          <p:spPr bwMode="gray">
            <a:xfrm>
              <a:off x="2497" y="1364"/>
              <a:ext cx="9" cy="10"/>
            </a:xfrm>
            <a:custGeom>
              <a:avLst/>
              <a:gdLst>
                <a:gd name="T0" fmla="*/ 0 w 9"/>
                <a:gd name="T1" fmla="*/ 0 h 10"/>
                <a:gd name="T2" fmla="*/ 0 w 9"/>
                <a:gd name="T3" fmla="*/ 10 h 10"/>
                <a:gd name="T4" fmla="*/ 0 w 9"/>
                <a:gd name="T5" fmla="*/ 10 h 10"/>
                <a:gd name="T6" fmla="*/ 9 w 9"/>
                <a:gd name="T7" fmla="*/ 10 h 10"/>
                <a:gd name="T8" fmla="*/ 0 w 9"/>
                <a:gd name="T9" fmla="*/ 0 h 10"/>
                <a:gd name="T10" fmla="*/ 0 60000 65536"/>
                <a:gd name="T11" fmla="*/ 0 60000 65536"/>
                <a:gd name="T12" fmla="*/ 0 60000 65536"/>
                <a:gd name="T13" fmla="*/ 0 60000 65536"/>
                <a:gd name="T14" fmla="*/ 0 60000 65536"/>
                <a:gd name="T15" fmla="*/ 0 w 9"/>
                <a:gd name="T16" fmla="*/ 0 h 10"/>
                <a:gd name="T17" fmla="*/ 9 w 9"/>
                <a:gd name="T18" fmla="*/ 10 h 10"/>
              </a:gdLst>
              <a:ahLst/>
              <a:cxnLst>
                <a:cxn ang="T10">
                  <a:pos x="T0" y="T1"/>
                </a:cxn>
                <a:cxn ang="T11">
                  <a:pos x="T2" y="T3"/>
                </a:cxn>
                <a:cxn ang="T12">
                  <a:pos x="T4" y="T5"/>
                </a:cxn>
                <a:cxn ang="T13">
                  <a:pos x="T6" y="T7"/>
                </a:cxn>
                <a:cxn ang="T14">
                  <a:pos x="T8" y="T9"/>
                </a:cxn>
              </a:cxnLst>
              <a:rect l="T15" t="T16" r="T17" b="T18"/>
              <a:pathLst>
                <a:path w="9" h="10">
                  <a:moveTo>
                    <a:pt x="0" y="0"/>
                  </a:moveTo>
                  <a:lnTo>
                    <a:pt x="0" y="10"/>
                  </a:lnTo>
                  <a:lnTo>
                    <a:pt x="9"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15" name="Freeform 396">
              <a:extLst>
                <a:ext uri="{FF2B5EF4-FFF2-40B4-BE49-F238E27FC236}">
                  <a16:creationId xmlns:a16="http://schemas.microsoft.com/office/drawing/2014/main" id="{0BB148D8-0D64-467E-ABAE-E9A38C07207C}"/>
                </a:ext>
              </a:extLst>
            </p:cNvPr>
            <p:cNvSpPr>
              <a:spLocks/>
            </p:cNvSpPr>
            <p:nvPr/>
          </p:nvSpPr>
          <p:spPr bwMode="gray">
            <a:xfrm>
              <a:off x="2497" y="1364"/>
              <a:ext cx="9" cy="10"/>
            </a:xfrm>
            <a:custGeom>
              <a:avLst/>
              <a:gdLst>
                <a:gd name="T0" fmla="*/ 0 w 9"/>
                <a:gd name="T1" fmla="*/ 0 h 10"/>
                <a:gd name="T2" fmla="*/ 0 w 9"/>
                <a:gd name="T3" fmla="*/ 10 h 10"/>
                <a:gd name="T4" fmla="*/ 0 w 9"/>
                <a:gd name="T5" fmla="*/ 10 h 10"/>
                <a:gd name="T6" fmla="*/ 9 w 9"/>
                <a:gd name="T7" fmla="*/ 10 h 10"/>
                <a:gd name="T8" fmla="*/ 0 w 9"/>
                <a:gd name="T9" fmla="*/ 0 h 10"/>
                <a:gd name="T10" fmla="*/ 0 60000 65536"/>
                <a:gd name="T11" fmla="*/ 0 60000 65536"/>
                <a:gd name="T12" fmla="*/ 0 60000 65536"/>
                <a:gd name="T13" fmla="*/ 0 60000 65536"/>
                <a:gd name="T14" fmla="*/ 0 60000 65536"/>
                <a:gd name="T15" fmla="*/ 0 w 9"/>
                <a:gd name="T16" fmla="*/ 0 h 10"/>
                <a:gd name="T17" fmla="*/ 9 w 9"/>
                <a:gd name="T18" fmla="*/ 10 h 10"/>
              </a:gdLst>
              <a:ahLst/>
              <a:cxnLst>
                <a:cxn ang="T10">
                  <a:pos x="T0" y="T1"/>
                </a:cxn>
                <a:cxn ang="T11">
                  <a:pos x="T2" y="T3"/>
                </a:cxn>
                <a:cxn ang="T12">
                  <a:pos x="T4" y="T5"/>
                </a:cxn>
                <a:cxn ang="T13">
                  <a:pos x="T6" y="T7"/>
                </a:cxn>
                <a:cxn ang="T14">
                  <a:pos x="T8" y="T9"/>
                </a:cxn>
              </a:cxnLst>
              <a:rect l="T15" t="T16" r="T17" b="T18"/>
              <a:pathLst>
                <a:path w="9" h="10">
                  <a:moveTo>
                    <a:pt x="0" y="0"/>
                  </a:moveTo>
                  <a:lnTo>
                    <a:pt x="0" y="10"/>
                  </a:lnTo>
                  <a:lnTo>
                    <a:pt x="9"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16" name="Freeform 397">
              <a:extLst>
                <a:ext uri="{FF2B5EF4-FFF2-40B4-BE49-F238E27FC236}">
                  <a16:creationId xmlns:a16="http://schemas.microsoft.com/office/drawing/2014/main" id="{8915D6D6-52C9-4165-91A3-F7B9462EE95E}"/>
                </a:ext>
              </a:extLst>
            </p:cNvPr>
            <p:cNvSpPr>
              <a:spLocks/>
            </p:cNvSpPr>
            <p:nvPr/>
          </p:nvSpPr>
          <p:spPr bwMode="gray">
            <a:xfrm>
              <a:off x="2478" y="1402"/>
              <a:ext cx="9" cy="19"/>
            </a:xfrm>
            <a:custGeom>
              <a:avLst/>
              <a:gdLst>
                <a:gd name="T0" fmla="*/ 9 w 9"/>
                <a:gd name="T1" fmla="*/ 0 h 19"/>
                <a:gd name="T2" fmla="*/ 0 w 9"/>
                <a:gd name="T3" fmla="*/ 0 h 19"/>
                <a:gd name="T4" fmla="*/ 0 w 9"/>
                <a:gd name="T5" fmla="*/ 19 h 19"/>
                <a:gd name="T6" fmla="*/ 9 w 9"/>
                <a:gd name="T7" fmla="*/ 19 h 19"/>
                <a:gd name="T8" fmla="*/ 9 w 9"/>
                <a:gd name="T9" fmla="*/ 0 h 19"/>
                <a:gd name="T10" fmla="*/ 9 w 9"/>
                <a:gd name="T11" fmla="*/ 0 h 19"/>
                <a:gd name="T12" fmla="*/ 9 w 9"/>
                <a:gd name="T13" fmla="*/ 0 h 19"/>
                <a:gd name="T14" fmla="*/ 0 60000 65536"/>
                <a:gd name="T15" fmla="*/ 0 60000 65536"/>
                <a:gd name="T16" fmla="*/ 0 60000 65536"/>
                <a:gd name="T17" fmla="*/ 0 60000 65536"/>
                <a:gd name="T18" fmla="*/ 0 60000 65536"/>
                <a:gd name="T19" fmla="*/ 0 60000 65536"/>
                <a:gd name="T20" fmla="*/ 0 60000 65536"/>
                <a:gd name="T21" fmla="*/ 0 w 9"/>
                <a:gd name="T22" fmla="*/ 0 h 19"/>
                <a:gd name="T23" fmla="*/ 9 w 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9">
                  <a:moveTo>
                    <a:pt x="9" y="0"/>
                  </a:moveTo>
                  <a:lnTo>
                    <a:pt x="0" y="0"/>
                  </a:lnTo>
                  <a:lnTo>
                    <a:pt x="0" y="19"/>
                  </a:lnTo>
                  <a:lnTo>
                    <a:pt x="9" y="19"/>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17" name="Freeform 398">
              <a:extLst>
                <a:ext uri="{FF2B5EF4-FFF2-40B4-BE49-F238E27FC236}">
                  <a16:creationId xmlns:a16="http://schemas.microsoft.com/office/drawing/2014/main" id="{C6C4CACB-DB48-48FB-9436-79807BD48597}"/>
                </a:ext>
              </a:extLst>
            </p:cNvPr>
            <p:cNvSpPr>
              <a:spLocks/>
            </p:cNvSpPr>
            <p:nvPr/>
          </p:nvSpPr>
          <p:spPr bwMode="gray">
            <a:xfrm>
              <a:off x="2478" y="1402"/>
              <a:ext cx="9" cy="19"/>
            </a:xfrm>
            <a:custGeom>
              <a:avLst/>
              <a:gdLst>
                <a:gd name="T0" fmla="*/ 9 w 9"/>
                <a:gd name="T1" fmla="*/ 0 h 19"/>
                <a:gd name="T2" fmla="*/ 0 w 9"/>
                <a:gd name="T3" fmla="*/ 0 h 19"/>
                <a:gd name="T4" fmla="*/ 0 w 9"/>
                <a:gd name="T5" fmla="*/ 19 h 19"/>
                <a:gd name="T6" fmla="*/ 9 w 9"/>
                <a:gd name="T7" fmla="*/ 19 h 19"/>
                <a:gd name="T8" fmla="*/ 9 w 9"/>
                <a:gd name="T9" fmla="*/ 0 h 19"/>
                <a:gd name="T10" fmla="*/ 9 w 9"/>
                <a:gd name="T11" fmla="*/ 0 h 19"/>
                <a:gd name="T12" fmla="*/ 9 w 9"/>
                <a:gd name="T13" fmla="*/ 0 h 19"/>
                <a:gd name="T14" fmla="*/ 0 60000 65536"/>
                <a:gd name="T15" fmla="*/ 0 60000 65536"/>
                <a:gd name="T16" fmla="*/ 0 60000 65536"/>
                <a:gd name="T17" fmla="*/ 0 60000 65536"/>
                <a:gd name="T18" fmla="*/ 0 60000 65536"/>
                <a:gd name="T19" fmla="*/ 0 60000 65536"/>
                <a:gd name="T20" fmla="*/ 0 60000 65536"/>
                <a:gd name="T21" fmla="*/ 0 w 9"/>
                <a:gd name="T22" fmla="*/ 0 h 19"/>
                <a:gd name="T23" fmla="*/ 9 w 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9">
                  <a:moveTo>
                    <a:pt x="9" y="0"/>
                  </a:moveTo>
                  <a:lnTo>
                    <a:pt x="0" y="0"/>
                  </a:lnTo>
                  <a:lnTo>
                    <a:pt x="0" y="19"/>
                  </a:lnTo>
                  <a:lnTo>
                    <a:pt x="9" y="19"/>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18" name="Freeform 399">
              <a:extLst>
                <a:ext uri="{FF2B5EF4-FFF2-40B4-BE49-F238E27FC236}">
                  <a16:creationId xmlns:a16="http://schemas.microsoft.com/office/drawing/2014/main" id="{79D28FA2-C97F-4B97-910C-C21C71806271}"/>
                </a:ext>
              </a:extLst>
            </p:cNvPr>
            <p:cNvSpPr>
              <a:spLocks/>
            </p:cNvSpPr>
            <p:nvPr/>
          </p:nvSpPr>
          <p:spPr bwMode="gray">
            <a:xfrm>
              <a:off x="2487" y="1431"/>
              <a:ext cx="19" cy="9"/>
            </a:xfrm>
            <a:custGeom>
              <a:avLst/>
              <a:gdLst>
                <a:gd name="T0" fmla="*/ 10 w 19"/>
                <a:gd name="T1" fmla="*/ 0 h 9"/>
                <a:gd name="T2" fmla="*/ 0 w 19"/>
                <a:gd name="T3" fmla="*/ 0 h 9"/>
                <a:gd name="T4" fmla="*/ 0 w 19"/>
                <a:gd name="T5" fmla="*/ 9 h 9"/>
                <a:gd name="T6" fmla="*/ 0 w 19"/>
                <a:gd name="T7" fmla="*/ 9 h 9"/>
                <a:gd name="T8" fmla="*/ 10 w 19"/>
                <a:gd name="T9" fmla="*/ 9 h 9"/>
                <a:gd name="T10" fmla="*/ 19 w 19"/>
                <a:gd name="T11" fmla="*/ 9 h 9"/>
                <a:gd name="T12" fmla="*/ 19 w 19"/>
                <a:gd name="T13" fmla="*/ 9 h 9"/>
                <a:gd name="T14" fmla="*/ 10 w 19"/>
                <a:gd name="T15" fmla="*/ 9 h 9"/>
                <a:gd name="T16" fmla="*/ 10 w 19"/>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9"/>
                <a:gd name="T29" fmla="*/ 19 w 19"/>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9">
                  <a:moveTo>
                    <a:pt x="10" y="0"/>
                  </a:moveTo>
                  <a:lnTo>
                    <a:pt x="0" y="0"/>
                  </a:lnTo>
                  <a:lnTo>
                    <a:pt x="0" y="9"/>
                  </a:lnTo>
                  <a:lnTo>
                    <a:pt x="10" y="9"/>
                  </a:lnTo>
                  <a:lnTo>
                    <a:pt x="19" y="9"/>
                  </a:lnTo>
                  <a:lnTo>
                    <a:pt x="10" y="9"/>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19" name="Freeform 400">
              <a:extLst>
                <a:ext uri="{FF2B5EF4-FFF2-40B4-BE49-F238E27FC236}">
                  <a16:creationId xmlns:a16="http://schemas.microsoft.com/office/drawing/2014/main" id="{F4994EAD-4567-4B25-94CB-79A4A39CD12F}"/>
                </a:ext>
              </a:extLst>
            </p:cNvPr>
            <p:cNvSpPr>
              <a:spLocks/>
            </p:cNvSpPr>
            <p:nvPr/>
          </p:nvSpPr>
          <p:spPr bwMode="gray">
            <a:xfrm>
              <a:off x="2487" y="1431"/>
              <a:ext cx="19" cy="9"/>
            </a:xfrm>
            <a:custGeom>
              <a:avLst/>
              <a:gdLst>
                <a:gd name="T0" fmla="*/ 10 w 19"/>
                <a:gd name="T1" fmla="*/ 0 h 9"/>
                <a:gd name="T2" fmla="*/ 0 w 19"/>
                <a:gd name="T3" fmla="*/ 0 h 9"/>
                <a:gd name="T4" fmla="*/ 0 w 19"/>
                <a:gd name="T5" fmla="*/ 9 h 9"/>
                <a:gd name="T6" fmla="*/ 0 w 19"/>
                <a:gd name="T7" fmla="*/ 9 h 9"/>
                <a:gd name="T8" fmla="*/ 10 w 19"/>
                <a:gd name="T9" fmla="*/ 9 h 9"/>
                <a:gd name="T10" fmla="*/ 19 w 19"/>
                <a:gd name="T11" fmla="*/ 9 h 9"/>
                <a:gd name="T12" fmla="*/ 19 w 19"/>
                <a:gd name="T13" fmla="*/ 9 h 9"/>
                <a:gd name="T14" fmla="*/ 10 w 19"/>
                <a:gd name="T15" fmla="*/ 9 h 9"/>
                <a:gd name="T16" fmla="*/ 10 w 19"/>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9"/>
                <a:gd name="T29" fmla="*/ 19 w 19"/>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9">
                  <a:moveTo>
                    <a:pt x="10" y="0"/>
                  </a:moveTo>
                  <a:lnTo>
                    <a:pt x="0" y="0"/>
                  </a:lnTo>
                  <a:lnTo>
                    <a:pt x="0" y="9"/>
                  </a:lnTo>
                  <a:lnTo>
                    <a:pt x="10" y="9"/>
                  </a:lnTo>
                  <a:lnTo>
                    <a:pt x="19" y="9"/>
                  </a:lnTo>
                  <a:lnTo>
                    <a:pt x="10" y="9"/>
                  </a:lnTo>
                  <a:lnTo>
                    <a:pt x="1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20" name="Freeform 401">
              <a:extLst>
                <a:ext uri="{FF2B5EF4-FFF2-40B4-BE49-F238E27FC236}">
                  <a16:creationId xmlns:a16="http://schemas.microsoft.com/office/drawing/2014/main" id="{01BEDA24-A4F2-40AD-B6FC-873C06547725}"/>
                </a:ext>
              </a:extLst>
            </p:cNvPr>
            <p:cNvSpPr>
              <a:spLocks/>
            </p:cNvSpPr>
            <p:nvPr/>
          </p:nvSpPr>
          <p:spPr bwMode="gray">
            <a:xfrm>
              <a:off x="1524" y="2547"/>
              <a:ext cx="143" cy="48"/>
            </a:xfrm>
            <a:custGeom>
              <a:avLst/>
              <a:gdLst>
                <a:gd name="T0" fmla="*/ 0 w 143"/>
                <a:gd name="T1" fmla="*/ 10 h 48"/>
                <a:gd name="T2" fmla="*/ 19 w 143"/>
                <a:gd name="T3" fmla="*/ 0 h 48"/>
                <a:gd name="T4" fmla="*/ 29 w 143"/>
                <a:gd name="T5" fmla="*/ 0 h 48"/>
                <a:gd name="T6" fmla="*/ 39 w 143"/>
                <a:gd name="T7" fmla="*/ 0 h 48"/>
                <a:gd name="T8" fmla="*/ 58 w 143"/>
                <a:gd name="T9" fmla="*/ 0 h 48"/>
                <a:gd name="T10" fmla="*/ 67 w 143"/>
                <a:gd name="T11" fmla="*/ 10 h 48"/>
                <a:gd name="T12" fmla="*/ 67 w 143"/>
                <a:gd name="T13" fmla="*/ 10 h 48"/>
                <a:gd name="T14" fmla="*/ 77 w 143"/>
                <a:gd name="T15" fmla="*/ 10 h 48"/>
                <a:gd name="T16" fmla="*/ 105 w 143"/>
                <a:gd name="T17" fmla="*/ 29 h 48"/>
                <a:gd name="T18" fmla="*/ 105 w 143"/>
                <a:gd name="T19" fmla="*/ 29 h 48"/>
                <a:gd name="T20" fmla="*/ 115 w 143"/>
                <a:gd name="T21" fmla="*/ 29 h 48"/>
                <a:gd name="T22" fmla="*/ 124 w 143"/>
                <a:gd name="T23" fmla="*/ 39 h 48"/>
                <a:gd name="T24" fmla="*/ 134 w 143"/>
                <a:gd name="T25" fmla="*/ 39 h 48"/>
                <a:gd name="T26" fmla="*/ 143 w 143"/>
                <a:gd name="T27" fmla="*/ 48 h 48"/>
                <a:gd name="T28" fmla="*/ 115 w 143"/>
                <a:gd name="T29" fmla="*/ 48 h 48"/>
                <a:gd name="T30" fmla="*/ 115 w 143"/>
                <a:gd name="T31" fmla="*/ 48 h 48"/>
                <a:gd name="T32" fmla="*/ 96 w 143"/>
                <a:gd name="T33" fmla="*/ 48 h 48"/>
                <a:gd name="T34" fmla="*/ 86 w 143"/>
                <a:gd name="T35" fmla="*/ 48 h 48"/>
                <a:gd name="T36" fmla="*/ 96 w 143"/>
                <a:gd name="T37" fmla="*/ 48 h 48"/>
                <a:gd name="T38" fmla="*/ 96 w 143"/>
                <a:gd name="T39" fmla="*/ 39 h 48"/>
                <a:gd name="T40" fmla="*/ 96 w 143"/>
                <a:gd name="T41" fmla="*/ 39 h 48"/>
                <a:gd name="T42" fmla="*/ 86 w 143"/>
                <a:gd name="T43" fmla="*/ 39 h 48"/>
                <a:gd name="T44" fmla="*/ 77 w 143"/>
                <a:gd name="T45" fmla="*/ 29 h 48"/>
                <a:gd name="T46" fmla="*/ 58 w 143"/>
                <a:gd name="T47" fmla="*/ 20 h 48"/>
                <a:gd name="T48" fmla="*/ 58 w 143"/>
                <a:gd name="T49" fmla="*/ 20 h 48"/>
                <a:gd name="T50" fmla="*/ 48 w 143"/>
                <a:gd name="T51" fmla="*/ 20 h 48"/>
                <a:gd name="T52" fmla="*/ 29 w 143"/>
                <a:gd name="T53" fmla="*/ 10 h 48"/>
                <a:gd name="T54" fmla="*/ 29 w 143"/>
                <a:gd name="T55" fmla="*/ 10 h 48"/>
                <a:gd name="T56" fmla="*/ 19 w 143"/>
                <a:gd name="T57" fmla="*/ 10 h 48"/>
                <a:gd name="T58" fmla="*/ 10 w 143"/>
                <a:gd name="T59" fmla="*/ 20 h 48"/>
                <a:gd name="T60" fmla="*/ 0 w 143"/>
                <a:gd name="T61" fmla="*/ 10 h 48"/>
                <a:gd name="T62" fmla="*/ 0 w 143"/>
                <a:gd name="T63" fmla="*/ 10 h 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3"/>
                <a:gd name="T97" fmla="*/ 0 h 48"/>
                <a:gd name="T98" fmla="*/ 143 w 143"/>
                <a:gd name="T99" fmla="*/ 48 h 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3" h="48">
                  <a:moveTo>
                    <a:pt x="0" y="10"/>
                  </a:moveTo>
                  <a:lnTo>
                    <a:pt x="19" y="0"/>
                  </a:lnTo>
                  <a:lnTo>
                    <a:pt x="29" y="0"/>
                  </a:lnTo>
                  <a:lnTo>
                    <a:pt x="39" y="0"/>
                  </a:lnTo>
                  <a:lnTo>
                    <a:pt x="58" y="0"/>
                  </a:lnTo>
                  <a:lnTo>
                    <a:pt x="67" y="10"/>
                  </a:lnTo>
                  <a:lnTo>
                    <a:pt x="77" y="10"/>
                  </a:lnTo>
                  <a:lnTo>
                    <a:pt x="105" y="29"/>
                  </a:lnTo>
                  <a:lnTo>
                    <a:pt x="115" y="29"/>
                  </a:lnTo>
                  <a:lnTo>
                    <a:pt x="124" y="39"/>
                  </a:lnTo>
                  <a:lnTo>
                    <a:pt x="134" y="39"/>
                  </a:lnTo>
                  <a:lnTo>
                    <a:pt x="143" y="48"/>
                  </a:lnTo>
                  <a:lnTo>
                    <a:pt x="115" y="48"/>
                  </a:lnTo>
                  <a:lnTo>
                    <a:pt x="96" y="48"/>
                  </a:lnTo>
                  <a:lnTo>
                    <a:pt x="86" y="48"/>
                  </a:lnTo>
                  <a:lnTo>
                    <a:pt x="96" y="48"/>
                  </a:lnTo>
                  <a:lnTo>
                    <a:pt x="96" y="39"/>
                  </a:lnTo>
                  <a:lnTo>
                    <a:pt x="86" y="39"/>
                  </a:lnTo>
                  <a:lnTo>
                    <a:pt x="77" y="29"/>
                  </a:lnTo>
                  <a:lnTo>
                    <a:pt x="58" y="20"/>
                  </a:lnTo>
                  <a:lnTo>
                    <a:pt x="48" y="20"/>
                  </a:lnTo>
                  <a:lnTo>
                    <a:pt x="29" y="10"/>
                  </a:lnTo>
                  <a:lnTo>
                    <a:pt x="19" y="10"/>
                  </a:lnTo>
                  <a:lnTo>
                    <a:pt x="10" y="2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21" name="Freeform 402">
              <a:extLst>
                <a:ext uri="{FF2B5EF4-FFF2-40B4-BE49-F238E27FC236}">
                  <a16:creationId xmlns:a16="http://schemas.microsoft.com/office/drawing/2014/main" id="{E813C9F5-E6D5-4BB6-BC63-71D5CA152AB4}"/>
                </a:ext>
              </a:extLst>
            </p:cNvPr>
            <p:cNvSpPr>
              <a:spLocks/>
            </p:cNvSpPr>
            <p:nvPr/>
          </p:nvSpPr>
          <p:spPr bwMode="gray">
            <a:xfrm>
              <a:off x="1524" y="2547"/>
              <a:ext cx="143" cy="48"/>
            </a:xfrm>
            <a:custGeom>
              <a:avLst/>
              <a:gdLst>
                <a:gd name="T0" fmla="*/ 0 w 143"/>
                <a:gd name="T1" fmla="*/ 10 h 48"/>
                <a:gd name="T2" fmla="*/ 19 w 143"/>
                <a:gd name="T3" fmla="*/ 0 h 48"/>
                <a:gd name="T4" fmla="*/ 29 w 143"/>
                <a:gd name="T5" fmla="*/ 0 h 48"/>
                <a:gd name="T6" fmla="*/ 39 w 143"/>
                <a:gd name="T7" fmla="*/ 0 h 48"/>
                <a:gd name="T8" fmla="*/ 58 w 143"/>
                <a:gd name="T9" fmla="*/ 0 h 48"/>
                <a:gd name="T10" fmla="*/ 67 w 143"/>
                <a:gd name="T11" fmla="*/ 10 h 48"/>
                <a:gd name="T12" fmla="*/ 67 w 143"/>
                <a:gd name="T13" fmla="*/ 10 h 48"/>
                <a:gd name="T14" fmla="*/ 77 w 143"/>
                <a:gd name="T15" fmla="*/ 10 h 48"/>
                <a:gd name="T16" fmla="*/ 105 w 143"/>
                <a:gd name="T17" fmla="*/ 29 h 48"/>
                <a:gd name="T18" fmla="*/ 105 w 143"/>
                <a:gd name="T19" fmla="*/ 29 h 48"/>
                <a:gd name="T20" fmla="*/ 115 w 143"/>
                <a:gd name="T21" fmla="*/ 29 h 48"/>
                <a:gd name="T22" fmla="*/ 124 w 143"/>
                <a:gd name="T23" fmla="*/ 39 h 48"/>
                <a:gd name="T24" fmla="*/ 134 w 143"/>
                <a:gd name="T25" fmla="*/ 39 h 48"/>
                <a:gd name="T26" fmla="*/ 143 w 143"/>
                <a:gd name="T27" fmla="*/ 48 h 48"/>
                <a:gd name="T28" fmla="*/ 115 w 143"/>
                <a:gd name="T29" fmla="*/ 48 h 48"/>
                <a:gd name="T30" fmla="*/ 115 w 143"/>
                <a:gd name="T31" fmla="*/ 48 h 48"/>
                <a:gd name="T32" fmla="*/ 96 w 143"/>
                <a:gd name="T33" fmla="*/ 48 h 48"/>
                <a:gd name="T34" fmla="*/ 86 w 143"/>
                <a:gd name="T35" fmla="*/ 48 h 48"/>
                <a:gd name="T36" fmla="*/ 96 w 143"/>
                <a:gd name="T37" fmla="*/ 48 h 48"/>
                <a:gd name="T38" fmla="*/ 96 w 143"/>
                <a:gd name="T39" fmla="*/ 39 h 48"/>
                <a:gd name="T40" fmla="*/ 96 w 143"/>
                <a:gd name="T41" fmla="*/ 39 h 48"/>
                <a:gd name="T42" fmla="*/ 86 w 143"/>
                <a:gd name="T43" fmla="*/ 39 h 48"/>
                <a:gd name="T44" fmla="*/ 77 w 143"/>
                <a:gd name="T45" fmla="*/ 29 h 48"/>
                <a:gd name="T46" fmla="*/ 58 w 143"/>
                <a:gd name="T47" fmla="*/ 20 h 48"/>
                <a:gd name="T48" fmla="*/ 58 w 143"/>
                <a:gd name="T49" fmla="*/ 20 h 48"/>
                <a:gd name="T50" fmla="*/ 48 w 143"/>
                <a:gd name="T51" fmla="*/ 20 h 48"/>
                <a:gd name="T52" fmla="*/ 29 w 143"/>
                <a:gd name="T53" fmla="*/ 10 h 48"/>
                <a:gd name="T54" fmla="*/ 29 w 143"/>
                <a:gd name="T55" fmla="*/ 10 h 48"/>
                <a:gd name="T56" fmla="*/ 19 w 143"/>
                <a:gd name="T57" fmla="*/ 10 h 48"/>
                <a:gd name="T58" fmla="*/ 10 w 143"/>
                <a:gd name="T59" fmla="*/ 20 h 48"/>
                <a:gd name="T60" fmla="*/ 0 w 143"/>
                <a:gd name="T61" fmla="*/ 10 h 48"/>
                <a:gd name="T62" fmla="*/ 0 w 143"/>
                <a:gd name="T63" fmla="*/ 10 h 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3"/>
                <a:gd name="T97" fmla="*/ 0 h 48"/>
                <a:gd name="T98" fmla="*/ 143 w 143"/>
                <a:gd name="T99" fmla="*/ 48 h 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3" h="48">
                  <a:moveTo>
                    <a:pt x="0" y="10"/>
                  </a:moveTo>
                  <a:lnTo>
                    <a:pt x="19" y="0"/>
                  </a:lnTo>
                  <a:lnTo>
                    <a:pt x="29" y="0"/>
                  </a:lnTo>
                  <a:lnTo>
                    <a:pt x="39" y="0"/>
                  </a:lnTo>
                  <a:lnTo>
                    <a:pt x="58" y="0"/>
                  </a:lnTo>
                  <a:lnTo>
                    <a:pt x="67" y="10"/>
                  </a:lnTo>
                  <a:lnTo>
                    <a:pt x="77" y="10"/>
                  </a:lnTo>
                  <a:lnTo>
                    <a:pt x="105" y="29"/>
                  </a:lnTo>
                  <a:lnTo>
                    <a:pt x="115" y="29"/>
                  </a:lnTo>
                  <a:lnTo>
                    <a:pt x="124" y="39"/>
                  </a:lnTo>
                  <a:lnTo>
                    <a:pt x="134" y="39"/>
                  </a:lnTo>
                  <a:lnTo>
                    <a:pt x="143" y="48"/>
                  </a:lnTo>
                  <a:lnTo>
                    <a:pt x="115" y="48"/>
                  </a:lnTo>
                  <a:lnTo>
                    <a:pt x="96" y="48"/>
                  </a:lnTo>
                  <a:lnTo>
                    <a:pt x="86" y="48"/>
                  </a:lnTo>
                  <a:lnTo>
                    <a:pt x="96" y="48"/>
                  </a:lnTo>
                  <a:lnTo>
                    <a:pt x="96" y="39"/>
                  </a:lnTo>
                  <a:lnTo>
                    <a:pt x="86" y="39"/>
                  </a:lnTo>
                  <a:lnTo>
                    <a:pt x="77" y="29"/>
                  </a:lnTo>
                  <a:lnTo>
                    <a:pt x="58" y="20"/>
                  </a:lnTo>
                  <a:lnTo>
                    <a:pt x="48" y="20"/>
                  </a:lnTo>
                  <a:lnTo>
                    <a:pt x="29" y="10"/>
                  </a:lnTo>
                  <a:lnTo>
                    <a:pt x="19" y="10"/>
                  </a:lnTo>
                  <a:lnTo>
                    <a:pt x="10" y="2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22" name="Freeform 403">
              <a:extLst>
                <a:ext uri="{FF2B5EF4-FFF2-40B4-BE49-F238E27FC236}">
                  <a16:creationId xmlns:a16="http://schemas.microsoft.com/office/drawing/2014/main" id="{5402DD4E-7CCA-40AD-87C9-6402625E2D8C}"/>
                </a:ext>
              </a:extLst>
            </p:cNvPr>
            <p:cNvSpPr>
              <a:spLocks/>
            </p:cNvSpPr>
            <p:nvPr/>
          </p:nvSpPr>
          <p:spPr bwMode="gray">
            <a:xfrm>
              <a:off x="1610" y="2614"/>
              <a:ext cx="29" cy="10"/>
            </a:xfrm>
            <a:custGeom>
              <a:avLst/>
              <a:gdLst>
                <a:gd name="T0" fmla="*/ 0 w 29"/>
                <a:gd name="T1" fmla="*/ 10 h 10"/>
                <a:gd name="T2" fmla="*/ 10 w 29"/>
                <a:gd name="T3" fmla="*/ 0 h 10"/>
                <a:gd name="T4" fmla="*/ 29 w 29"/>
                <a:gd name="T5" fmla="*/ 10 h 10"/>
                <a:gd name="T6" fmla="*/ 29 w 29"/>
                <a:gd name="T7" fmla="*/ 10 h 10"/>
                <a:gd name="T8" fmla="*/ 10 w 29"/>
                <a:gd name="T9" fmla="*/ 10 h 10"/>
                <a:gd name="T10" fmla="*/ 0 w 29"/>
                <a:gd name="T11" fmla="*/ 10 h 10"/>
                <a:gd name="T12" fmla="*/ 0 w 29"/>
                <a:gd name="T13" fmla="*/ 10 h 10"/>
                <a:gd name="T14" fmla="*/ 0 60000 65536"/>
                <a:gd name="T15" fmla="*/ 0 60000 65536"/>
                <a:gd name="T16" fmla="*/ 0 60000 65536"/>
                <a:gd name="T17" fmla="*/ 0 60000 65536"/>
                <a:gd name="T18" fmla="*/ 0 60000 65536"/>
                <a:gd name="T19" fmla="*/ 0 60000 65536"/>
                <a:gd name="T20" fmla="*/ 0 60000 65536"/>
                <a:gd name="T21" fmla="*/ 0 w 29"/>
                <a:gd name="T22" fmla="*/ 0 h 10"/>
                <a:gd name="T23" fmla="*/ 29 w 2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10">
                  <a:moveTo>
                    <a:pt x="0" y="10"/>
                  </a:moveTo>
                  <a:lnTo>
                    <a:pt x="10" y="0"/>
                  </a:lnTo>
                  <a:lnTo>
                    <a:pt x="29" y="10"/>
                  </a:lnTo>
                  <a:lnTo>
                    <a:pt x="10" y="1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23" name="Freeform 404">
              <a:extLst>
                <a:ext uri="{FF2B5EF4-FFF2-40B4-BE49-F238E27FC236}">
                  <a16:creationId xmlns:a16="http://schemas.microsoft.com/office/drawing/2014/main" id="{5EAF3093-EEB2-4A9C-91E0-C839C89E13AD}"/>
                </a:ext>
              </a:extLst>
            </p:cNvPr>
            <p:cNvSpPr>
              <a:spLocks/>
            </p:cNvSpPr>
            <p:nvPr/>
          </p:nvSpPr>
          <p:spPr bwMode="gray">
            <a:xfrm>
              <a:off x="1648" y="2547"/>
              <a:ext cx="10" cy="10"/>
            </a:xfrm>
            <a:custGeom>
              <a:avLst/>
              <a:gdLst>
                <a:gd name="T0" fmla="*/ 0 w 10"/>
                <a:gd name="T1" fmla="*/ 0 h 10"/>
                <a:gd name="T2" fmla="*/ 10 w 10"/>
                <a:gd name="T3" fmla="*/ 10 h 10"/>
                <a:gd name="T4" fmla="*/ 10 w 10"/>
                <a:gd name="T5" fmla="*/ 10 h 10"/>
                <a:gd name="T6" fmla="*/ 10 w 10"/>
                <a:gd name="T7" fmla="*/ 0 h 10"/>
                <a:gd name="T8" fmla="*/ 0 w 10"/>
                <a:gd name="T9" fmla="*/ 0 h 10"/>
                <a:gd name="T10" fmla="*/ 0 w 10"/>
                <a:gd name="T11" fmla="*/ 0 h 10"/>
                <a:gd name="T12" fmla="*/ 0 60000 65536"/>
                <a:gd name="T13" fmla="*/ 0 60000 65536"/>
                <a:gd name="T14" fmla="*/ 0 60000 65536"/>
                <a:gd name="T15" fmla="*/ 0 60000 65536"/>
                <a:gd name="T16" fmla="*/ 0 60000 65536"/>
                <a:gd name="T17" fmla="*/ 0 60000 65536"/>
                <a:gd name="T18" fmla="*/ 0 w 10"/>
                <a:gd name="T19" fmla="*/ 0 h 10"/>
                <a:gd name="T20" fmla="*/ 10 w 10"/>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0" h="10">
                  <a:moveTo>
                    <a:pt x="0" y="0"/>
                  </a:moveTo>
                  <a:lnTo>
                    <a:pt x="10" y="10"/>
                  </a:lnTo>
                  <a:lnTo>
                    <a:pt x="10"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24" name="Freeform 405">
              <a:extLst>
                <a:ext uri="{FF2B5EF4-FFF2-40B4-BE49-F238E27FC236}">
                  <a16:creationId xmlns:a16="http://schemas.microsoft.com/office/drawing/2014/main" id="{07268002-6E4A-45C4-B985-2B86DFF5A4AD}"/>
                </a:ext>
              </a:extLst>
            </p:cNvPr>
            <p:cNvSpPr>
              <a:spLocks/>
            </p:cNvSpPr>
            <p:nvPr/>
          </p:nvSpPr>
          <p:spPr bwMode="gray">
            <a:xfrm>
              <a:off x="1648" y="2547"/>
              <a:ext cx="10" cy="10"/>
            </a:xfrm>
            <a:custGeom>
              <a:avLst/>
              <a:gdLst>
                <a:gd name="T0" fmla="*/ 0 w 10"/>
                <a:gd name="T1" fmla="*/ 0 h 10"/>
                <a:gd name="T2" fmla="*/ 10 w 10"/>
                <a:gd name="T3" fmla="*/ 10 h 10"/>
                <a:gd name="T4" fmla="*/ 10 w 10"/>
                <a:gd name="T5" fmla="*/ 10 h 10"/>
                <a:gd name="T6" fmla="*/ 10 w 10"/>
                <a:gd name="T7" fmla="*/ 0 h 10"/>
                <a:gd name="T8" fmla="*/ 0 w 10"/>
                <a:gd name="T9" fmla="*/ 0 h 10"/>
                <a:gd name="T10" fmla="*/ 0 w 10"/>
                <a:gd name="T11" fmla="*/ 0 h 10"/>
                <a:gd name="T12" fmla="*/ 0 60000 65536"/>
                <a:gd name="T13" fmla="*/ 0 60000 65536"/>
                <a:gd name="T14" fmla="*/ 0 60000 65536"/>
                <a:gd name="T15" fmla="*/ 0 60000 65536"/>
                <a:gd name="T16" fmla="*/ 0 60000 65536"/>
                <a:gd name="T17" fmla="*/ 0 60000 65536"/>
                <a:gd name="T18" fmla="*/ 0 w 10"/>
                <a:gd name="T19" fmla="*/ 0 h 10"/>
                <a:gd name="T20" fmla="*/ 10 w 10"/>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0" h="10">
                  <a:moveTo>
                    <a:pt x="0" y="0"/>
                  </a:moveTo>
                  <a:lnTo>
                    <a:pt x="10" y="10"/>
                  </a:lnTo>
                  <a:lnTo>
                    <a:pt x="10"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25" name="Freeform 406">
              <a:extLst>
                <a:ext uri="{FF2B5EF4-FFF2-40B4-BE49-F238E27FC236}">
                  <a16:creationId xmlns:a16="http://schemas.microsoft.com/office/drawing/2014/main" id="{CFF8373A-E967-4BB1-8B58-B100A71AC6E1}"/>
                </a:ext>
              </a:extLst>
            </p:cNvPr>
            <p:cNvSpPr>
              <a:spLocks/>
            </p:cNvSpPr>
            <p:nvPr/>
          </p:nvSpPr>
          <p:spPr bwMode="gray">
            <a:xfrm>
              <a:off x="1667" y="2557"/>
              <a:ext cx="1" cy="10"/>
            </a:xfrm>
            <a:custGeom>
              <a:avLst/>
              <a:gdLst>
                <a:gd name="T0" fmla="*/ 0 w 1"/>
                <a:gd name="T1" fmla="*/ 0 h 10"/>
                <a:gd name="T2" fmla="*/ 0 w 1"/>
                <a:gd name="T3" fmla="*/ 0 h 10"/>
                <a:gd name="T4" fmla="*/ 0 w 1"/>
                <a:gd name="T5" fmla="*/ 10 h 10"/>
                <a:gd name="T6" fmla="*/ 0 w 1"/>
                <a:gd name="T7" fmla="*/ 10 h 10"/>
                <a:gd name="T8" fmla="*/ 0 w 1"/>
                <a:gd name="T9" fmla="*/ 10 h 10"/>
                <a:gd name="T10" fmla="*/ 0 w 1"/>
                <a:gd name="T11" fmla="*/ 10 h 10"/>
                <a:gd name="T12" fmla="*/ 0 w 1"/>
                <a:gd name="T13" fmla="*/ 0 h 10"/>
                <a:gd name="T14" fmla="*/ 0 w 1"/>
                <a:gd name="T15" fmla="*/ 0 h 10"/>
                <a:gd name="T16" fmla="*/ 0 w 1"/>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10"/>
                <a:gd name="T29" fmla="*/ 1 w 1"/>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10">
                  <a:moveTo>
                    <a:pt x="0" y="0"/>
                  </a:moveTo>
                  <a:lnTo>
                    <a:pt x="0" y="0"/>
                  </a:lnTo>
                  <a:lnTo>
                    <a:pt x="0"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26" name="Freeform 407">
              <a:extLst>
                <a:ext uri="{FF2B5EF4-FFF2-40B4-BE49-F238E27FC236}">
                  <a16:creationId xmlns:a16="http://schemas.microsoft.com/office/drawing/2014/main" id="{41A2DBF0-A67C-4FB9-A2ED-5F09B544017D}"/>
                </a:ext>
              </a:extLst>
            </p:cNvPr>
            <p:cNvSpPr>
              <a:spLocks/>
            </p:cNvSpPr>
            <p:nvPr/>
          </p:nvSpPr>
          <p:spPr bwMode="gray">
            <a:xfrm>
              <a:off x="1667" y="2557"/>
              <a:ext cx="1" cy="10"/>
            </a:xfrm>
            <a:custGeom>
              <a:avLst/>
              <a:gdLst>
                <a:gd name="T0" fmla="*/ 0 w 1"/>
                <a:gd name="T1" fmla="*/ 0 h 10"/>
                <a:gd name="T2" fmla="*/ 0 w 1"/>
                <a:gd name="T3" fmla="*/ 0 h 10"/>
                <a:gd name="T4" fmla="*/ 0 w 1"/>
                <a:gd name="T5" fmla="*/ 10 h 10"/>
                <a:gd name="T6" fmla="*/ 0 w 1"/>
                <a:gd name="T7" fmla="*/ 10 h 10"/>
                <a:gd name="T8" fmla="*/ 0 w 1"/>
                <a:gd name="T9" fmla="*/ 10 h 10"/>
                <a:gd name="T10" fmla="*/ 0 w 1"/>
                <a:gd name="T11" fmla="*/ 10 h 10"/>
                <a:gd name="T12" fmla="*/ 0 w 1"/>
                <a:gd name="T13" fmla="*/ 0 h 10"/>
                <a:gd name="T14" fmla="*/ 0 w 1"/>
                <a:gd name="T15" fmla="*/ 0 h 10"/>
                <a:gd name="T16" fmla="*/ 0 w 1"/>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10"/>
                <a:gd name="T29" fmla="*/ 1 w 1"/>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10">
                  <a:moveTo>
                    <a:pt x="0" y="0"/>
                  </a:moveTo>
                  <a:lnTo>
                    <a:pt x="0" y="0"/>
                  </a:lnTo>
                  <a:lnTo>
                    <a:pt x="0"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27" name="Freeform 408">
              <a:extLst>
                <a:ext uri="{FF2B5EF4-FFF2-40B4-BE49-F238E27FC236}">
                  <a16:creationId xmlns:a16="http://schemas.microsoft.com/office/drawing/2014/main" id="{78AFB1B7-962D-44FC-9A9A-D11299161307}"/>
                </a:ext>
              </a:extLst>
            </p:cNvPr>
            <p:cNvSpPr>
              <a:spLocks/>
            </p:cNvSpPr>
            <p:nvPr/>
          </p:nvSpPr>
          <p:spPr bwMode="gray">
            <a:xfrm>
              <a:off x="1667" y="2595"/>
              <a:ext cx="39" cy="29"/>
            </a:xfrm>
            <a:custGeom>
              <a:avLst/>
              <a:gdLst>
                <a:gd name="T0" fmla="*/ 39 w 39"/>
                <a:gd name="T1" fmla="*/ 19 h 29"/>
                <a:gd name="T2" fmla="*/ 39 w 39"/>
                <a:gd name="T3" fmla="*/ 0 h 29"/>
                <a:gd name="T4" fmla="*/ 19 w 39"/>
                <a:gd name="T5" fmla="*/ 0 h 29"/>
                <a:gd name="T6" fmla="*/ 19 w 39"/>
                <a:gd name="T7" fmla="*/ 0 h 29"/>
                <a:gd name="T8" fmla="*/ 10 w 39"/>
                <a:gd name="T9" fmla="*/ 0 h 29"/>
                <a:gd name="T10" fmla="*/ 10 w 39"/>
                <a:gd name="T11" fmla="*/ 10 h 29"/>
                <a:gd name="T12" fmla="*/ 19 w 39"/>
                <a:gd name="T13" fmla="*/ 10 h 29"/>
                <a:gd name="T14" fmla="*/ 19 w 39"/>
                <a:gd name="T15" fmla="*/ 10 h 29"/>
                <a:gd name="T16" fmla="*/ 19 w 39"/>
                <a:gd name="T17" fmla="*/ 19 h 29"/>
                <a:gd name="T18" fmla="*/ 19 w 39"/>
                <a:gd name="T19" fmla="*/ 19 h 29"/>
                <a:gd name="T20" fmla="*/ 10 w 39"/>
                <a:gd name="T21" fmla="*/ 19 h 29"/>
                <a:gd name="T22" fmla="*/ 0 w 39"/>
                <a:gd name="T23" fmla="*/ 19 h 29"/>
                <a:gd name="T24" fmla="*/ 0 w 39"/>
                <a:gd name="T25" fmla="*/ 19 h 29"/>
                <a:gd name="T26" fmla="*/ 10 w 39"/>
                <a:gd name="T27" fmla="*/ 29 h 29"/>
                <a:gd name="T28" fmla="*/ 19 w 39"/>
                <a:gd name="T29" fmla="*/ 29 h 29"/>
                <a:gd name="T30" fmla="*/ 29 w 39"/>
                <a:gd name="T31" fmla="*/ 29 h 29"/>
                <a:gd name="T32" fmla="*/ 39 w 39"/>
                <a:gd name="T33" fmla="*/ 19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
                <a:gd name="T52" fmla="*/ 0 h 29"/>
                <a:gd name="T53" fmla="*/ 39 w 39"/>
                <a:gd name="T54" fmla="*/ 29 h 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 h="29">
                  <a:moveTo>
                    <a:pt x="39" y="19"/>
                  </a:moveTo>
                  <a:lnTo>
                    <a:pt x="39" y="0"/>
                  </a:lnTo>
                  <a:lnTo>
                    <a:pt x="19" y="0"/>
                  </a:lnTo>
                  <a:lnTo>
                    <a:pt x="10" y="0"/>
                  </a:lnTo>
                  <a:lnTo>
                    <a:pt x="10" y="10"/>
                  </a:lnTo>
                  <a:lnTo>
                    <a:pt x="19" y="10"/>
                  </a:lnTo>
                  <a:lnTo>
                    <a:pt x="19" y="19"/>
                  </a:lnTo>
                  <a:lnTo>
                    <a:pt x="10" y="19"/>
                  </a:lnTo>
                  <a:lnTo>
                    <a:pt x="0" y="19"/>
                  </a:lnTo>
                  <a:lnTo>
                    <a:pt x="10" y="29"/>
                  </a:lnTo>
                  <a:lnTo>
                    <a:pt x="19" y="29"/>
                  </a:lnTo>
                  <a:lnTo>
                    <a:pt x="29" y="29"/>
                  </a:lnTo>
                  <a:lnTo>
                    <a:pt x="39"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28" name="Freeform 409">
              <a:extLst>
                <a:ext uri="{FF2B5EF4-FFF2-40B4-BE49-F238E27FC236}">
                  <a16:creationId xmlns:a16="http://schemas.microsoft.com/office/drawing/2014/main" id="{09334206-2452-49F3-B6CE-10F89869D524}"/>
                </a:ext>
              </a:extLst>
            </p:cNvPr>
            <p:cNvSpPr>
              <a:spLocks/>
            </p:cNvSpPr>
            <p:nvPr/>
          </p:nvSpPr>
          <p:spPr bwMode="gray">
            <a:xfrm>
              <a:off x="1696" y="2595"/>
              <a:ext cx="57" cy="29"/>
            </a:xfrm>
            <a:custGeom>
              <a:avLst/>
              <a:gdLst>
                <a:gd name="T0" fmla="*/ 10 w 57"/>
                <a:gd name="T1" fmla="*/ 19 h 29"/>
                <a:gd name="T2" fmla="*/ 0 w 57"/>
                <a:gd name="T3" fmla="*/ 29 h 29"/>
                <a:gd name="T4" fmla="*/ 0 w 57"/>
                <a:gd name="T5" fmla="*/ 29 h 29"/>
                <a:gd name="T6" fmla="*/ 10 w 57"/>
                <a:gd name="T7" fmla="*/ 29 h 29"/>
                <a:gd name="T8" fmla="*/ 19 w 57"/>
                <a:gd name="T9" fmla="*/ 29 h 29"/>
                <a:gd name="T10" fmla="*/ 19 w 57"/>
                <a:gd name="T11" fmla="*/ 19 h 29"/>
                <a:gd name="T12" fmla="*/ 29 w 57"/>
                <a:gd name="T13" fmla="*/ 19 h 29"/>
                <a:gd name="T14" fmla="*/ 38 w 57"/>
                <a:gd name="T15" fmla="*/ 19 h 29"/>
                <a:gd name="T16" fmla="*/ 48 w 57"/>
                <a:gd name="T17" fmla="*/ 29 h 29"/>
                <a:gd name="T18" fmla="*/ 57 w 57"/>
                <a:gd name="T19" fmla="*/ 19 h 29"/>
                <a:gd name="T20" fmla="*/ 48 w 57"/>
                <a:gd name="T21" fmla="*/ 19 h 29"/>
                <a:gd name="T22" fmla="*/ 38 w 57"/>
                <a:gd name="T23" fmla="*/ 10 h 29"/>
                <a:gd name="T24" fmla="*/ 38 w 57"/>
                <a:gd name="T25" fmla="*/ 10 h 29"/>
                <a:gd name="T26" fmla="*/ 19 w 57"/>
                <a:gd name="T27" fmla="*/ 0 h 29"/>
                <a:gd name="T28" fmla="*/ 10 w 57"/>
                <a:gd name="T29" fmla="*/ 0 h 29"/>
                <a:gd name="T30" fmla="*/ 10 w 57"/>
                <a:gd name="T31" fmla="*/ 0 h 29"/>
                <a:gd name="T32" fmla="*/ 10 w 57"/>
                <a:gd name="T33" fmla="*/ 19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7"/>
                <a:gd name="T52" fmla="*/ 0 h 29"/>
                <a:gd name="T53" fmla="*/ 57 w 57"/>
                <a:gd name="T54" fmla="*/ 29 h 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7" h="29">
                  <a:moveTo>
                    <a:pt x="10" y="19"/>
                  </a:moveTo>
                  <a:lnTo>
                    <a:pt x="0" y="29"/>
                  </a:lnTo>
                  <a:lnTo>
                    <a:pt x="10" y="29"/>
                  </a:lnTo>
                  <a:lnTo>
                    <a:pt x="19" y="29"/>
                  </a:lnTo>
                  <a:lnTo>
                    <a:pt x="19" y="19"/>
                  </a:lnTo>
                  <a:lnTo>
                    <a:pt x="29" y="19"/>
                  </a:lnTo>
                  <a:lnTo>
                    <a:pt x="38" y="19"/>
                  </a:lnTo>
                  <a:lnTo>
                    <a:pt x="48" y="29"/>
                  </a:lnTo>
                  <a:lnTo>
                    <a:pt x="57" y="19"/>
                  </a:lnTo>
                  <a:lnTo>
                    <a:pt x="48" y="19"/>
                  </a:lnTo>
                  <a:lnTo>
                    <a:pt x="38" y="10"/>
                  </a:lnTo>
                  <a:lnTo>
                    <a:pt x="19" y="0"/>
                  </a:lnTo>
                  <a:lnTo>
                    <a:pt x="10" y="0"/>
                  </a:lnTo>
                  <a:lnTo>
                    <a:pt x="10"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29" name="Freeform 410">
              <a:extLst>
                <a:ext uri="{FF2B5EF4-FFF2-40B4-BE49-F238E27FC236}">
                  <a16:creationId xmlns:a16="http://schemas.microsoft.com/office/drawing/2014/main" id="{614D5721-E417-4F24-8871-0567CABA8961}"/>
                </a:ext>
              </a:extLst>
            </p:cNvPr>
            <p:cNvSpPr>
              <a:spLocks/>
            </p:cNvSpPr>
            <p:nvPr/>
          </p:nvSpPr>
          <p:spPr bwMode="gray">
            <a:xfrm>
              <a:off x="1772" y="2614"/>
              <a:ext cx="19" cy="10"/>
            </a:xfrm>
            <a:custGeom>
              <a:avLst/>
              <a:gdLst>
                <a:gd name="T0" fmla="*/ 0 w 19"/>
                <a:gd name="T1" fmla="*/ 0 h 10"/>
                <a:gd name="T2" fmla="*/ 0 w 19"/>
                <a:gd name="T3" fmla="*/ 0 h 10"/>
                <a:gd name="T4" fmla="*/ 19 w 19"/>
                <a:gd name="T5" fmla="*/ 0 h 10"/>
                <a:gd name="T6" fmla="*/ 19 w 19"/>
                <a:gd name="T7" fmla="*/ 10 h 10"/>
                <a:gd name="T8" fmla="*/ 19 w 19"/>
                <a:gd name="T9" fmla="*/ 10 h 10"/>
                <a:gd name="T10" fmla="*/ 0 w 19"/>
                <a:gd name="T11" fmla="*/ 10 h 10"/>
                <a:gd name="T12" fmla="*/ 0 w 19"/>
                <a:gd name="T13" fmla="*/ 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0" y="0"/>
                  </a:moveTo>
                  <a:lnTo>
                    <a:pt x="0" y="0"/>
                  </a:lnTo>
                  <a:lnTo>
                    <a:pt x="19" y="0"/>
                  </a:lnTo>
                  <a:lnTo>
                    <a:pt x="19" y="10"/>
                  </a:lnTo>
                  <a:lnTo>
                    <a:pt x="0"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30" name="Freeform 411">
              <a:extLst>
                <a:ext uri="{FF2B5EF4-FFF2-40B4-BE49-F238E27FC236}">
                  <a16:creationId xmlns:a16="http://schemas.microsoft.com/office/drawing/2014/main" id="{3F51C347-1A5E-417A-ABD3-CFB5C74DE34D}"/>
                </a:ext>
              </a:extLst>
            </p:cNvPr>
            <p:cNvSpPr>
              <a:spLocks/>
            </p:cNvSpPr>
            <p:nvPr/>
          </p:nvSpPr>
          <p:spPr bwMode="gray">
            <a:xfrm>
              <a:off x="1772" y="2614"/>
              <a:ext cx="19" cy="10"/>
            </a:xfrm>
            <a:custGeom>
              <a:avLst/>
              <a:gdLst>
                <a:gd name="T0" fmla="*/ 0 w 19"/>
                <a:gd name="T1" fmla="*/ 0 h 10"/>
                <a:gd name="T2" fmla="*/ 0 w 19"/>
                <a:gd name="T3" fmla="*/ 0 h 10"/>
                <a:gd name="T4" fmla="*/ 19 w 19"/>
                <a:gd name="T5" fmla="*/ 0 h 10"/>
                <a:gd name="T6" fmla="*/ 19 w 19"/>
                <a:gd name="T7" fmla="*/ 10 h 10"/>
                <a:gd name="T8" fmla="*/ 19 w 19"/>
                <a:gd name="T9" fmla="*/ 10 h 10"/>
                <a:gd name="T10" fmla="*/ 0 w 19"/>
                <a:gd name="T11" fmla="*/ 10 h 10"/>
                <a:gd name="T12" fmla="*/ 0 w 19"/>
                <a:gd name="T13" fmla="*/ 0 h 10"/>
                <a:gd name="T14" fmla="*/ 0 60000 65536"/>
                <a:gd name="T15" fmla="*/ 0 60000 65536"/>
                <a:gd name="T16" fmla="*/ 0 60000 65536"/>
                <a:gd name="T17" fmla="*/ 0 60000 65536"/>
                <a:gd name="T18" fmla="*/ 0 60000 65536"/>
                <a:gd name="T19" fmla="*/ 0 60000 65536"/>
                <a:gd name="T20" fmla="*/ 0 60000 65536"/>
                <a:gd name="T21" fmla="*/ 0 w 19"/>
                <a:gd name="T22" fmla="*/ 0 h 10"/>
                <a:gd name="T23" fmla="*/ 19 w 1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0">
                  <a:moveTo>
                    <a:pt x="0" y="0"/>
                  </a:moveTo>
                  <a:lnTo>
                    <a:pt x="0" y="0"/>
                  </a:lnTo>
                  <a:lnTo>
                    <a:pt x="19" y="0"/>
                  </a:lnTo>
                  <a:lnTo>
                    <a:pt x="19" y="10"/>
                  </a:lnTo>
                  <a:lnTo>
                    <a:pt x="0"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31" name="Freeform 412">
              <a:extLst>
                <a:ext uri="{FF2B5EF4-FFF2-40B4-BE49-F238E27FC236}">
                  <a16:creationId xmlns:a16="http://schemas.microsoft.com/office/drawing/2014/main" id="{C78537F6-9411-4E57-B50A-7868EE880CC1}"/>
                </a:ext>
              </a:extLst>
            </p:cNvPr>
            <p:cNvSpPr>
              <a:spLocks/>
            </p:cNvSpPr>
            <p:nvPr/>
          </p:nvSpPr>
          <p:spPr bwMode="gray">
            <a:xfrm>
              <a:off x="1848" y="2719"/>
              <a:ext cx="10" cy="10"/>
            </a:xfrm>
            <a:custGeom>
              <a:avLst/>
              <a:gdLst>
                <a:gd name="T0" fmla="*/ 0 w 10"/>
                <a:gd name="T1" fmla="*/ 10 h 10"/>
                <a:gd name="T2" fmla="*/ 0 w 10"/>
                <a:gd name="T3" fmla="*/ 10 h 10"/>
                <a:gd name="T4" fmla="*/ 10 w 10"/>
                <a:gd name="T5" fmla="*/ 10 h 10"/>
                <a:gd name="T6" fmla="*/ 10 w 10"/>
                <a:gd name="T7" fmla="*/ 10 h 10"/>
                <a:gd name="T8" fmla="*/ 10 w 10"/>
                <a:gd name="T9" fmla="*/ 10 h 10"/>
                <a:gd name="T10" fmla="*/ 10 w 10"/>
                <a:gd name="T11" fmla="*/ 0 h 10"/>
                <a:gd name="T12" fmla="*/ 0 w 10"/>
                <a:gd name="T13" fmla="*/ 10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0" y="10"/>
                  </a:moveTo>
                  <a:lnTo>
                    <a:pt x="0" y="10"/>
                  </a:lnTo>
                  <a:lnTo>
                    <a:pt x="10" y="10"/>
                  </a:lnTo>
                  <a:lnTo>
                    <a:pt x="10" y="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32" name="Freeform 413">
              <a:extLst>
                <a:ext uri="{FF2B5EF4-FFF2-40B4-BE49-F238E27FC236}">
                  <a16:creationId xmlns:a16="http://schemas.microsoft.com/office/drawing/2014/main" id="{BBB7F529-1354-41CE-A83E-BE6C51A7CD82}"/>
                </a:ext>
              </a:extLst>
            </p:cNvPr>
            <p:cNvSpPr>
              <a:spLocks/>
            </p:cNvSpPr>
            <p:nvPr/>
          </p:nvSpPr>
          <p:spPr bwMode="gray">
            <a:xfrm>
              <a:off x="1848" y="2719"/>
              <a:ext cx="10" cy="10"/>
            </a:xfrm>
            <a:custGeom>
              <a:avLst/>
              <a:gdLst>
                <a:gd name="T0" fmla="*/ 0 w 10"/>
                <a:gd name="T1" fmla="*/ 10 h 10"/>
                <a:gd name="T2" fmla="*/ 0 w 10"/>
                <a:gd name="T3" fmla="*/ 10 h 10"/>
                <a:gd name="T4" fmla="*/ 10 w 10"/>
                <a:gd name="T5" fmla="*/ 10 h 10"/>
                <a:gd name="T6" fmla="*/ 10 w 10"/>
                <a:gd name="T7" fmla="*/ 10 h 10"/>
                <a:gd name="T8" fmla="*/ 10 w 10"/>
                <a:gd name="T9" fmla="*/ 10 h 10"/>
                <a:gd name="T10" fmla="*/ 10 w 10"/>
                <a:gd name="T11" fmla="*/ 0 h 10"/>
                <a:gd name="T12" fmla="*/ 0 w 10"/>
                <a:gd name="T13" fmla="*/ 10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0" y="10"/>
                  </a:moveTo>
                  <a:lnTo>
                    <a:pt x="0" y="10"/>
                  </a:lnTo>
                  <a:lnTo>
                    <a:pt x="10" y="10"/>
                  </a:lnTo>
                  <a:lnTo>
                    <a:pt x="10" y="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33" name="Rectangle 414">
              <a:extLst>
                <a:ext uri="{FF2B5EF4-FFF2-40B4-BE49-F238E27FC236}">
                  <a16:creationId xmlns:a16="http://schemas.microsoft.com/office/drawing/2014/main" id="{2A819D4D-FB23-481E-A60F-6250E48FDB40}"/>
                </a:ext>
              </a:extLst>
            </p:cNvPr>
            <p:cNvSpPr>
              <a:spLocks noChangeArrowheads="1"/>
            </p:cNvSpPr>
            <p:nvPr/>
          </p:nvSpPr>
          <p:spPr bwMode="gray">
            <a:xfrm>
              <a:off x="1858" y="2691"/>
              <a:ext cx="0" cy="0"/>
            </a:xfrm>
            <a:prstGeom prst="rect">
              <a:avLst/>
            </a:pr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34" name="Rectangle 415">
              <a:extLst>
                <a:ext uri="{FF2B5EF4-FFF2-40B4-BE49-F238E27FC236}">
                  <a16:creationId xmlns:a16="http://schemas.microsoft.com/office/drawing/2014/main" id="{24843C0C-BA15-4823-AB55-B7D69CD490D6}"/>
                </a:ext>
              </a:extLst>
            </p:cNvPr>
            <p:cNvSpPr>
              <a:spLocks noChangeArrowheads="1"/>
            </p:cNvSpPr>
            <p:nvPr/>
          </p:nvSpPr>
          <p:spPr bwMode="gray">
            <a:xfrm>
              <a:off x="1858" y="2691"/>
              <a:ext cx="0" cy="0"/>
            </a:xfrm>
            <a:prstGeom prst="rect">
              <a:avLst/>
            </a:pr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35" name="Freeform 416">
              <a:extLst>
                <a:ext uri="{FF2B5EF4-FFF2-40B4-BE49-F238E27FC236}">
                  <a16:creationId xmlns:a16="http://schemas.microsoft.com/office/drawing/2014/main" id="{2843F41B-207A-4835-9CAE-0827AD1F15F9}"/>
                </a:ext>
              </a:extLst>
            </p:cNvPr>
            <p:cNvSpPr>
              <a:spLocks/>
            </p:cNvSpPr>
            <p:nvPr/>
          </p:nvSpPr>
          <p:spPr bwMode="gray">
            <a:xfrm>
              <a:off x="1829" y="3139"/>
              <a:ext cx="124" cy="115"/>
            </a:xfrm>
            <a:custGeom>
              <a:avLst/>
              <a:gdLst>
                <a:gd name="T0" fmla="*/ 0 w 124"/>
                <a:gd name="T1" fmla="*/ 38 h 115"/>
                <a:gd name="T2" fmla="*/ 10 w 124"/>
                <a:gd name="T3" fmla="*/ 29 h 115"/>
                <a:gd name="T4" fmla="*/ 10 w 124"/>
                <a:gd name="T5" fmla="*/ 10 h 115"/>
                <a:gd name="T6" fmla="*/ 19 w 124"/>
                <a:gd name="T7" fmla="*/ 0 h 115"/>
                <a:gd name="T8" fmla="*/ 29 w 124"/>
                <a:gd name="T9" fmla="*/ 0 h 115"/>
                <a:gd name="T10" fmla="*/ 67 w 124"/>
                <a:gd name="T11" fmla="*/ 0 h 115"/>
                <a:gd name="T12" fmla="*/ 77 w 124"/>
                <a:gd name="T13" fmla="*/ 0 h 115"/>
                <a:gd name="T14" fmla="*/ 77 w 124"/>
                <a:gd name="T15" fmla="*/ 38 h 115"/>
                <a:gd name="T16" fmla="*/ 86 w 124"/>
                <a:gd name="T17" fmla="*/ 38 h 115"/>
                <a:gd name="T18" fmla="*/ 105 w 124"/>
                <a:gd name="T19" fmla="*/ 48 h 115"/>
                <a:gd name="T20" fmla="*/ 105 w 124"/>
                <a:gd name="T21" fmla="*/ 67 h 115"/>
                <a:gd name="T22" fmla="*/ 115 w 124"/>
                <a:gd name="T23" fmla="*/ 57 h 115"/>
                <a:gd name="T24" fmla="*/ 124 w 124"/>
                <a:gd name="T25" fmla="*/ 67 h 115"/>
                <a:gd name="T26" fmla="*/ 124 w 124"/>
                <a:gd name="T27" fmla="*/ 76 h 115"/>
                <a:gd name="T28" fmla="*/ 124 w 124"/>
                <a:gd name="T29" fmla="*/ 86 h 115"/>
                <a:gd name="T30" fmla="*/ 124 w 124"/>
                <a:gd name="T31" fmla="*/ 86 h 115"/>
                <a:gd name="T32" fmla="*/ 115 w 124"/>
                <a:gd name="T33" fmla="*/ 105 h 115"/>
                <a:gd name="T34" fmla="*/ 105 w 124"/>
                <a:gd name="T35" fmla="*/ 115 h 115"/>
                <a:gd name="T36" fmla="*/ 86 w 124"/>
                <a:gd name="T37" fmla="*/ 115 h 115"/>
                <a:gd name="T38" fmla="*/ 77 w 124"/>
                <a:gd name="T39" fmla="*/ 115 h 115"/>
                <a:gd name="T40" fmla="*/ 67 w 124"/>
                <a:gd name="T41" fmla="*/ 115 h 115"/>
                <a:gd name="T42" fmla="*/ 86 w 124"/>
                <a:gd name="T43" fmla="*/ 86 h 115"/>
                <a:gd name="T44" fmla="*/ 86 w 124"/>
                <a:gd name="T45" fmla="*/ 86 h 115"/>
                <a:gd name="T46" fmla="*/ 77 w 124"/>
                <a:gd name="T47" fmla="*/ 76 h 115"/>
                <a:gd name="T48" fmla="*/ 48 w 124"/>
                <a:gd name="T49" fmla="*/ 67 h 115"/>
                <a:gd name="T50" fmla="*/ 39 w 124"/>
                <a:gd name="T51" fmla="*/ 67 h 115"/>
                <a:gd name="T52" fmla="*/ 29 w 124"/>
                <a:gd name="T53" fmla="*/ 67 h 115"/>
                <a:gd name="T54" fmla="*/ 19 w 124"/>
                <a:gd name="T55" fmla="*/ 57 h 115"/>
                <a:gd name="T56" fmla="*/ 10 w 124"/>
                <a:gd name="T57" fmla="*/ 48 h 115"/>
                <a:gd name="T58" fmla="*/ 0 w 124"/>
                <a:gd name="T59" fmla="*/ 38 h 11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4"/>
                <a:gd name="T91" fmla="*/ 0 h 115"/>
                <a:gd name="T92" fmla="*/ 124 w 124"/>
                <a:gd name="T93" fmla="*/ 115 h 11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4" h="115">
                  <a:moveTo>
                    <a:pt x="0" y="38"/>
                  </a:moveTo>
                  <a:lnTo>
                    <a:pt x="10" y="29"/>
                  </a:lnTo>
                  <a:lnTo>
                    <a:pt x="10" y="10"/>
                  </a:lnTo>
                  <a:lnTo>
                    <a:pt x="19" y="0"/>
                  </a:lnTo>
                  <a:lnTo>
                    <a:pt x="29" y="0"/>
                  </a:lnTo>
                  <a:lnTo>
                    <a:pt x="67" y="0"/>
                  </a:lnTo>
                  <a:lnTo>
                    <a:pt x="77" y="0"/>
                  </a:lnTo>
                  <a:lnTo>
                    <a:pt x="77" y="38"/>
                  </a:lnTo>
                  <a:lnTo>
                    <a:pt x="86" y="38"/>
                  </a:lnTo>
                  <a:lnTo>
                    <a:pt x="105" y="48"/>
                  </a:lnTo>
                  <a:lnTo>
                    <a:pt x="105" y="67"/>
                  </a:lnTo>
                  <a:lnTo>
                    <a:pt x="115" y="57"/>
                  </a:lnTo>
                  <a:lnTo>
                    <a:pt x="124" y="67"/>
                  </a:lnTo>
                  <a:lnTo>
                    <a:pt x="124" y="76"/>
                  </a:lnTo>
                  <a:lnTo>
                    <a:pt x="124" y="86"/>
                  </a:lnTo>
                  <a:lnTo>
                    <a:pt x="115" y="105"/>
                  </a:lnTo>
                  <a:lnTo>
                    <a:pt x="105" y="115"/>
                  </a:lnTo>
                  <a:lnTo>
                    <a:pt x="86" y="115"/>
                  </a:lnTo>
                  <a:lnTo>
                    <a:pt x="77" y="115"/>
                  </a:lnTo>
                  <a:lnTo>
                    <a:pt x="67" y="115"/>
                  </a:lnTo>
                  <a:lnTo>
                    <a:pt x="86" y="86"/>
                  </a:lnTo>
                  <a:lnTo>
                    <a:pt x="77" y="76"/>
                  </a:lnTo>
                  <a:lnTo>
                    <a:pt x="48" y="67"/>
                  </a:lnTo>
                  <a:lnTo>
                    <a:pt x="39" y="67"/>
                  </a:lnTo>
                  <a:lnTo>
                    <a:pt x="29" y="67"/>
                  </a:lnTo>
                  <a:lnTo>
                    <a:pt x="19" y="57"/>
                  </a:lnTo>
                  <a:lnTo>
                    <a:pt x="10" y="48"/>
                  </a:lnTo>
                  <a:lnTo>
                    <a:pt x="0"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36" name="Freeform 417">
              <a:extLst>
                <a:ext uri="{FF2B5EF4-FFF2-40B4-BE49-F238E27FC236}">
                  <a16:creationId xmlns:a16="http://schemas.microsoft.com/office/drawing/2014/main" id="{AE1EE493-0745-42B1-8059-7F64A7D5D05E}"/>
                </a:ext>
              </a:extLst>
            </p:cNvPr>
            <p:cNvSpPr>
              <a:spLocks/>
            </p:cNvSpPr>
            <p:nvPr/>
          </p:nvSpPr>
          <p:spPr bwMode="gray">
            <a:xfrm>
              <a:off x="1829" y="3139"/>
              <a:ext cx="124" cy="115"/>
            </a:xfrm>
            <a:custGeom>
              <a:avLst/>
              <a:gdLst>
                <a:gd name="T0" fmla="*/ 0 w 124"/>
                <a:gd name="T1" fmla="*/ 38 h 115"/>
                <a:gd name="T2" fmla="*/ 10 w 124"/>
                <a:gd name="T3" fmla="*/ 29 h 115"/>
                <a:gd name="T4" fmla="*/ 10 w 124"/>
                <a:gd name="T5" fmla="*/ 10 h 115"/>
                <a:gd name="T6" fmla="*/ 19 w 124"/>
                <a:gd name="T7" fmla="*/ 0 h 115"/>
                <a:gd name="T8" fmla="*/ 29 w 124"/>
                <a:gd name="T9" fmla="*/ 0 h 115"/>
                <a:gd name="T10" fmla="*/ 67 w 124"/>
                <a:gd name="T11" fmla="*/ 0 h 115"/>
                <a:gd name="T12" fmla="*/ 77 w 124"/>
                <a:gd name="T13" fmla="*/ 0 h 115"/>
                <a:gd name="T14" fmla="*/ 77 w 124"/>
                <a:gd name="T15" fmla="*/ 38 h 115"/>
                <a:gd name="T16" fmla="*/ 86 w 124"/>
                <a:gd name="T17" fmla="*/ 38 h 115"/>
                <a:gd name="T18" fmla="*/ 105 w 124"/>
                <a:gd name="T19" fmla="*/ 48 h 115"/>
                <a:gd name="T20" fmla="*/ 105 w 124"/>
                <a:gd name="T21" fmla="*/ 67 h 115"/>
                <a:gd name="T22" fmla="*/ 115 w 124"/>
                <a:gd name="T23" fmla="*/ 57 h 115"/>
                <a:gd name="T24" fmla="*/ 124 w 124"/>
                <a:gd name="T25" fmla="*/ 67 h 115"/>
                <a:gd name="T26" fmla="*/ 124 w 124"/>
                <a:gd name="T27" fmla="*/ 76 h 115"/>
                <a:gd name="T28" fmla="*/ 124 w 124"/>
                <a:gd name="T29" fmla="*/ 86 h 115"/>
                <a:gd name="T30" fmla="*/ 124 w 124"/>
                <a:gd name="T31" fmla="*/ 86 h 115"/>
                <a:gd name="T32" fmla="*/ 115 w 124"/>
                <a:gd name="T33" fmla="*/ 105 h 115"/>
                <a:gd name="T34" fmla="*/ 105 w 124"/>
                <a:gd name="T35" fmla="*/ 115 h 115"/>
                <a:gd name="T36" fmla="*/ 86 w 124"/>
                <a:gd name="T37" fmla="*/ 115 h 115"/>
                <a:gd name="T38" fmla="*/ 77 w 124"/>
                <a:gd name="T39" fmla="*/ 115 h 115"/>
                <a:gd name="T40" fmla="*/ 67 w 124"/>
                <a:gd name="T41" fmla="*/ 115 h 115"/>
                <a:gd name="T42" fmla="*/ 86 w 124"/>
                <a:gd name="T43" fmla="*/ 86 h 115"/>
                <a:gd name="T44" fmla="*/ 86 w 124"/>
                <a:gd name="T45" fmla="*/ 86 h 115"/>
                <a:gd name="T46" fmla="*/ 77 w 124"/>
                <a:gd name="T47" fmla="*/ 76 h 115"/>
                <a:gd name="T48" fmla="*/ 48 w 124"/>
                <a:gd name="T49" fmla="*/ 67 h 115"/>
                <a:gd name="T50" fmla="*/ 39 w 124"/>
                <a:gd name="T51" fmla="*/ 67 h 115"/>
                <a:gd name="T52" fmla="*/ 29 w 124"/>
                <a:gd name="T53" fmla="*/ 67 h 115"/>
                <a:gd name="T54" fmla="*/ 19 w 124"/>
                <a:gd name="T55" fmla="*/ 57 h 115"/>
                <a:gd name="T56" fmla="*/ 10 w 124"/>
                <a:gd name="T57" fmla="*/ 48 h 115"/>
                <a:gd name="T58" fmla="*/ 0 w 124"/>
                <a:gd name="T59" fmla="*/ 38 h 11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4"/>
                <a:gd name="T91" fmla="*/ 0 h 115"/>
                <a:gd name="T92" fmla="*/ 124 w 124"/>
                <a:gd name="T93" fmla="*/ 115 h 11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4" h="115">
                  <a:moveTo>
                    <a:pt x="0" y="38"/>
                  </a:moveTo>
                  <a:lnTo>
                    <a:pt x="10" y="29"/>
                  </a:lnTo>
                  <a:lnTo>
                    <a:pt x="10" y="10"/>
                  </a:lnTo>
                  <a:lnTo>
                    <a:pt x="19" y="0"/>
                  </a:lnTo>
                  <a:lnTo>
                    <a:pt x="29" y="0"/>
                  </a:lnTo>
                  <a:lnTo>
                    <a:pt x="67" y="0"/>
                  </a:lnTo>
                  <a:lnTo>
                    <a:pt x="77" y="0"/>
                  </a:lnTo>
                  <a:lnTo>
                    <a:pt x="77" y="38"/>
                  </a:lnTo>
                  <a:lnTo>
                    <a:pt x="86" y="38"/>
                  </a:lnTo>
                  <a:lnTo>
                    <a:pt x="105" y="48"/>
                  </a:lnTo>
                  <a:lnTo>
                    <a:pt x="105" y="67"/>
                  </a:lnTo>
                  <a:lnTo>
                    <a:pt x="115" y="57"/>
                  </a:lnTo>
                  <a:lnTo>
                    <a:pt x="124" y="67"/>
                  </a:lnTo>
                  <a:lnTo>
                    <a:pt x="124" y="76"/>
                  </a:lnTo>
                  <a:lnTo>
                    <a:pt x="124" y="86"/>
                  </a:lnTo>
                  <a:lnTo>
                    <a:pt x="115" y="105"/>
                  </a:lnTo>
                  <a:lnTo>
                    <a:pt x="105" y="115"/>
                  </a:lnTo>
                  <a:lnTo>
                    <a:pt x="86" y="115"/>
                  </a:lnTo>
                  <a:lnTo>
                    <a:pt x="77" y="115"/>
                  </a:lnTo>
                  <a:lnTo>
                    <a:pt x="67" y="115"/>
                  </a:lnTo>
                  <a:lnTo>
                    <a:pt x="86" y="86"/>
                  </a:lnTo>
                  <a:lnTo>
                    <a:pt x="77" y="76"/>
                  </a:lnTo>
                  <a:lnTo>
                    <a:pt x="48" y="67"/>
                  </a:lnTo>
                  <a:lnTo>
                    <a:pt x="39" y="67"/>
                  </a:lnTo>
                  <a:lnTo>
                    <a:pt x="29" y="67"/>
                  </a:lnTo>
                  <a:lnTo>
                    <a:pt x="19" y="57"/>
                  </a:lnTo>
                  <a:lnTo>
                    <a:pt x="10" y="48"/>
                  </a:lnTo>
                  <a:lnTo>
                    <a:pt x="0"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37" name="Freeform 418">
              <a:extLst>
                <a:ext uri="{FF2B5EF4-FFF2-40B4-BE49-F238E27FC236}">
                  <a16:creationId xmlns:a16="http://schemas.microsoft.com/office/drawing/2014/main" id="{A95E3681-27BB-4192-8024-94FE46BA12FC}"/>
                </a:ext>
              </a:extLst>
            </p:cNvPr>
            <p:cNvSpPr>
              <a:spLocks/>
            </p:cNvSpPr>
            <p:nvPr/>
          </p:nvSpPr>
          <p:spPr bwMode="gray">
            <a:xfrm>
              <a:off x="1734" y="3006"/>
              <a:ext cx="172" cy="181"/>
            </a:xfrm>
            <a:custGeom>
              <a:avLst/>
              <a:gdLst>
                <a:gd name="T0" fmla="*/ 95 w 172"/>
                <a:gd name="T1" fmla="*/ 171 h 181"/>
                <a:gd name="T2" fmla="*/ 105 w 172"/>
                <a:gd name="T3" fmla="*/ 162 h 181"/>
                <a:gd name="T4" fmla="*/ 105 w 172"/>
                <a:gd name="T5" fmla="*/ 143 h 181"/>
                <a:gd name="T6" fmla="*/ 105 w 172"/>
                <a:gd name="T7" fmla="*/ 133 h 181"/>
                <a:gd name="T8" fmla="*/ 124 w 172"/>
                <a:gd name="T9" fmla="*/ 133 h 181"/>
                <a:gd name="T10" fmla="*/ 162 w 172"/>
                <a:gd name="T11" fmla="*/ 133 h 181"/>
                <a:gd name="T12" fmla="*/ 172 w 172"/>
                <a:gd name="T13" fmla="*/ 133 h 181"/>
                <a:gd name="T14" fmla="*/ 172 w 172"/>
                <a:gd name="T15" fmla="*/ 124 h 181"/>
                <a:gd name="T16" fmla="*/ 162 w 172"/>
                <a:gd name="T17" fmla="*/ 114 h 181"/>
                <a:gd name="T18" fmla="*/ 162 w 172"/>
                <a:gd name="T19" fmla="*/ 95 h 181"/>
                <a:gd name="T20" fmla="*/ 162 w 172"/>
                <a:gd name="T21" fmla="*/ 95 h 181"/>
                <a:gd name="T22" fmla="*/ 162 w 172"/>
                <a:gd name="T23" fmla="*/ 85 h 181"/>
                <a:gd name="T24" fmla="*/ 124 w 172"/>
                <a:gd name="T25" fmla="*/ 85 h 181"/>
                <a:gd name="T26" fmla="*/ 124 w 172"/>
                <a:gd name="T27" fmla="*/ 47 h 181"/>
                <a:gd name="T28" fmla="*/ 114 w 172"/>
                <a:gd name="T29" fmla="*/ 47 h 181"/>
                <a:gd name="T30" fmla="*/ 86 w 172"/>
                <a:gd name="T31" fmla="*/ 28 h 181"/>
                <a:gd name="T32" fmla="*/ 67 w 172"/>
                <a:gd name="T33" fmla="*/ 28 h 181"/>
                <a:gd name="T34" fmla="*/ 67 w 172"/>
                <a:gd name="T35" fmla="*/ 28 h 181"/>
                <a:gd name="T36" fmla="*/ 57 w 172"/>
                <a:gd name="T37" fmla="*/ 0 h 181"/>
                <a:gd name="T38" fmla="*/ 48 w 172"/>
                <a:gd name="T39" fmla="*/ 0 h 181"/>
                <a:gd name="T40" fmla="*/ 29 w 172"/>
                <a:gd name="T41" fmla="*/ 0 h 181"/>
                <a:gd name="T42" fmla="*/ 29 w 172"/>
                <a:gd name="T43" fmla="*/ 9 h 181"/>
                <a:gd name="T44" fmla="*/ 0 w 172"/>
                <a:gd name="T45" fmla="*/ 19 h 181"/>
                <a:gd name="T46" fmla="*/ 10 w 172"/>
                <a:gd name="T47" fmla="*/ 38 h 181"/>
                <a:gd name="T48" fmla="*/ 10 w 172"/>
                <a:gd name="T49" fmla="*/ 38 h 181"/>
                <a:gd name="T50" fmla="*/ 0 w 172"/>
                <a:gd name="T51" fmla="*/ 38 h 181"/>
                <a:gd name="T52" fmla="*/ 10 w 172"/>
                <a:gd name="T53" fmla="*/ 57 h 181"/>
                <a:gd name="T54" fmla="*/ 0 w 172"/>
                <a:gd name="T55" fmla="*/ 66 h 181"/>
                <a:gd name="T56" fmla="*/ 0 w 172"/>
                <a:gd name="T57" fmla="*/ 85 h 181"/>
                <a:gd name="T58" fmla="*/ 0 w 172"/>
                <a:gd name="T59" fmla="*/ 105 h 181"/>
                <a:gd name="T60" fmla="*/ 0 w 172"/>
                <a:gd name="T61" fmla="*/ 114 h 181"/>
                <a:gd name="T62" fmla="*/ 10 w 172"/>
                <a:gd name="T63" fmla="*/ 124 h 181"/>
                <a:gd name="T64" fmla="*/ 10 w 172"/>
                <a:gd name="T65" fmla="*/ 143 h 181"/>
                <a:gd name="T66" fmla="*/ 19 w 172"/>
                <a:gd name="T67" fmla="*/ 181 h 181"/>
                <a:gd name="T68" fmla="*/ 29 w 172"/>
                <a:gd name="T69" fmla="*/ 181 h 181"/>
                <a:gd name="T70" fmla="*/ 38 w 172"/>
                <a:gd name="T71" fmla="*/ 171 h 181"/>
                <a:gd name="T72" fmla="*/ 48 w 172"/>
                <a:gd name="T73" fmla="*/ 171 h 181"/>
                <a:gd name="T74" fmla="*/ 57 w 172"/>
                <a:gd name="T75" fmla="*/ 171 h 181"/>
                <a:gd name="T76" fmla="*/ 67 w 172"/>
                <a:gd name="T77" fmla="*/ 181 h 181"/>
                <a:gd name="T78" fmla="*/ 76 w 172"/>
                <a:gd name="T79" fmla="*/ 181 h 181"/>
                <a:gd name="T80" fmla="*/ 76 w 172"/>
                <a:gd name="T81" fmla="*/ 181 h 181"/>
                <a:gd name="T82" fmla="*/ 76 w 172"/>
                <a:gd name="T83" fmla="*/ 171 h 181"/>
                <a:gd name="T84" fmla="*/ 76 w 172"/>
                <a:gd name="T85" fmla="*/ 171 h 181"/>
                <a:gd name="T86" fmla="*/ 86 w 172"/>
                <a:gd name="T87" fmla="*/ 171 h 181"/>
                <a:gd name="T88" fmla="*/ 95 w 172"/>
                <a:gd name="T89" fmla="*/ 171 h 18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2"/>
                <a:gd name="T136" fmla="*/ 0 h 181"/>
                <a:gd name="T137" fmla="*/ 172 w 172"/>
                <a:gd name="T138" fmla="*/ 181 h 18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2" h="181">
                  <a:moveTo>
                    <a:pt x="95" y="171"/>
                  </a:moveTo>
                  <a:lnTo>
                    <a:pt x="105" y="162"/>
                  </a:lnTo>
                  <a:lnTo>
                    <a:pt x="105" y="143"/>
                  </a:lnTo>
                  <a:lnTo>
                    <a:pt x="105" y="133"/>
                  </a:lnTo>
                  <a:lnTo>
                    <a:pt x="124" y="133"/>
                  </a:lnTo>
                  <a:lnTo>
                    <a:pt x="162" y="133"/>
                  </a:lnTo>
                  <a:lnTo>
                    <a:pt x="172" y="133"/>
                  </a:lnTo>
                  <a:lnTo>
                    <a:pt x="172" y="124"/>
                  </a:lnTo>
                  <a:lnTo>
                    <a:pt x="162" y="114"/>
                  </a:lnTo>
                  <a:lnTo>
                    <a:pt x="162" y="95"/>
                  </a:lnTo>
                  <a:lnTo>
                    <a:pt x="162" y="85"/>
                  </a:lnTo>
                  <a:lnTo>
                    <a:pt x="124" y="85"/>
                  </a:lnTo>
                  <a:lnTo>
                    <a:pt x="124" y="47"/>
                  </a:lnTo>
                  <a:lnTo>
                    <a:pt x="114" y="47"/>
                  </a:lnTo>
                  <a:lnTo>
                    <a:pt x="86" y="28"/>
                  </a:lnTo>
                  <a:lnTo>
                    <a:pt x="67" y="28"/>
                  </a:lnTo>
                  <a:lnTo>
                    <a:pt x="57" y="0"/>
                  </a:lnTo>
                  <a:lnTo>
                    <a:pt x="48" y="0"/>
                  </a:lnTo>
                  <a:lnTo>
                    <a:pt x="29" y="0"/>
                  </a:lnTo>
                  <a:lnTo>
                    <a:pt x="29" y="9"/>
                  </a:lnTo>
                  <a:lnTo>
                    <a:pt x="0" y="19"/>
                  </a:lnTo>
                  <a:lnTo>
                    <a:pt x="10" y="38"/>
                  </a:lnTo>
                  <a:lnTo>
                    <a:pt x="0" y="38"/>
                  </a:lnTo>
                  <a:lnTo>
                    <a:pt x="10" y="57"/>
                  </a:lnTo>
                  <a:lnTo>
                    <a:pt x="0" y="66"/>
                  </a:lnTo>
                  <a:lnTo>
                    <a:pt x="0" y="85"/>
                  </a:lnTo>
                  <a:lnTo>
                    <a:pt x="0" y="105"/>
                  </a:lnTo>
                  <a:lnTo>
                    <a:pt x="0" y="114"/>
                  </a:lnTo>
                  <a:lnTo>
                    <a:pt x="10" y="124"/>
                  </a:lnTo>
                  <a:lnTo>
                    <a:pt x="10" y="143"/>
                  </a:lnTo>
                  <a:lnTo>
                    <a:pt x="19" y="181"/>
                  </a:lnTo>
                  <a:lnTo>
                    <a:pt x="29" y="181"/>
                  </a:lnTo>
                  <a:lnTo>
                    <a:pt x="38" y="171"/>
                  </a:lnTo>
                  <a:lnTo>
                    <a:pt x="48" y="171"/>
                  </a:lnTo>
                  <a:lnTo>
                    <a:pt x="57" y="171"/>
                  </a:lnTo>
                  <a:lnTo>
                    <a:pt x="67" y="181"/>
                  </a:lnTo>
                  <a:lnTo>
                    <a:pt x="76" y="181"/>
                  </a:lnTo>
                  <a:lnTo>
                    <a:pt x="76" y="171"/>
                  </a:lnTo>
                  <a:lnTo>
                    <a:pt x="86" y="171"/>
                  </a:lnTo>
                  <a:lnTo>
                    <a:pt x="95" y="171"/>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38" name="Freeform 419">
              <a:extLst>
                <a:ext uri="{FF2B5EF4-FFF2-40B4-BE49-F238E27FC236}">
                  <a16:creationId xmlns:a16="http://schemas.microsoft.com/office/drawing/2014/main" id="{E814C02C-32B1-4FBA-9918-D3A3EBCEA5BF}"/>
                </a:ext>
              </a:extLst>
            </p:cNvPr>
            <p:cNvSpPr>
              <a:spLocks/>
            </p:cNvSpPr>
            <p:nvPr/>
          </p:nvSpPr>
          <p:spPr bwMode="gray">
            <a:xfrm>
              <a:off x="1734" y="3006"/>
              <a:ext cx="172" cy="181"/>
            </a:xfrm>
            <a:custGeom>
              <a:avLst/>
              <a:gdLst>
                <a:gd name="T0" fmla="*/ 95 w 172"/>
                <a:gd name="T1" fmla="*/ 171 h 181"/>
                <a:gd name="T2" fmla="*/ 105 w 172"/>
                <a:gd name="T3" fmla="*/ 162 h 181"/>
                <a:gd name="T4" fmla="*/ 105 w 172"/>
                <a:gd name="T5" fmla="*/ 143 h 181"/>
                <a:gd name="T6" fmla="*/ 105 w 172"/>
                <a:gd name="T7" fmla="*/ 133 h 181"/>
                <a:gd name="T8" fmla="*/ 124 w 172"/>
                <a:gd name="T9" fmla="*/ 133 h 181"/>
                <a:gd name="T10" fmla="*/ 162 w 172"/>
                <a:gd name="T11" fmla="*/ 133 h 181"/>
                <a:gd name="T12" fmla="*/ 172 w 172"/>
                <a:gd name="T13" fmla="*/ 133 h 181"/>
                <a:gd name="T14" fmla="*/ 172 w 172"/>
                <a:gd name="T15" fmla="*/ 124 h 181"/>
                <a:gd name="T16" fmla="*/ 162 w 172"/>
                <a:gd name="T17" fmla="*/ 114 h 181"/>
                <a:gd name="T18" fmla="*/ 162 w 172"/>
                <a:gd name="T19" fmla="*/ 95 h 181"/>
                <a:gd name="T20" fmla="*/ 162 w 172"/>
                <a:gd name="T21" fmla="*/ 95 h 181"/>
                <a:gd name="T22" fmla="*/ 162 w 172"/>
                <a:gd name="T23" fmla="*/ 85 h 181"/>
                <a:gd name="T24" fmla="*/ 124 w 172"/>
                <a:gd name="T25" fmla="*/ 85 h 181"/>
                <a:gd name="T26" fmla="*/ 124 w 172"/>
                <a:gd name="T27" fmla="*/ 47 h 181"/>
                <a:gd name="T28" fmla="*/ 114 w 172"/>
                <a:gd name="T29" fmla="*/ 47 h 181"/>
                <a:gd name="T30" fmla="*/ 86 w 172"/>
                <a:gd name="T31" fmla="*/ 28 h 181"/>
                <a:gd name="T32" fmla="*/ 67 w 172"/>
                <a:gd name="T33" fmla="*/ 28 h 181"/>
                <a:gd name="T34" fmla="*/ 67 w 172"/>
                <a:gd name="T35" fmla="*/ 28 h 181"/>
                <a:gd name="T36" fmla="*/ 57 w 172"/>
                <a:gd name="T37" fmla="*/ 0 h 181"/>
                <a:gd name="T38" fmla="*/ 48 w 172"/>
                <a:gd name="T39" fmla="*/ 0 h 181"/>
                <a:gd name="T40" fmla="*/ 29 w 172"/>
                <a:gd name="T41" fmla="*/ 0 h 181"/>
                <a:gd name="T42" fmla="*/ 29 w 172"/>
                <a:gd name="T43" fmla="*/ 9 h 181"/>
                <a:gd name="T44" fmla="*/ 0 w 172"/>
                <a:gd name="T45" fmla="*/ 19 h 181"/>
                <a:gd name="T46" fmla="*/ 10 w 172"/>
                <a:gd name="T47" fmla="*/ 38 h 181"/>
                <a:gd name="T48" fmla="*/ 10 w 172"/>
                <a:gd name="T49" fmla="*/ 38 h 181"/>
                <a:gd name="T50" fmla="*/ 0 w 172"/>
                <a:gd name="T51" fmla="*/ 38 h 181"/>
                <a:gd name="T52" fmla="*/ 10 w 172"/>
                <a:gd name="T53" fmla="*/ 57 h 181"/>
                <a:gd name="T54" fmla="*/ 0 w 172"/>
                <a:gd name="T55" fmla="*/ 66 h 181"/>
                <a:gd name="T56" fmla="*/ 0 w 172"/>
                <a:gd name="T57" fmla="*/ 85 h 181"/>
                <a:gd name="T58" fmla="*/ 0 w 172"/>
                <a:gd name="T59" fmla="*/ 105 h 181"/>
                <a:gd name="T60" fmla="*/ 0 w 172"/>
                <a:gd name="T61" fmla="*/ 114 h 181"/>
                <a:gd name="T62" fmla="*/ 10 w 172"/>
                <a:gd name="T63" fmla="*/ 124 h 181"/>
                <a:gd name="T64" fmla="*/ 10 w 172"/>
                <a:gd name="T65" fmla="*/ 143 h 181"/>
                <a:gd name="T66" fmla="*/ 19 w 172"/>
                <a:gd name="T67" fmla="*/ 181 h 181"/>
                <a:gd name="T68" fmla="*/ 29 w 172"/>
                <a:gd name="T69" fmla="*/ 181 h 181"/>
                <a:gd name="T70" fmla="*/ 38 w 172"/>
                <a:gd name="T71" fmla="*/ 171 h 181"/>
                <a:gd name="T72" fmla="*/ 48 w 172"/>
                <a:gd name="T73" fmla="*/ 171 h 181"/>
                <a:gd name="T74" fmla="*/ 57 w 172"/>
                <a:gd name="T75" fmla="*/ 171 h 181"/>
                <a:gd name="T76" fmla="*/ 67 w 172"/>
                <a:gd name="T77" fmla="*/ 181 h 181"/>
                <a:gd name="T78" fmla="*/ 76 w 172"/>
                <a:gd name="T79" fmla="*/ 181 h 181"/>
                <a:gd name="T80" fmla="*/ 76 w 172"/>
                <a:gd name="T81" fmla="*/ 181 h 181"/>
                <a:gd name="T82" fmla="*/ 76 w 172"/>
                <a:gd name="T83" fmla="*/ 171 h 181"/>
                <a:gd name="T84" fmla="*/ 76 w 172"/>
                <a:gd name="T85" fmla="*/ 171 h 181"/>
                <a:gd name="T86" fmla="*/ 86 w 172"/>
                <a:gd name="T87" fmla="*/ 171 h 181"/>
                <a:gd name="T88" fmla="*/ 95 w 172"/>
                <a:gd name="T89" fmla="*/ 171 h 18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2"/>
                <a:gd name="T136" fmla="*/ 0 h 181"/>
                <a:gd name="T137" fmla="*/ 172 w 172"/>
                <a:gd name="T138" fmla="*/ 181 h 18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2" h="181">
                  <a:moveTo>
                    <a:pt x="95" y="171"/>
                  </a:moveTo>
                  <a:lnTo>
                    <a:pt x="105" y="162"/>
                  </a:lnTo>
                  <a:lnTo>
                    <a:pt x="105" y="143"/>
                  </a:lnTo>
                  <a:lnTo>
                    <a:pt x="105" y="133"/>
                  </a:lnTo>
                  <a:lnTo>
                    <a:pt x="124" y="133"/>
                  </a:lnTo>
                  <a:lnTo>
                    <a:pt x="162" y="133"/>
                  </a:lnTo>
                  <a:lnTo>
                    <a:pt x="172" y="133"/>
                  </a:lnTo>
                  <a:lnTo>
                    <a:pt x="172" y="124"/>
                  </a:lnTo>
                  <a:lnTo>
                    <a:pt x="162" y="114"/>
                  </a:lnTo>
                  <a:lnTo>
                    <a:pt x="162" y="95"/>
                  </a:lnTo>
                  <a:lnTo>
                    <a:pt x="162" y="85"/>
                  </a:lnTo>
                  <a:lnTo>
                    <a:pt x="124" y="85"/>
                  </a:lnTo>
                  <a:lnTo>
                    <a:pt x="124" y="47"/>
                  </a:lnTo>
                  <a:lnTo>
                    <a:pt x="114" y="47"/>
                  </a:lnTo>
                  <a:lnTo>
                    <a:pt x="86" y="28"/>
                  </a:lnTo>
                  <a:lnTo>
                    <a:pt x="67" y="28"/>
                  </a:lnTo>
                  <a:lnTo>
                    <a:pt x="57" y="0"/>
                  </a:lnTo>
                  <a:lnTo>
                    <a:pt x="48" y="0"/>
                  </a:lnTo>
                  <a:lnTo>
                    <a:pt x="29" y="0"/>
                  </a:lnTo>
                  <a:lnTo>
                    <a:pt x="29" y="9"/>
                  </a:lnTo>
                  <a:lnTo>
                    <a:pt x="0" y="19"/>
                  </a:lnTo>
                  <a:lnTo>
                    <a:pt x="10" y="38"/>
                  </a:lnTo>
                  <a:lnTo>
                    <a:pt x="0" y="38"/>
                  </a:lnTo>
                  <a:lnTo>
                    <a:pt x="10" y="57"/>
                  </a:lnTo>
                  <a:lnTo>
                    <a:pt x="0" y="66"/>
                  </a:lnTo>
                  <a:lnTo>
                    <a:pt x="0" y="85"/>
                  </a:lnTo>
                  <a:lnTo>
                    <a:pt x="0" y="105"/>
                  </a:lnTo>
                  <a:lnTo>
                    <a:pt x="0" y="114"/>
                  </a:lnTo>
                  <a:lnTo>
                    <a:pt x="10" y="124"/>
                  </a:lnTo>
                  <a:lnTo>
                    <a:pt x="10" y="143"/>
                  </a:lnTo>
                  <a:lnTo>
                    <a:pt x="19" y="181"/>
                  </a:lnTo>
                  <a:lnTo>
                    <a:pt x="29" y="181"/>
                  </a:lnTo>
                  <a:lnTo>
                    <a:pt x="38" y="171"/>
                  </a:lnTo>
                  <a:lnTo>
                    <a:pt x="48" y="171"/>
                  </a:lnTo>
                  <a:lnTo>
                    <a:pt x="57" y="171"/>
                  </a:lnTo>
                  <a:lnTo>
                    <a:pt x="67" y="181"/>
                  </a:lnTo>
                  <a:lnTo>
                    <a:pt x="76" y="181"/>
                  </a:lnTo>
                  <a:lnTo>
                    <a:pt x="76" y="171"/>
                  </a:lnTo>
                  <a:lnTo>
                    <a:pt x="86" y="171"/>
                  </a:lnTo>
                  <a:lnTo>
                    <a:pt x="95" y="171"/>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39" name="Freeform 420">
              <a:extLst>
                <a:ext uri="{FF2B5EF4-FFF2-40B4-BE49-F238E27FC236}">
                  <a16:creationId xmlns:a16="http://schemas.microsoft.com/office/drawing/2014/main" id="{E61E82E8-28F1-4FC3-B010-9D9D5A12DE29}"/>
                </a:ext>
              </a:extLst>
            </p:cNvPr>
            <p:cNvSpPr>
              <a:spLocks/>
            </p:cNvSpPr>
            <p:nvPr/>
          </p:nvSpPr>
          <p:spPr bwMode="gray">
            <a:xfrm>
              <a:off x="285" y="1555"/>
              <a:ext cx="563" cy="448"/>
            </a:xfrm>
            <a:custGeom>
              <a:avLst/>
              <a:gdLst>
                <a:gd name="T0" fmla="*/ 362 w 563"/>
                <a:gd name="T1" fmla="*/ 29 h 448"/>
                <a:gd name="T2" fmla="*/ 296 w 563"/>
                <a:gd name="T3" fmla="*/ 19 h 448"/>
                <a:gd name="T4" fmla="*/ 229 w 563"/>
                <a:gd name="T5" fmla="*/ 19 h 448"/>
                <a:gd name="T6" fmla="*/ 200 w 563"/>
                <a:gd name="T7" fmla="*/ 9 h 448"/>
                <a:gd name="T8" fmla="*/ 172 w 563"/>
                <a:gd name="T9" fmla="*/ 0 h 448"/>
                <a:gd name="T10" fmla="*/ 134 w 563"/>
                <a:gd name="T11" fmla="*/ 9 h 448"/>
                <a:gd name="T12" fmla="*/ 77 w 563"/>
                <a:gd name="T13" fmla="*/ 29 h 448"/>
                <a:gd name="T14" fmla="*/ 19 w 563"/>
                <a:gd name="T15" fmla="*/ 67 h 448"/>
                <a:gd name="T16" fmla="*/ 57 w 563"/>
                <a:gd name="T17" fmla="*/ 86 h 448"/>
                <a:gd name="T18" fmla="*/ 86 w 563"/>
                <a:gd name="T19" fmla="*/ 95 h 448"/>
                <a:gd name="T20" fmla="*/ 105 w 563"/>
                <a:gd name="T21" fmla="*/ 105 h 448"/>
                <a:gd name="T22" fmla="*/ 105 w 563"/>
                <a:gd name="T23" fmla="*/ 124 h 448"/>
                <a:gd name="T24" fmla="*/ 57 w 563"/>
                <a:gd name="T25" fmla="*/ 114 h 448"/>
                <a:gd name="T26" fmla="*/ 19 w 563"/>
                <a:gd name="T27" fmla="*/ 124 h 448"/>
                <a:gd name="T28" fmla="*/ 10 w 563"/>
                <a:gd name="T29" fmla="*/ 143 h 448"/>
                <a:gd name="T30" fmla="*/ 29 w 563"/>
                <a:gd name="T31" fmla="*/ 172 h 448"/>
                <a:gd name="T32" fmla="*/ 77 w 563"/>
                <a:gd name="T33" fmla="*/ 162 h 448"/>
                <a:gd name="T34" fmla="*/ 96 w 563"/>
                <a:gd name="T35" fmla="*/ 172 h 448"/>
                <a:gd name="T36" fmla="*/ 86 w 563"/>
                <a:gd name="T37" fmla="*/ 210 h 448"/>
                <a:gd name="T38" fmla="*/ 48 w 563"/>
                <a:gd name="T39" fmla="*/ 239 h 448"/>
                <a:gd name="T40" fmla="*/ 38 w 563"/>
                <a:gd name="T41" fmla="*/ 277 h 448"/>
                <a:gd name="T42" fmla="*/ 57 w 563"/>
                <a:gd name="T43" fmla="*/ 305 h 448"/>
                <a:gd name="T44" fmla="*/ 86 w 563"/>
                <a:gd name="T45" fmla="*/ 305 h 448"/>
                <a:gd name="T46" fmla="*/ 115 w 563"/>
                <a:gd name="T47" fmla="*/ 324 h 448"/>
                <a:gd name="T48" fmla="*/ 134 w 563"/>
                <a:gd name="T49" fmla="*/ 334 h 448"/>
                <a:gd name="T50" fmla="*/ 162 w 563"/>
                <a:gd name="T51" fmla="*/ 334 h 448"/>
                <a:gd name="T52" fmla="*/ 115 w 563"/>
                <a:gd name="T53" fmla="*/ 391 h 448"/>
                <a:gd name="T54" fmla="*/ 86 w 563"/>
                <a:gd name="T55" fmla="*/ 410 h 448"/>
                <a:gd name="T56" fmla="*/ 48 w 563"/>
                <a:gd name="T57" fmla="*/ 429 h 448"/>
                <a:gd name="T58" fmla="*/ 67 w 563"/>
                <a:gd name="T59" fmla="*/ 429 h 448"/>
                <a:gd name="T60" fmla="*/ 96 w 563"/>
                <a:gd name="T61" fmla="*/ 420 h 448"/>
                <a:gd name="T62" fmla="*/ 143 w 563"/>
                <a:gd name="T63" fmla="*/ 401 h 448"/>
                <a:gd name="T64" fmla="*/ 191 w 563"/>
                <a:gd name="T65" fmla="*/ 353 h 448"/>
                <a:gd name="T66" fmla="*/ 200 w 563"/>
                <a:gd name="T67" fmla="*/ 324 h 448"/>
                <a:gd name="T68" fmla="*/ 229 w 563"/>
                <a:gd name="T69" fmla="*/ 296 h 448"/>
                <a:gd name="T70" fmla="*/ 267 w 563"/>
                <a:gd name="T71" fmla="*/ 277 h 448"/>
                <a:gd name="T72" fmla="*/ 239 w 563"/>
                <a:gd name="T73" fmla="*/ 315 h 448"/>
                <a:gd name="T74" fmla="*/ 239 w 563"/>
                <a:gd name="T75" fmla="*/ 324 h 448"/>
                <a:gd name="T76" fmla="*/ 296 w 563"/>
                <a:gd name="T77" fmla="*/ 286 h 448"/>
                <a:gd name="T78" fmla="*/ 305 w 563"/>
                <a:gd name="T79" fmla="*/ 267 h 448"/>
                <a:gd name="T80" fmla="*/ 334 w 563"/>
                <a:gd name="T81" fmla="*/ 286 h 448"/>
                <a:gd name="T82" fmla="*/ 372 w 563"/>
                <a:gd name="T83" fmla="*/ 305 h 448"/>
                <a:gd name="T84" fmla="*/ 420 w 563"/>
                <a:gd name="T85" fmla="*/ 305 h 448"/>
                <a:gd name="T86" fmla="*/ 467 w 563"/>
                <a:gd name="T87" fmla="*/ 343 h 448"/>
                <a:gd name="T88" fmla="*/ 486 w 563"/>
                <a:gd name="T89" fmla="*/ 343 h 448"/>
                <a:gd name="T90" fmla="*/ 515 w 563"/>
                <a:gd name="T91" fmla="*/ 363 h 448"/>
                <a:gd name="T92" fmla="*/ 534 w 563"/>
                <a:gd name="T93" fmla="*/ 401 h 448"/>
                <a:gd name="T94" fmla="*/ 553 w 563"/>
                <a:gd name="T95" fmla="*/ 429 h 448"/>
                <a:gd name="T96" fmla="*/ 563 w 563"/>
                <a:gd name="T97" fmla="*/ 401 h 448"/>
                <a:gd name="T98" fmla="*/ 496 w 563"/>
                <a:gd name="T99" fmla="*/ 315 h 448"/>
                <a:gd name="T100" fmla="*/ 429 w 563"/>
                <a:gd name="T101" fmla="*/ 296 h 448"/>
                <a:gd name="T102" fmla="*/ 401 w 563"/>
                <a:gd name="T103" fmla="*/ 38 h 4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63"/>
                <a:gd name="T157" fmla="*/ 0 h 448"/>
                <a:gd name="T158" fmla="*/ 563 w 563"/>
                <a:gd name="T159" fmla="*/ 448 h 4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63" h="448">
                  <a:moveTo>
                    <a:pt x="401" y="38"/>
                  </a:moveTo>
                  <a:lnTo>
                    <a:pt x="382" y="29"/>
                  </a:lnTo>
                  <a:lnTo>
                    <a:pt x="372" y="29"/>
                  </a:lnTo>
                  <a:lnTo>
                    <a:pt x="362" y="29"/>
                  </a:lnTo>
                  <a:lnTo>
                    <a:pt x="343" y="29"/>
                  </a:lnTo>
                  <a:lnTo>
                    <a:pt x="324" y="19"/>
                  </a:lnTo>
                  <a:lnTo>
                    <a:pt x="315" y="19"/>
                  </a:lnTo>
                  <a:lnTo>
                    <a:pt x="305" y="19"/>
                  </a:lnTo>
                  <a:lnTo>
                    <a:pt x="296" y="19"/>
                  </a:lnTo>
                  <a:lnTo>
                    <a:pt x="277" y="19"/>
                  </a:lnTo>
                  <a:lnTo>
                    <a:pt x="267" y="9"/>
                  </a:lnTo>
                  <a:lnTo>
                    <a:pt x="248" y="19"/>
                  </a:lnTo>
                  <a:lnTo>
                    <a:pt x="239" y="19"/>
                  </a:lnTo>
                  <a:lnTo>
                    <a:pt x="229" y="19"/>
                  </a:lnTo>
                  <a:lnTo>
                    <a:pt x="239" y="9"/>
                  </a:lnTo>
                  <a:lnTo>
                    <a:pt x="229" y="9"/>
                  </a:lnTo>
                  <a:lnTo>
                    <a:pt x="219" y="9"/>
                  </a:lnTo>
                  <a:lnTo>
                    <a:pt x="200" y="9"/>
                  </a:lnTo>
                  <a:lnTo>
                    <a:pt x="191" y="0"/>
                  </a:lnTo>
                  <a:lnTo>
                    <a:pt x="181" y="0"/>
                  </a:lnTo>
                  <a:lnTo>
                    <a:pt x="181" y="9"/>
                  </a:lnTo>
                  <a:lnTo>
                    <a:pt x="172" y="0"/>
                  </a:lnTo>
                  <a:lnTo>
                    <a:pt x="181" y="0"/>
                  </a:lnTo>
                  <a:lnTo>
                    <a:pt x="172" y="0"/>
                  </a:lnTo>
                  <a:lnTo>
                    <a:pt x="162" y="0"/>
                  </a:lnTo>
                  <a:lnTo>
                    <a:pt x="153" y="9"/>
                  </a:lnTo>
                  <a:lnTo>
                    <a:pt x="134" y="9"/>
                  </a:lnTo>
                  <a:lnTo>
                    <a:pt x="115" y="9"/>
                  </a:lnTo>
                  <a:lnTo>
                    <a:pt x="96" y="19"/>
                  </a:lnTo>
                  <a:lnTo>
                    <a:pt x="77" y="29"/>
                  </a:lnTo>
                  <a:lnTo>
                    <a:pt x="67" y="48"/>
                  </a:lnTo>
                  <a:lnTo>
                    <a:pt x="57" y="57"/>
                  </a:lnTo>
                  <a:lnTo>
                    <a:pt x="19" y="57"/>
                  </a:lnTo>
                  <a:lnTo>
                    <a:pt x="19" y="67"/>
                  </a:lnTo>
                  <a:lnTo>
                    <a:pt x="29" y="67"/>
                  </a:lnTo>
                  <a:lnTo>
                    <a:pt x="48" y="76"/>
                  </a:lnTo>
                  <a:lnTo>
                    <a:pt x="57" y="86"/>
                  </a:lnTo>
                  <a:lnTo>
                    <a:pt x="57" y="95"/>
                  </a:lnTo>
                  <a:lnTo>
                    <a:pt x="67" y="95"/>
                  </a:lnTo>
                  <a:lnTo>
                    <a:pt x="77" y="95"/>
                  </a:lnTo>
                  <a:lnTo>
                    <a:pt x="86" y="95"/>
                  </a:lnTo>
                  <a:lnTo>
                    <a:pt x="96" y="95"/>
                  </a:lnTo>
                  <a:lnTo>
                    <a:pt x="86" y="105"/>
                  </a:lnTo>
                  <a:lnTo>
                    <a:pt x="96" y="105"/>
                  </a:lnTo>
                  <a:lnTo>
                    <a:pt x="105" y="105"/>
                  </a:lnTo>
                  <a:lnTo>
                    <a:pt x="115" y="105"/>
                  </a:lnTo>
                  <a:lnTo>
                    <a:pt x="124" y="105"/>
                  </a:lnTo>
                  <a:lnTo>
                    <a:pt x="115" y="114"/>
                  </a:lnTo>
                  <a:lnTo>
                    <a:pt x="105" y="114"/>
                  </a:lnTo>
                  <a:lnTo>
                    <a:pt x="105" y="124"/>
                  </a:lnTo>
                  <a:lnTo>
                    <a:pt x="96" y="124"/>
                  </a:lnTo>
                  <a:lnTo>
                    <a:pt x="86" y="124"/>
                  </a:lnTo>
                  <a:lnTo>
                    <a:pt x="77" y="124"/>
                  </a:lnTo>
                  <a:lnTo>
                    <a:pt x="57" y="124"/>
                  </a:lnTo>
                  <a:lnTo>
                    <a:pt x="57" y="114"/>
                  </a:lnTo>
                  <a:lnTo>
                    <a:pt x="48" y="114"/>
                  </a:lnTo>
                  <a:lnTo>
                    <a:pt x="29" y="114"/>
                  </a:lnTo>
                  <a:lnTo>
                    <a:pt x="29" y="124"/>
                  </a:lnTo>
                  <a:lnTo>
                    <a:pt x="19" y="124"/>
                  </a:lnTo>
                  <a:lnTo>
                    <a:pt x="19" y="134"/>
                  </a:lnTo>
                  <a:lnTo>
                    <a:pt x="10" y="134"/>
                  </a:lnTo>
                  <a:lnTo>
                    <a:pt x="0" y="143"/>
                  </a:lnTo>
                  <a:lnTo>
                    <a:pt x="10" y="143"/>
                  </a:lnTo>
                  <a:lnTo>
                    <a:pt x="19" y="153"/>
                  </a:lnTo>
                  <a:lnTo>
                    <a:pt x="29" y="153"/>
                  </a:lnTo>
                  <a:lnTo>
                    <a:pt x="19" y="153"/>
                  </a:lnTo>
                  <a:lnTo>
                    <a:pt x="10" y="153"/>
                  </a:lnTo>
                  <a:lnTo>
                    <a:pt x="29" y="172"/>
                  </a:lnTo>
                  <a:lnTo>
                    <a:pt x="38" y="172"/>
                  </a:lnTo>
                  <a:lnTo>
                    <a:pt x="48" y="172"/>
                  </a:lnTo>
                  <a:lnTo>
                    <a:pt x="57" y="172"/>
                  </a:lnTo>
                  <a:lnTo>
                    <a:pt x="77" y="172"/>
                  </a:lnTo>
                  <a:lnTo>
                    <a:pt x="77" y="162"/>
                  </a:lnTo>
                  <a:lnTo>
                    <a:pt x="86" y="162"/>
                  </a:lnTo>
                  <a:lnTo>
                    <a:pt x="96" y="162"/>
                  </a:lnTo>
                  <a:lnTo>
                    <a:pt x="105" y="162"/>
                  </a:lnTo>
                  <a:lnTo>
                    <a:pt x="105" y="172"/>
                  </a:lnTo>
                  <a:lnTo>
                    <a:pt x="96" y="172"/>
                  </a:lnTo>
                  <a:lnTo>
                    <a:pt x="105" y="181"/>
                  </a:lnTo>
                  <a:lnTo>
                    <a:pt x="105" y="191"/>
                  </a:lnTo>
                  <a:lnTo>
                    <a:pt x="96" y="210"/>
                  </a:lnTo>
                  <a:lnTo>
                    <a:pt x="86" y="210"/>
                  </a:lnTo>
                  <a:lnTo>
                    <a:pt x="77" y="210"/>
                  </a:lnTo>
                  <a:lnTo>
                    <a:pt x="57" y="219"/>
                  </a:lnTo>
                  <a:lnTo>
                    <a:pt x="57" y="210"/>
                  </a:lnTo>
                  <a:lnTo>
                    <a:pt x="48" y="219"/>
                  </a:lnTo>
                  <a:lnTo>
                    <a:pt x="48" y="239"/>
                  </a:lnTo>
                  <a:lnTo>
                    <a:pt x="38" y="239"/>
                  </a:lnTo>
                  <a:lnTo>
                    <a:pt x="29" y="258"/>
                  </a:lnTo>
                  <a:lnTo>
                    <a:pt x="29" y="267"/>
                  </a:lnTo>
                  <a:lnTo>
                    <a:pt x="38" y="277"/>
                  </a:lnTo>
                  <a:lnTo>
                    <a:pt x="48" y="277"/>
                  </a:lnTo>
                  <a:lnTo>
                    <a:pt x="38" y="286"/>
                  </a:lnTo>
                  <a:lnTo>
                    <a:pt x="57" y="305"/>
                  </a:lnTo>
                  <a:lnTo>
                    <a:pt x="67" y="305"/>
                  </a:lnTo>
                  <a:lnTo>
                    <a:pt x="77" y="305"/>
                  </a:lnTo>
                  <a:lnTo>
                    <a:pt x="77" y="296"/>
                  </a:lnTo>
                  <a:lnTo>
                    <a:pt x="86" y="296"/>
                  </a:lnTo>
                  <a:lnTo>
                    <a:pt x="86" y="305"/>
                  </a:lnTo>
                  <a:lnTo>
                    <a:pt x="86" y="315"/>
                  </a:lnTo>
                  <a:lnTo>
                    <a:pt x="86" y="324"/>
                  </a:lnTo>
                  <a:lnTo>
                    <a:pt x="86" y="343"/>
                  </a:lnTo>
                  <a:lnTo>
                    <a:pt x="96" y="334"/>
                  </a:lnTo>
                  <a:lnTo>
                    <a:pt x="115" y="324"/>
                  </a:lnTo>
                  <a:lnTo>
                    <a:pt x="115" y="334"/>
                  </a:lnTo>
                  <a:lnTo>
                    <a:pt x="124" y="334"/>
                  </a:lnTo>
                  <a:lnTo>
                    <a:pt x="124" y="343"/>
                  </a:lnTo>
                  <a:lnTo>
                    <a:pt x="134" y="343"/>
                  </a:lnTo>
                  <a:lnTo>
                    <a:pt x="134" y="334"/>
                  </a:lnTo>
                  <a:lnTo>
                    <a:pt x="143" y="334"/>
                  </a:lnTo>
                  <a:lnTo>
                    <a:pt x="153" y="334"/>
                  </a:lnTo>
                  <a:lnTo>
                    <a:pt x="162" y="334"/>
                  </a:lnTo>
                  <a:lnTo>
                    <a:pt x="153" y="353"/>
                  </a:lnTo>
                  <a:lnTo>
                    <a:pt x="153" y="372"/>
                  </a:lnTo>
                  <a:lnTo>
                    <a:pt x="143" y="372"/>
                  </a:lnTo>
                  <a:lnTo>
                    <a:pt x="134" y="382"/>
                  </a:lnTo>
                  <a:lnTo>
                    <a:pt x="115" y="391"/>
                  </a:lnTo>
                  <a:lnTo>
                    <a:pt x="115" y="401"/>
                  </a:lnTo>
                  <a:lnTo>
                    <a:pt x="115" y="410"/>
                  </a:lnTo>
                  <a:lnTo>
                    <a:pt x="105" y="410"/>
                  </a:lnTo>
                  <a:lnTo>
                    <a:pt x="96" y="401"/>
                  </a:lnTo>
                  <a:lnTo>
                    <a:pt x="86" y="410"/>
                  </a:lnTo>
                  <a:lnTo>
                    <a:pt x="77" y="420"/>
                  </a:lnTo>
                  <a:lnTo>
                    <a:pt x="77" y="429"/>
                  </a:lnTo>
                  <a:lnTo>
                    <a:pt x="67" y="429"/>
                  </a:lnTo>
                  <a:lnTo>
                    <a:pt x="57" y="429"/>
                  </a:lnTo>
                  <a:lnTo>
                    <a:pt x="48" y="429"/>
                  </a:lnTo>
                  <a:lnTo>
                    <a:pt x="48" y="439"/>
                  </a:lnTo>
                  <a:lnTo>
                    <a:pt x="48" y="448"/>
                  </a:lnTo>
                  <a:lnTo>
                    <a:pt x="57" y="439"/>
                  </a:lnTo>
                  <a:lnTo>
                    <a:pt x="67" y="439"/>
                  </a:lnTo>
                  <a:lnTo>
                    <a:pt x="67" y="429"/>
                  </a:lnTo>
                  <a:lnTo>
                    <a:pt x="77" y="429"/>
                  </a:lnTo>
                  <a:lnTo>
                    <a:pt x="86" y="420"/>
                  </a:lnTo>
                  <a:lnTo>
                    <a:pt x="86" y="410"/>
                  </a:lnTo>
                  <a:lnTo>
                    <a:pt x="96" y="420"/>
                  </a:lnTo>
                  <a:lnTo>
                    <a:pt x="105" y="420"/>
                  </a:lnTo>
                  <a:lnTo>
                    <a:pt x="124" y="410"/>
                  </a:lnTo>
                  <a:lnTo>
                    <a:pt x="134" y="401"/>
                  </a:lnTo>
                  <a:lnTo>
                    <a:pt x="143" y="401"/>
                  </a:lnTo>
                  <a:lnTo>
                    <a:pt x="162" y="382"/>
                  </a:lnTo>
                  <a:lnTo>
                    <a:pt x="172" y="382"/>
                  </a:lnTo>
                  <a:lnTo>
                    <a:pt x="172" y="372"/>
                  </a:lnTo>
                  <a:lnTo>
                    <a:pt x="181" y="363"/>
                  </a:lnTo>
                  <a:lnTo>
                    <a:pt x="191" y="353"/>
                  </a:lnTo>
                  <a:lnTo>
                    <a:pt x="200" y="353"/>
                  </a:lnTo>
                  <a:lnTo>
                    <a:pt x="200" y="343"/>
                  </a:lnTo>
                  <a:lnTo>
                    <a:pt x="210" y="334"/>
                  </a:lnTo>
                  <a:lnTo>
                    <a:pt x="210" y="324"/>
                  </a:lnTo>
                  <a:lnTo>
                    <a:pt x="200" y="324"/>
                  </a:lnTo>
                  <a:lnTo>
                    <a:pt x="210" y="315"/>
                  </a:lnTo>
                  <a:lnTo>
                    <a:pt x="219" y="315"/>
                  </a:lnTo>
                  <a:lnTo>
                    <a:pt x="229" y="305"/>
                  </a:lnTo>
                  <a:lnTo>
                    <a:pt x="229" y="296"/>
                  </a:lnTo>
                  <a:lnTo>
                    <a:pt x="248" y="267"/>
                  </a:lnTo>
                  <a:lnTo>
                    <a:pt x="267" y="267"/>
                  </a:lnTo>
                  <a:lnTo>
                    <a:pt x="267" y="258"/>
                  </a:lnTo>
                  <a:lnTo>
                    <a:pt x="277" y="258"/>
                  </a:lnTo>
                  <a:lnTo>
                    <a:pt x="267" y="277"/>
                  </a:lnTo>
                  <a:lnTo>
                    <a:pt x="258" y="277"/>
                  </a:lnTo>
                  <a:lnTo>
                    <a:pt x="248" y="286"/>
                  </a:lnTo>
                  <a:lnTo>
                    <a:pt x="239" y="305"/>
                  </a:lnTo>
                  <a:lnTo>
                    <a:pt x="239" y="315"/>
                  </a:lnTo>
                  <a:lnTo>
                    <a:pt x="239" y="305"/>
                  </a:lnTo>
                  <a:lnTo>
                    <a:pt x="248" y="315"/>
                  </a:lnTo>
                  <a:lnTo>
                    <a:pt x="239" y="315"/>
                  </a:lnTo>
                  <a:lnTo>
                    <a:pt x="239" y="324"/>
                  </a:lnTo>
                  <a:lnTo>
                    <a:pt x="248" y="324"/>
                  </a:lnTo>
                  <a:lnTo>
                    <a:pt x="267" y="315"/>
                  </a:lnTo>
                  <a:lnTo>
                    <a:pt x="277" y="305"/>
                  </a:lnTo>
                  <a:lnTo>
                    <a:pt x="286" y="305"/>
                  </a:lnTo>
                  <a:lnTo>
                    <a:pt x="296" y="286"/>
                  </a:lnTo>
                  <a:lnTo>
                    <a:pt x="286" y="286"/>
                  </a:lnTo>
                  <a:lnTo>
                    <a:pt x="296" y="286"/>
                  </a:lnTo>
                  <a:lnTo>
                    <a:pt x="286" y="277"/>
                  </a:lnTo>
                  <a:lnTo>
                    <a:pt x="296" y="267"/>
                  </a:lnTo>
                  <a:lnTo>
                    <a:pt x="305" y="267"/>
                  </a:lnTo>
                  <a:lnTo>
                    <a:pt x="296" y="277"/>
                  </a:lnTo>
                  <a:lnTo>
                    <a:pt x="305" y="277"/>
                  </a:lnTo>
                  <a:lnTo>
                    <a:pt x="315" y="277"/>
                  </a:lnTo>
                  <a:lnTo>
                    <a:pt x="334" y="286"/>
                  </a:lnTo>
                  <a:lnTo>
                    <a:pt x="343" y="286"/>
                  </a:lnTo>
                  <a:lnTo>
                    <a:pt x="343" y="296"/>
                  </a:lnTo>
                  <a:lnTo>
                    <a:pt x="362" y="296"/>
                  </a:lnTo>
                  <a:lnTo>
                    <a:pt x="372" y="305"/>
                  </a:lnTo>
                  <a:lnTo>
                    <a:pt x="382" y="305"/>
                  </a:lnTo>
                  <a:lnTo>
                    <a:pt x="391" y="305"/>
                  </a:lnTo>
                  <a:lnTo>
                    <a:pt x="401" y="305"/>
                  </a:lnTo>
                  <a:lnTo>
                    <a:pt x="410" y="305"/>
                  </a:lnTo>
                  <a:lnTo>
                    <a:pt x="420" y="305"/>
                  </a:lnTo>
                  <a:lnTo>
                    <a:pt x="420" y="315"/>
                  </a:lnTo>
                  <a:lnTo>
                    <a:pt x="439" y="324"/>
                  </a:lnTo>
                  <a:lnTo>
                    <a:pt x="448" y="334"/>
                  </a:lnTo>
                  <a:lnTo>
                    <a:pt x="458" y="343"/>
                  </a:lnTo>
                  <a:lnTo>
                    <a:pt x="467" y="343"/>
                  </a:lnTo>
                  <a:lnTo>
                    <a:pt x="467" y="334"/>
                  </a:lnTo>
                  <a:lnTo>
                    <a:pt x="477" y="334"/>
                  </a:lnTo>
                  <a:lnTo>
                    <a:pt x="477" y="343"/>
                  </a:lnTo>
                  <a:lnTo>
                    <a:pt x="486" y="343"/>
                  </a:lnTo>
                  <a:lnTo>
                    <a:pt x="486" y="324"/>
                  </a:lnTo>
                  <a:lnTo>
                    <a:pt x="486" y="334"/>
                  </a:lnTo>
                  <a:lnTo>
                    <a:pt x="496" y="343"/>
                  </a:lnTo>
                  <a:lnTo>
                    <a:pt x="505" y="343"/>
                  </a:lnTo>
                  <a:lnTo>
                    <a:pt x="515" y="363"/>
                  </a:lnTo>
                  <a:lnTo>
                    <a:pt x="515" y="372"/>
                  </a:lnTo>
                  <a:lnTo>
                    <a:pt x="525" y="382"/>
                  </a:lnTo>
                  <a:lnTo>
                    <a:pt x="525" y="401"/>
                  </a:lnTo>
                  <a:lnTo>
                    <a:pt x="534" y="401"/>
                  </a:lnTo>
                  <a:lnTo>
                    <a:pt x="534" y="410"/>
                  </a:lnTo>
                  <a:lnTo>
                    <a:pt x="534" y="420"/>
                  </a:lnTo>
                  <a:lnTo>
                    <a:pt x="544" y="420"/>
                  </a:lnTo>
                  <a:lnTo>
                    <a:pt x="553" y="429"/>
                  </a:lnTo>
                  <a:lnTo>
                    <a:pt x="563" y="429"/>
                  </a:lnTo>
                  <a:lnTo>
                    <a:pt x="563" y="410"/>
                  </a:lnTo>
                  <a:lnTo>
                    <a:pt x="563" y="401"/>
                  </a:lnTo>
                  <a:lnTo>
                    <a:pt x="544" y="391"/>
                  </a:lnTo>
                  <a:lnTo>
                    <a:pt x="534" y="382"/>
                  </a:lnTo>
                  <a:lnTo>
                    <a:pt x="515" y="343"/>
                  </a:lnTo>
                  <a:lnTo>
                    <a:pt x="505" y="334"/>
                  </a:lnTo>
                  <a:lnTo>
                    <a:pt x="496" y="315"/>
                  </a:lnTo>
                  <a:lnTo>
                    <a:pt x="486" y="305"/>
                  </a:lnTo>
                  <a:lnTo>
                    <a:pt x="467" y="315"/>
                  </a:lnTo>
                  <a:lnTo>
                    <a:pt x="458" y="324"/>
                  </a:lnTo>
                  <a:lnTo>
                    <a:pt x="429" y="296"/>
                  </a:lnTo>
                  <a:lnTo>
                    <a:pt x="429" y="286"/>
                  </a:lnTo>
                  <a:lnTo>
                    <a:pt x="420" y="286"/>
                  </a:lnTo>
                  <a:lnTo>
                    <a:pt x="420" y="296"/>
                  </a:lnTo>
                  <a:lnTo>
                    <a:pt x="401" y="286"/>
                  </a:lnTo>
                  <a:lnTo>
                    <a:pt x="401"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40" name="Freeform 421">
              <a:extLst>
                <a:ext uri="{FF2B5EF4-FFF2-40B4-BE49-F238E27FC236}">
                  <a16:creationId xmlns:a16="http://schemas.microsoft.com/office/drawing/2014/main" id="{86045D21-6A0D-4611-B4B2-1568980303C2}"/>
                </a:ext>
              </a:extLst>
            </p:cNvPr>
            <p:cNvSpPr>
              <a:spLocks/>
            </p:cNvSpPr>
            <p:nvPr/>
          </p:nvSpPr>
          <p:spPr bwMode="gray">
            <a:xfrm>
              <a:off x="285" y="1555"/>
              <a:ext cx="401" cy="448"/>
            </a:xfrm>
            <a:custGeom>
              <a:avLst/>
              <a:gdLst>
                <a:gd name="T0" fmla="*/ 372 w 401"/>
                <a:gd name="T1" fmla="*/ 29 h 448"/>
                <a:gd name="T2" fmla="*/ 315 w 401"/>
                <a:gd name="T3" fmla="*/ 19 h 448"/>
                <a:gd name="T4" fmla="*/ 267 w 401"/>
                <a:gd name="T5" fmla="*/ 9 h 448"/>
                <a:gd name="T6" fmla="*/ 239 w 401"/>
                <a:gd name="T7" fmla="*/ 9 h 448"/>
                <a:gd name="T8" fmla="*/ 200 w 401"/>
                <a:gd name="T9" fmla="*/ 9 h 448"/>
                <a:gd name="T10" fmla="*/ 181 w 401"/>
                <a:gd name="T11" fmla="*/ 9 h 448"/>
                <a:gd name="T12" fmla="*/ 162 w 401"/>
                <a:gd name="T13" fmla="*/ 0 h 448"/>
                <a:gd name="T14" fmla="*/ 115 w 401"/>
                <a:gd name="T15" fmla="*/ 9 h 448"/>
                <a:gd name="T16" fmla="*/ 77 w 401"/>
                <a:gd name="T17" fmla="*/ 29 h 448"/>
                <a:gd name="T18" fmla="*/ 19 w 401"/>
                <a:gd name="T19" fmla="*/ 67 h 448"/>
                <a:gd name="T20" fmla="*/ 48 w 401"/>
                <a:gd name="T21" fmla="*/ 76 h 448"/>
                <a:gd name="T22" fmla="*/ 77 w 401"/>
                <a:gd name="T23" fmla="*/ 95 h 448"/>
                <a:gd name="T24" fmla="*/ 96 w 401"/>
                <a:gd name="T25" fmla="*/ 95 h 448"/>
                <a:gd name="T26" fmla="*/ 115 w 401"/>
                <a:gd name="T27" fmla="*/ 105 h 448"/>
                <a:gd name="T28" fmla="*/ 105 w 401"/>
                <a:gd name="T29" fmla="*/ 124 h 448"/>
                <a:gd name="T30" fmla="*/ 57 w 401"/>
                <a:gd name="T31" fmla="*/ 124 h 448"/>
                <a:gd name="T32" fmla="*/ 29 w 401"/>
                <a:gd name="T33" fmla="*/ 114 h 448"/>
                <a:gd name="T34" fmla="*/ 10 w 401"/>
                <a:gd name="T35" fmla="*/ 134 h 448"/>
                <a:gd name="T36" fmla="*/ 19 w 401"/>
                <a:gd name="T37" fmla="*/ 153 h 448"/>
                <a:gd name="T38" fmla="*/ 29 w 401"/>
                <a:gd name="T39" fmla="*/ 172 h 448"/>
                <a:gd name="T40" fmla="*/ 77 w 401"/>
                <a:gd name="T41" fmla="*/ 172 h 448"/>
                <a:gd name="T42" fmla="*/ 105 w 401"/>
                <a:gd name="T43" fmla="*/ 162 h 448"/>
                <a:gd name="T44" fmla="*/ 105 w 401"/>
                <a:gd name="T45" fmla="*/ 181 h 448"/>
                <a:gd name="T46" fmla="*/ 77 w 401"/>
                <a:gd name="T47" fmla="*/ 210 h 448"/>
                <a:gd name="T48" fmla="*/ 48 w 401"/>
                <a:gd name="T49" fmla="*/ 239 h 448"/>
                <a:gd name="T50" fmla="*/ 29 w 401"/>
                <a:gd name="T51" fmla="*/ 267 h 448"/>
                <a:gd name="T52" fmla="*/ 38 w 401"/>
                <a:gd name="T53" fmla="*/ 286 h 448"/>
                <a:gd name="T54" fmla="*/ 77 w 401"/>
                <a:gd name="T55" fmla="*/ 305 h 448"/>
                <a:gd name="T56" fmla="*/ 86 w 401"/>
                <a:gd name="T57" fmla="*/ 315 h 448"/>
                <a:gd name="T58" fmla="*/ 115 w 401"/>
                <a:gd name="T59" fmla="*/ 324 h 448"/>
                <a:gd name="T60" fmla="*/ 134 w 401"/>
                <a:gd name="T61" fmla="*/ 343 h 448"/>
                <a:gd name="T62" fmla="*/ 153 w 401"/>
                <a:gd name="T63" fmla="*/ 334 h 448"/>
                <a:gd name="T64" fmla="*/ 153 w 401"/>
                <a:gd name="T65" fmla="*/ 372 h 448"/>
                <a:gd name="T66" fmla="*/ 115 w 401"/>
                <a:gd name="T67" fmla="*/ 401 h 448"/>
                <a:gd name="T68" fmla="*/ 86 w 401"/>
                <a:gd name="T69" fmla="*/ 410 h 448"/>
                <a:gd name="T70" fmla="*/ 57 w 401"/>
                <a:gd name="T71" fmla="*/ 429 h 448"/>
                <a:gd name="T72" fmla="*/ 57 w 401"/>
                <a:gd name="T73" fmla="*/ 439 h 448"/>
                <a:gd name="T74" fmla="*/ 86 w 401"/>
                <a:gd name="T75" fmla="*/ 420 h 448"/>
                <a:gd name="T76" fmla="*/ 105 w 401"/>
                <a:gd name="T77" fmla="*/ 420 h 448"/>
                <a:gd name="T78" fmla="*/ 143 w 401"/>
                <a:gd name="T79" fmla="*/ 401 h 448"/>
                <a:gd name="T80" fmla="*/ 181 w 401"/>
                <a:gd name="T81" fmla="*/ 363 h 448"/>
                <a:gd name="T82" fmla="*/ 210 w 401"/>
                <a:gd name="T83" fmla="*/ 334 h 448"/>
                <a:gd name="T84" fmla="*/ 210 w 401"/>
                <a:gd name="T85" fmla="*/ 315 h 448"/>
                <a:gd name="T86" fmla="*/ 248 w 401"/>
                <a:gd name="T87" fmla="*/ 267 h 448"/>
                <a:gd name="T88" fmla="*/ 267 w 401"/>
                <a:gd name="T89" fmla="*/ 277 h 448"/>
                <a:gd name="T90" fmla="*/ 239 w 401"/>
                <a:gd name="T91" fmla="*/ 305 h 448"/>
                <a:gd name="T92" fmla="*/ 239 w 401"/>
                <a:gd name="T93" fmla="*/ 315 h 448"/>
                <a:gd name="T94" fmla="*/ 267 w 401"/>
                <a:gd name="T95" fmla="*/ 315 h 448"/>
                <a:gd name="T96" fmla="*/ 286 w 401"/>
                <a:gd name="T97" fmla="*/ 286 h 4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1"/>
                <a:gd name="T148" fmla="*/ 0 h 448"/>
                <a:gd name="T149" fmla="*/ 401 w 401"/>
                <a:gd name="T150" fmla="*/ 448 h 4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1" h="448">
                  <a:moveTo>
                    <a:pt x="401" y="38"/>
                  </a:moveTo>
                  <a:lnTo>
                    <a:pt x="382" y="29"/>
                  </a:lnTo>
                  <a:lnTo>
                    <a:pt x="372" y="29"/>
                  </a:lnTo>
                  <a:lnTo>
                    <a:pt x="362" y="29"/>
                  </a:lnTo>
                  <a:lnTo>
                    <a:pt x="343" y="29"/>
                  </a:lnTo>
                  <a:lnTo>
                    <a:pt x="324" y="19"/>
                  </a:lnTo>
                  <a:lnTo>
                    <a:pt x="315" y="19"/>
                  </a:lnTo>
                  <a:lnTo>
                    <a:pt x="305" y="19"/>
                  </a:lnTo>
                  <a:lnTo>
                    <a:pt x="286" y="19"/>
                  </a:lnTo>
                  <a:lnTo>
                    <a:pt x="277" y="19"/>
                  </a:lnTo>
                  <a:lnTo>
                    <a:pt x="267" y="9"/>
                  </a:lnTo>
                  <a:lnTo>
                    <a:pt x="248" y="19"/>
                  </a:lnTo>
                  <a:lnTo>
                    <a:pt x="239" y="19"/>
                  </a:lnTo>
                  <a:lnTo>
                    <a:pt x="229" y="19"/>
                  </a:lnTo>
                  <a:lnTo>
                    <a:pt x="239" y="9"/>
                  </a:lnTo>
                  <a:lnTo>
                    <a:pt x="219" y="9"/>
                  </a:lnTo>
                  <a:lnTo>
                    <a:pt x="229" y="9"/>
                  </a:lnTo>
                  <a:lnTo>
                    <a:pt x="219" y="9"/>
                  </a:lnTo>
                  <a:lnTo>
                    <a:pt x="200" y="9"/>
                  </a:lnTo>
                  <a:lnTo>
                    <a:pt x="191" y="0"/>
                  </a:lnTo>
                  <a:lnTo>
                    <a:pt x="181" y="0"/>
                  </a:lnTo>
                  <a:lnTo>
                    <a:pt x="181" y="9"/>
                  </a:lnTo>
                  <a:lnTo>
                    <a:pt x="172" y="0"/>
                  </a:lnTo>
                  <a:lnTo>
                    <a:pt x="181" y="0"/>
                  </a:lnTo>
                  <a:lnTo>
                    <a:pt x="172" y="0"/>
                  </a:lnTo>
                  <a:lnTo>
                    <a:pt x="162" y="0"/>
                  </a:lnTo>
                  <a:lnTo>
                    <a:pt x="143" y="9"/>
                  </a:lnTo>
                  <a:lnTo>
                    <a:pt x="134" y="9"/>
                  </a:lnTo>
                  <a:lnTo>
                    <a:pt x="115" y="9"/>
                  </a:lnTo>
                  <a:lnTo>
                    <a:pt x="96" y="19"/>
                  </a:lnTo>
                  <a:lnTo>
                    <a:pt x="77" y="29"/>
                  </a:lnTo>
                  <a:lnTo>
                    <a:pt x="67" y="48"/>
                  </a:lnTo>
                  <a:lnTo>
                    <a:pt x="57" y="57"/>
                  </a:lnTo>
                  <a:lnTo>
                    <a:pt x="19" y="57"/>
                  </a:lnTo>
                  <a:lnTo>
                    <a:pt x="19" y="67"/>
                  </a:lnTo>
                  <a:lnTo>
                    <a:pt x="29" y="67"/>
                  </a:lnTo>
                  <a:lnTo>
                    <a:pt x="48" y="76"/>
                  </a:lnTo>
                  <a:lnTo>
                    <a:pt x="57" y="86"/>
                  </a:lnTo>
                  <a:lnTo>
                    <a:pt x="57" y="95"/>
                  </a:lnTo>
                  <a:lnTo>
                    <a:pt x="67" y="95"/>
                  </a:lnTo>
                  <a:lnTo>
                    <a:pt x="77" y="95"/>
                  </a:lnTo>
                  <a:lnTo>
                    <a:pt x="86" y="95"/>
                  </a:lnTo>
                  <a:lnTo>
                    <a:pt x="96" y="95"/>
                  </a:lnTo>
                  <a:lnTo>
                    <a:pt x="86" y="105"/>
                  </a:lnTo>
                  <a:lnTo>
                    <a:pt x="96" y="105"/>
                  </a:lnTo>
                  <a:lnTo>
                    <a:pt x="105" y="105"/>
                  </a:lnTo>
                  <a:lnTo>
                    <a:pt x="115" y="105"/>
                  </a:lnTo>
                  <a:lnTo>
                    <a:pt x="124" y="105"/>
                  </a:lnTo>
                  <a:lnTo>
                    <a:pt x="115" y="114"/>
                  </a:lnTo>
                  <a:lnTo>
                    <a:pt x="105" y="114"/>
                  </a:lnTo>
                  <a:lnTo>
                    <a:pt x="105" y="124"/>
                  </a:lnTo>
                  <a:lnTo>
                    <a:pt x="96" y="124"/>
                  </a:lnTo>
                  <a:lnTo>
                    <a:pt x="86" y="124"/>
                  </a:lnTo>
                  <a:lnTo>
                    <a:pt x="77" y="124"/>
                  </a:lnTo>
                  <a:lnTo>
                    <a:pt x="57" y="124"/>
                  </a:lnTo>
                  <a:lnTo>
                    <a:pt x="57" y="114"/>
                  </a:lnTo>
                  <a:lnTo>
                    <a:pt x="48" y="114"/>
                  </a:lnTo>
                  <a:lnTo>
                    <a:pt x="29" y="114"/>
                  </a:lnTo>
                  <a:lnTo>
                    <a:pt x="29" y="124"/>
                  </a:lnTo>
                  <a:lnTo>
                    <a:pt x="19" y="124"/>
                  </a:lnTo>
                  <a:lnTo>
                    <a:pt x="19" y="134"/>
                  </a:lnTo>
                  <a:lnTo>
                    <a:pt x="10" y="134"/>
                  </a:lnTo>
                  <a:lnTo>
                    <a:pt x="0" y="143"/>
                  </a:lnTo>
                  <a:lnTo>
                    <a:pt x="10" y="143"/>
                  </a:lnTo>
                  <a:lnTo>
                    <a:pt x="19" y="153"/>
                  </a:lnTo>
                  <a:lnTo>
                    <a:pt x="29" y="153"/>
                  </a:lnTo>
                  <a:lnTo>
                    <a:pt x="19" y="153"/>
                  </a:lnTo>
                  <a:lnTo>
                    <a:pt x="10" y="153"/>
                  </a:lnTo>
                  <a:lnTo>
                    <a:pt x="29" y="172"/>
                  </a:lnTo>
                  <a:lnTo>
                    <a:pt x="38" y="172"/>
                  </a:lnTo>
                  <a:lnTo>
                    <a:pt x="48" y="172"/>
                  </a:lnTo>
                  <a:lnTo>
                    <a:pt x="57" y="172"/>
                  </a:lnTo>
                  <a:lnTo>
                    <a:pt x="77" y="172"/>
                  </a:lnTo>
                  <a:lnTo>
                    <a:pt x="77" y="162"/>
                  </a:lnTo>
                  <a:lnTo>
                    <a:pt x="86" y="162"/>
                  </a:lnTo>
                  <a:lnTo>
                    <a:pt x="96" y="162"/>
                  </a:lnTo>
                  <a:lnTo>
                    <a:pt x="105" y="162"/>
                  </a:lnTo>
                  <a:lnTo>
                    <a:pt x="105" y="172"/>
                  </a:lnTo>
                  <a:lnTo>
                    <a:pt x="96" y="172"/>
                  </a:lnTo>
                  <a:lnTo>
                    <a:pt x="105" y="181"/>
                  </a:lnTo>
                  <a:lnTo>
                    <a:pt x="105" y="191"/>
                  </a:lnTo>
                  <a:lnTo>
                    <a:pt x="96" y="210"/>
                  </a:lnTo>
                  <a:lnTo>
                    <a:pt x="86" y="210"/>
                  </a:lnTo>
                  <a:lnTo>
                    <a:pt x="77" y="210"/>
                  </a:lnTo>
                  <a:lnTo>
                    <a:pt x="57" y="219"/>
                  </a:lnTo>
                  <a:lnTo>
                    <a:pt x="57" y="210"/>
                  </a:lnTo>
                  <a:lnTo>
                    <a:pt x="48" y="219"/>
                  </a:lnTo>
                  <a:lnTo>
                    <a:pt x="48" y="239"/>
                  </a:lnTo>
                  <a:lnTo>
                    <a:pt x="38" y="239"/>
                  </a:lnTo>
                  <a:lnTo>
                    <a:pt x="29" y="258"/>
                  </a:lnTo>
                  <a:lnTo>
                    <a:pt x="29" y="267"/>
                  </a:lnTo>
                  <a:lnTo>
                    <a:pt x="38" y="277"/>
                  </a:lnTo>
                  <a:lnTo>
                    <a:pt x="48" y="277"/>
                  </a:lnTo>
                  <a:lnTo>
                    <a:pt x="38" y="286"/>
                  </a:lnTo>
                  <a:lnTo>
                    <a:pt x="57" y="305"/>
                  </a:lnTo>
                  <a:lnTo>
                    <a:pt x="67" y="305"/>
                  </a:lnTo>
                  <a:lnTo>
                    <a:pt x="77" y="305"/>
                  </a:lnTo>
                  <a:lnTo>
                    <a:pt x="77" y="296"/>
                  </a:lnTo>
                  <a:lnTo>
                    <a:pt x="86" y="296"/>
                  </a:lnTo>
                  <a:lnTo>
                    <a:pt x="86" y="305"/>
                  </a:lnTo>
                  <a:lnTo>
                    <a:pt x="86" y="315"/>
                  </a:lnTo>
                  <a:lnTo>
                    <a:pt x="86" y="324"/>
                  </a:lnTo>
                  <a:lnTo>
                    <a:pt x="86" y="343"/>
                  </a:lnTo>
                  <a:lnTo>
                    <a:pt x="96" y="334"/>
                  </a:lnTo>
                  <a:lnTo>
                    <a:pt x="115" y="324"/>
                  </a:lnTo>
                  <a:lnTo>
                    <a:pt x="115" y="334"/>
                  </a:lnTo>
                  <a:lnTo>
                    <a:pt x="124" y="334"/>
                  </a:lnTo>
                  <a:lnTo>
                    <a:pt x="124" y="343"/>
                  </a:lnTo>
                  <a:lnTo>
                    <a:pt x="134" y="343"/>
                  </a:lnTo>
                  <a:lnTo>
                    <a:pt x="134" y="334"/>
                  </a:lnTo>
                  <a:lnTo>
                    <a:pt x="143" y="334"/>
                  </a:lnTo>
                  <a:lnTo>
                    <a:pt x="153" y="334"/>
                  </a:lnTo>
                  <a:lnTo>
                    <a:pt x="162" y="334"/>
                  </a:lnTo>
                  <a:lnTo>
                    <a:pt x="153" y="353"/>
                  </a:lnTo>
                  <a:lnTo>
                    <a:pt x="153" y="372"/>
                  </a:lnTo>
                  <a:lnTo>
                    <a:pt x="143" y="372"/>
                  </a:lnTo>
                  <a:lnTo>
                    <a:pt x="134" y="382"/>
                  </a:lnTo>
                  <a:lnTo>
                    <a:pt x="115" y="391"/>
                  </a:lnTo>
                  <a:lnTo>
                    <a:pt x="115" y="401"/>
                  </a:lnTo>
                  <a:lnTo>
                    <a:pt x="115" y="410"/>
                  </a:lnTo>
                  <a:lnTo>
                    <a:pt x="105" y="410"/>
                  </a:lnTo>
                  <a:lnTo>
                    <a:pt x="96" y="401"/>
                  </a:lnTo>
                  <a:lnTo>
                    <a:pt x="86" y="410"/>
                  </a:lnTo>
                  <a:lnTo>
                    <a:pt x="77" y="420"/>
                  </a:lnTo>
                  <a:lnTo>
                    <a:pt x="77" y="429"/>
                  </a:lnTo>
                  <a:lnTo>
                    <a:pt x="67" y="429"/>
                  </a:lnTo>
                  <a:lnTo>
                    <a:pt x="57" y="429"/>
                  </a:lnTo>
                  <a:lnTo>
                    <a:pt x="48" y="429"/>
                  </a:lnTo>
                  <a:lnTo>
                    <a:pt x="48" y="439"/>
                  </a:lnTo>
                  <a:lnTo>
                    <a:pt x="48" y="448"/>
                  </a:lnTo>
                  <a:lnTo>
                    <a:pt x="57" y="439"/>
                  </a:lnTo>
                  <a:lnTo>
                    <a:pt x="67" y="439"/>
                  </a:lnTo>
                  <a:lnTo>
                    <a:pt x="67" y="429"/>
                  </a:lnTo>
                  <a:lnTo>
                    <a:pt x="77" y="429"/>
                  </a:lnTo>
                  <a:lnTo>
                    <a:pt x="86" y="420"/>
                  </a:lnTo>
                  <a:lnTo>
                    <a:pt x="86" y="410"/>
                  </a:lnTo>
                  <a:lnTo>
                    <a:pt x="96" y="420"/>
                  </a:lnTo>
                  <a:lnTo>
                    <a:pt x="105" y="420"/>
                  </a:lnTo>
                  <a:lnTo>
                    <a:pt x="124" y="410"/>
                  </a:lnTo>
                  <a:lnTo>
                    <a:pt x="134" y="401"/>
                  </a:lnTo>
                  <a:lnTo>
                    <a:pt x="143" y="401"/>
                  </a:lnTo>
                  <a:lnTo>
                    <a:pt x="162" y="382"/>
                  </a:lnTo>
                  <a:lnTo>
                    <a:pt x="172" y="382"/>
                  </a:lnTo>
                  <a:lnTo>
                    <a:pt x="172" y="372"/>
                  </a:lnTo>
                  <a:lnTo>
                    <a:pt x="181" y="363"/>
                  </a:lnTo>
                  <a:lnTo>
                    <a:pt x="191" y="353"/>
                  </a:lnTo>
                  <a:lnTo>
                    <a:pt x="200" y="353"/>
                  </a:lnTo>
                  <a:lnTo>
                    <a:pt x="200" y="343"/>
                  </a:lnTo>
                  <a:lnTo>
                    <a:pt x="210" y="334"/>
                  </a:lnTo>
                  <a:lnTo>
                    <a:pt x="210" y="324"/>
                  </a:lnTo>
                  <a:lnTo>
                    <a:pt x="200" y="324"/>
                  </a:lnTo>
                  <a:lnTo>
                    <a:pt x="210" y="315"/>
                  </a:lnTo>
                  <a:lnTo>
                    <a:pt x="219" y="315"/>
                  </a:lnTo>
                  <a:lnTo>
                    <a:pt x="229" y="305"/>
                  </a:lnTo>
                  <a:lnTo>
                    <a:pt x="219" y="296"/>
                  </a:lnTo>
                  <a:lnTo>
                    <a:pt x="248" y="267"/>
                  </a:lnTo>
                  <a:lnTo>
                    <a:pt x="258" y="267"/>
                  </a:lnTo>
                  <a:lnTo>
                    <a:pt x="267" y="258"/>
                  </a:lnTo>
                  <a:lnTo>
                    <a:pt x="277" y="258"/>
                  </a:lnTo>
                  <a:lnTo>
                    <a:pt x="267" y="277"/>
                  </a:lnTo>
                  <a:lnTo>
                    <a:pt x="258" y="277"/>
                  </a:lnTo>
                  <a:lnTo>
                    <a:pt x="248" y="286"/>
                  </a:lnTo>
                  <a:lnTo>
                    <a:pt x="239" y="305"/>
                  </a:lnTo>
                  <a:lnTo>
                    <a:pt x="239" y="315"/>
                  </a:lnTo>
                  <a:lnTo>
                    <a:pt x="239" y="305"/>
                  </a:lnTo>
                  <a:lnTo>
                    <a:pt x="248" y="315"/>
                  </a:lnTo>
                  <a:lnTo>
                    <a:pt x="239" y="315"/>
                  </a:lnTo>
                  <a:lnTo>
                    <a:pt x="239" y="324"/>
                  </a:lnTo>
                  <a:lnTo>
                    <a:pt x="248" y="324"/>
                  </a:lnTo>
                  <a:lnTo>
                    <a:pt x="267" y="315"/>
                  </a:lnTo>
                  <a:lnTo>
                    <a:pt x="267" y="305"/>
                  </a:lnTo>
                  <a:lnTo>
                    <a:pt x="286" y="305"/>
                  </a:lnTo>
                  <a:lnTo>
                    <a:pt x="296" y="286"/>
                  </a:lnTo>
                  <a:lnTo>
                    <a:pt x="286" y="286"/>
                  </a:lnTo>
                  <a:lnTo>
                    <a:pt x="296" y="286"/>
                  </a:lnTo>
                  <a:lnTo>
                    <a:pt x="401"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41" name="Freeform 422">
              <a:extLst>
                <a:ext uri="{FF2B5EF4-FFF2-40B4-BE49-F238E27FC236}">
                  <a16:creationId xmlns:a16="http://schemas.microsoft.com/office/drawing/2014/main" id="{E2FF332C-4B41-4350-9AB3-9F23F2C7EAFD}"/>
                </a:ext>
              </a:extLst>
            </p:cNvPr>
            <p:cNvSpPr>
              <a:spLocks/>
            </p:cNvSpPr>
            <p:nvPr/>
          </p:nvSpPr>
          <p:spPr bwMode="gray">
            <a:xfrm>
              <a:off x="571" y="1593"/>
              <a:ext cx="277" cy="391"/>
            </a:xfrm>
            <a:custGeom>
              <a:avLst/>
              <a:gdLst>
                <a:gd name="T0" fmla="*/ 0 w 277"/>
                <a:gd name="T1" fmla="*/ 239 h 391"/>
                <a:gd name="T2" fmla="*/ 10 w 277"/>
                <a:gd name="T3" fmla="*/ 229 h 391"/>
                <a:gd name="T4" fmla="*/ 19 w 277"/>
                <a:gd name="T5" fmla="*/ 239 h 391"/>
                <a:gd name="T6" fmla="*/ 29 w 277"/>
                <a:gd name="T7" fmla="*/ 239 h 391"/>
                <a:gd name="T8" fmla="*/ 57 w 277"/>
                <a:gd name="T9" fmla="*/ 248 h 391"/>
                <a:gd name="T10" fmla="*/ 57 w 277"/>
                <a:gd name="T11" fmla="*/ 258 h 391"/>
                <a:gd name="T12" fmla="*/ 86 w 277"/>
                <a:gd name="T13" fmla="*/ 267 h 391"/>
                <a:gd name="T14" fmla="*/ 105 w 277"/>
                <a:gd name="T15" fmla="*/ 267 h 391"/>
                <a:gd name="T16" fmla="*/ 124 w 277"/>
                <a:gd name="T17" fmla="*/ 267 h 391"/>
                <a:gd name="T18" fmla="*/ 134 w 277"/>
                <a:gd name="T19" fmla="*/ 277 h 391"/>
                <a:gd name="T20" fmla="*/ 162 w 277"/>
                <a:gd name="T21" fmla="*/ 296 h 391"/>
                <a:gd name="T22" fmla="*/ 181 w 277"/>
                <a:gd name="T23" fmla="*/ 305 h 391"/>
                <a:gd name="T24" fmla="*/ 181 w 277"/>
                <a:gd name="T25" fmla="*/ 296 h 391"/>
                <a:gd name="T26" fmla="*/ 191 w 277"/>
                <a:gd name="T27" fmla="*/ 305 h 391"/>
                <a:gd name="T28" fmla="*/ 200 w 277"/>
                <a:gd name="T29" fmla="*/ 286 h 391"/>
                <a:gd name="T30" fmla="*/ 210 w 277"/>
                <a:gd name="T31" fmla="*/ 305 h 391"/>
                <a:gd name="T32" fmla="*/ 229 w 277"/>
                <a:gd name="T33" fmla="*/ 325 h 391"/>
                <a:gd name="T34" fmla="*/ 239 w 277"/>
                <a:gd name="T35" fmla="*/ 344 h 391"/>
                <a:gd name="T36" fmla="*/ 239 w 277"/>
                <a:gd name="T37" fmla="*/ 363 h 391"/>
                <a:gd name="T38" fmla="*/ 248 w 277"/>
                <a:gd name="T39" fmla="*/ 372 h 391"/>
                <a:gd name="T40" fmla="*/ 248 w 277"/>
                <a:gd name="T41" fmla="*/ 382 h 391"/>
                <a:gd name="T42" fmla="*/ 267 w 277"/>
                <a:gd name="T43" fmla="*/ 391 h 391"/>
                <a:gd name="T44" fmla="*/ 277 w 277"/>
                <a:gd name="T45" fmla="*/ 391 h 391"/>
                <a:gd name="T46" fmla="*/ 277 w 277"/>
                <a:gd name="T47" fmla="*/ 372 h 391"/>
                <a:gd name="T48" fmla="*/ 258 w 277"/>
                <a:gd name="T49" fmla="*/ 353 h 391"/>
                <a:gd name="T50" fmla="*/ 229 w 277"/>
                <a:gd name="T51" fmla="*/ 305 h 391"/>
                <a:gd name="T52" fmla="*/ 210 w 277"/>
                <a:gd name="T53" fmla="*/ 277 h 391"/>
                <a:gd name="T54" fmla="*/ 181 w 277"/>
                <a:gd name="T55" fmla="*/ 277 h 391"/>
                <a:gd name="T56" fmla="*/ 172 w 277"/>
                <a:gd name="T57" fmla="*/ 286 h 391"/>
                <a:gd name="T58" fmla="*/ 143 w 277"/>
                <a:gd name="T59" fmla="*/ 248 h 391"/>
                <a:gd name="T60" fmla="*/ 134 w 277"/>
                <a:gd name="T61" fmla="*/ 258 h 391"/>
                <a:gd name="T62" fmla="*/ 115 w 277"/>
                <a:gd name="T63" fmla="*/ 0 h 3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77"/>
                <a:gd name="T97" fmla="*/ 0 h 391"/>
                <a:gd name="T98" fmla="*/ 277 w 277"/>
                <a:gd name="T99" fmla="*/ 391 h 3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77" h="391">
                  <a:moveTo>
                    <a:pt x="10" y="248"/>
                  </a:moveTo>
                  <a:lnTo>
                    <a:pt x="0" y="239"/>
                  </a:lnTo>
                  <a:lnTo>
                    <a:pt x="10" y="229"/>
                  </a:lnTo>
                  <a:lnTo>
                    <a:pt x="10" y="239"/>
                  </a:lnTo>
                  <a:lnTo>
                    <a:pt x="19" y="239"/>
                  </a:lnTo>
                  <a:lnTo>
                    <a:pt x="29" y="239"/>
                  </a:lnTo>
                  <a:lnTo>
                    <a:pt x="48" y="248"/>
                  </a:lnTo>
                  <a:lnTo>
                    <a:pt x="57" y="248"/>
                  </a:lnTo>
                  <a:lnTo>
                    <a:pt x="57" y="258"/>
                  </a:lnTo>
                  <a:lnTo>
                    <a:pt x="76" y="258"/>
                  </a:lnTo>
                  <a:lnTo>
                    <a:pt x="86" y="267"/>
                  </a:lnTo>
                  <a:lnTo>
                    <a:pt x="96" y="267"/>
                  </a:lnTo>
                  <a:lnTo>
                    <a:pt x="105" y="267"/>
                  </a:lnTo>
                  <a:lnTo>
                    <a:pt x="115" y="267"/>
                  </a:lnTo>
                  <a:lnTo>
                    <a:pt x="124" y="267"/>
                  </a:lnTo>
                  <a:lnTo>
                    <a:pt x="134" y="267"/>
                  </a:lnTo>
                  <a:lnTo>
                    <a:pt x="134" y="277"/>
                  </a:lnTo>
                  <a:lnTo>
                    <a:pt x="153" y="286"/>
                  </a:lnTo>
                  <a:lnTo>
                    <a:pt x="162" y="296"/>
                  </a:lnTo>
                  <a:lnTo>
                    <a:pt x="172" y="305"/>
                  </a:lnTo>
                  <a:lnTo>
                    <a:pt x="181" y="305"/>
                  </a:lnTo>
                  <a:lnTo>
                    <a:pt x="181" y="296"/>
                  </a:lnTo>
                  <a:lnTo>
                    <a:pt x="191" y="296"/>
                  </a:lnTo>
                  <a:lnTo>
                    <a:pt x="191" y="305"/>
                  </a:lnTo>
                  <a:lnTo>
                    <a:pt x="200" y="305"/>
                  </a:lnTo>
                  <a:lnTo>
                    <a:pt x="200" y="286"/>
                  </a:lnTo>
                  <a:lnTo>
                    <a:pt x="200" y="296"/>
                  </a:lnTo>
                  <a:lnTo>
                    <a:pt x="210" y="305"/>
                  </a:lnTo>
                  <a:lnTo>
                    <a:pt x="219" y="305"/>
                  </a:lnTo>
                  <a:lnTo>
                    <a:pt x="229" y="325"/>
                  </a:lnTo>
                  <a:lnTo>
                    <a:pt x="229" y="334"/>
                  </a:lnTo>
                  <a:lnTo>
                    <a:pt x="239" y="344"/>
                  </a:lnTo>
                  <a:lnTo>
                    <a:pt x="239" y="363"/>
                  </a:lnTo>
                  <a:lnTo>
                    <a:pt x="248" y="363"/>
                  </a:lnTo>
                  <a:lnTo>
                    <a:pt x="248" y="372"/>
                  </a:lnTo>
                  <a:lnTo>
                    <a:pt x="248" y="382"/>
                  </a:lnTo>
                  <a:lnTo>
                    <a:pt x="258" y="382"/>
                  </a:lnTo>
                  <a:lnTo>
                    <a:pt x="267" y="391"/>
                  </a:lnTo>
                  <a:lnTo>
                    <a:pt x="277" y="391"/>
                  </a:lnTo>
                  <a:lnTo>
                    <a:pt x="277" y="372"/>
                  </a:lnTo>
                  <a:lnTo>
                    <a:pt x="277" y="363"/>
                  </a:lnTo>
                  <a:lnTo>
                    <a:pt x="258" y="353"/>
                  </a:lnTo>
                  <a:lnTo>
                    <a:pt x="248" y="344"/>
                  </a:lnTo>
                  <a:lnTo>
                    <a:pt x="229" y="305"/>
                  </a:lnTo>
                  <a:lnTo>
                    <a:pt x="219" y="296"/>
                  </a:lnTo>
                  <a:lnTo>
                    <a:pt x="210" y="277"/>
                  </a:lnTo>
                  <a:lnTo>
                    <a:pt x="200" y="267"/>
                  </a:lnTo>
                  <a:lnTo>
                    <a:pt x="181" y="277"/>
                  </a:lnTo>
                  <a:lnTo>
                    <a:pt x="172" y="286"/>
                  </a:lnTo>
                  <a:lnTo>
                    <a:pt x="143" y="258"/>
                  </a:lnTo>
                  <a:lnTo>
                    <a:pt x="143" y="248"/>
                  </a:lnTo>
                  <a:lnTo>
                    <a:pt x="134" y="248"/>
                  </a:lnTo>
                  <a:lnTo>
                    <a:pt x="134" y="258"/>
                  </a:lnTo>
                  <a:lnTo>
                    <a:pt x="115" y="248"/>
                  </a:lnTo>
                  <a:lnTo>
                    <a:pt x="115" y="0"/>
                  </a:lnTo>
                  <a:lnTo>
                    <a:pt x="10" y="24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42" name="Freeform 423">
              <a:extLst>
                <a:ext uri="{FF2B5EF4-FFF2-40B4-BE49-F238E27FC236}">
                  <a16:creationId xmlns:a16="http://schemas.microsoft.com/office/drawing/2014/main" id="{270684FA-4ACA-450B-8AD3-020DA665B5B3}"/>
                </a:ext>
              </a:extLst>
            </p:cNvPr>
            <p:cNvSpPr>
              <a:spLocks/>
            </p:cNvSpPr>
            <p:nvPr/>
          </p:nvSpPr>
          <p:spPr bwMode="gray">
            <a:xfrm>
              <a:off x="686" y="1536"/>
              <a:ext cx="1258" cy="716"/>
            </a:xfrm>
            <a:custGeom>
              <a:avLst/>
              <a:gdLst>
                <a:gd name="T0" fmla="*/ 838 w 1258"/>
                <a:gd name="T1" fmla="*/ 639 h 716"/>
                <a:gd name="T2" fmla="*/ 991 w 1258"/>
                <a:gd name="T3" fmla="*/ 649 h 716"/>
                <a:gd name="T4" fmla="*/ 1096 w 1258"/>
                <a:gd name="T5" fmla="*/ 649 h 716"/>
                <a:gd name="T6" fmla="*/ 1115 w 1258"/>
                <a:gd name="T7" fmla="*/ 658 h 716"/>
                <a:gd name="T8" fmla="*/ 1143 w 1258"/>
                <a:gd name="T9" fmla="*/ 668 h 716"/>
                <a:gd name="T10" fmla="*/ 1134 w 1258"/>
                <a:gd name="T11" fmla="*/ 639 h 716"/>
                <a:gd name="T12" fmla="*/ 1096 w 1258"/>
                <a:gd name="T13" fmla="*/ 592 h 716"/>
                <a:gd name="T14" fmla="*/ 1067 w 1258"/>
                <a:gd name="T15" fmla="*/ 592 h 716"/>
                <a:gd name="T16" fmla="*/ 1058 w 1258"/>
                <a:gd name="T17" fmla="*/ 592 h 716"/>
                <a:gd name="T18" fmla="*/ 1153 w 1258"/>
                <a:gd name="T19" fmla="*/ 553 h 716"/>
                <a:gd name="T20" fmla="*/ 1258 w 1258"/>
                <a:gd name="T21" fmla="*/ 506 h 716"/>
                <a:gd name="T22" fmla="*/ 1210 w 1258"/>
                <a:gd name="T23" fmla="*/ 477 h 716"/>
                <a:gd name="T24" fmla="*/ 1220 w 1258"/>
                <a:gd name="T25" fmla="*/ 448 h 716"/>
                <a:gd name="T26" fmla="*/ 1162 w 1258"/>
                <a:gd name="T27" fmla="*/ 401 h 716"/>
                <a:gd name="T28" fmla="*/ 1134 w 1258"/>
                <a:gd name="T29" fmla="*/ 324 h 716"/>
                <a:gd name="T30" fmla="*/ 1096 w 1258"/>
                <a:gd name="T31" fmla="*/ 353 h 716"/>
                <a:gd name="T32" fmla="*/ 1039 w 1258"/>
                <a:gd name="T33" fmla="*/ 353 h 716"/>
                <a:gd name="T34" fmla="*/ 1048 w 1258"/>
                <a:gd name="T35" fmla="*/ 334 h 716"/>
                <a:gd name="T36" fmla="*/ 1048 w 1258"/>
                <a:gd name="T37" fmla="*/ 286 h 716"/>
                <a:gd name="T38" fmla="*/ 991 w 1258"/>
                <a:gd name="T39" fmla="*/ 248 h 716"/>
                <a:gd name="T40" fmla="*/ 934 w 1258"/>
                <a:gd name="T41" fmla="*/ 277 h 716"/>
                <a:gd name="T42" fmla="*/ 924 w 1258"/>
                <a:gd name="T43" fmla="*/ 343 h 716"/>
                <a:gd name="T44" fmla="*/ 915 w 1258"/>
                <a:gd name="T45" fmla="*/ 448 h 716"/>
                <a:gd name="T46" fmla="*/ 915 w 1258"/>
                <a:gd name="T47" fmla="*/ 515 h 716"/>
                <a:gd name="T48" fmla="*/ 867 w 1258"/>
                <a:gd name="T49" fmla="*/ 496 h 716"/>
                <a:gd name="T50" fmla="*/ 819 w 1258"/>
                <a:gd name="T51" fmla="*/ 429 h 716"/>
                <a:gd name="T52" fmla="*/ 743 w 1258"/>
                <a:gd name="T53" fmla="*/ 391 h 716"/>
                <a:gd name="T54" fmla="*/ 686 w 1258"/>
                <a:gd name="T55" fmla="*/ 324 h 716"/>
                <a:gd name="T56" fmla="*/ 714 w 1258"/>
                <a:gd name="T57" fmla="*/ 238 h 716"/>
                <a:gd name="T58" fmla="*/ 753 w 1258"/>
                <a:gd name="T59" fmla="*/ 210 h 716"/>
                <a:gd name="T60" fmla="*/ 772 w 1258"/>
                <a:gd name="T61" fmla="*/ 162 h 716"/>
                <a:gd name="T62" fmla="*/ 810 w 1258"/>
                <a:gd name="T63" fmla="*/ 133 h 716"/>
                <a:gd name="T64" fmla="*/ 829 w 1258"/>
                <a:gd name="T65" fmla="*/ 114 h 716"/>
                <a:gd name="T66" fmla="*/ 877 w 1258"/>
                <a:gd name="T67" fmla="*/ 95 h 716"/>
                <a:gd name="T68" fmla="*/ 867 w 1258"/>
                <a:gd name="T69" fmla="*/ 57 h 716"/>
                <a:gd name="T70" fmla="*/ 829 w 1258"/>
                <a:gd name="T71" fmla="*/ 67 h 716"/>
                <a:gd name="T72" fmla="*/ 781 w 1258"/>
                <a:gd name="T73" fmla="*/ 95 h 716"/>
                <a:gd name="T74" fmla="*/ 753 w 1258"/>
                <a:gd name="T75" fmla="*/ 86 h 716"/>
                <a:gd name="T76" fmla="*/ 714 w 1258"/>
                <a:gd name="T77" fmla="*/ 48 h 716"/>
                <a:gd name="T78" fmla="*/ 695 w 1258"/>
                <a:gd name="T79" fmla="*/ 0 h 716"/>
                <a:gd name="T80" fmla="*/ 657 w 1258"/>
                <a:gd name="T81" fmla="*/ 28 h 716"/>
                <a:gd name="T82" fmla="*/ 686 w 1258"/>
                <a:gd name="T83" fmla="*/ 57 h 716"/>
                <a:gd name="T84" fmla="*/ 695 w 1258"/>
                <a:gd name="T85" fmla="*/ 76 h 716"/>
                <a:gd name="T86" fmla="*/ 667 w 1258"/>
                <a:gd name="T87" fmla="*/ 95 h 716"/>
                <a:gd name="T88" fmla="*/ 591 w 1258"/>
                <a:gd name="T89" fmla="*/ 95 h 716"/>
                <a:gd name="T90" fmla="*/ 514 w 1258"/>
                <a:gd name="T91" fmla="*/ 76 h 716"/>
                <a:gd name="T92" fmla="*/ 476 w 1258"/>
                <a:gd name="T93" fmla="*/ 114 h 716"/>
                <a:gd name="T94" fmla="*/ 390 w 1258"/>
                <a:gd name="T95" fmla="*/ 95 h 716"/>
                <a:gd name="T96" fmla="*/ 352 w 1258"/>
                <a:gd name="T97" fmla="*/ 67 h 716"/>
                <a:gd name="T98" fmla="*/ 247 w 1258"/>
                <a:gd name="T99" fmla="*/ 57 h 716"/>
                <a:gd name="T100" fmla="*/ 228 w 1258"/>
                <a:gd name="T101" fmla="*/ 57 h 716"/>
                <a:gd name="T102" fmla="*/ 181 w 1258"/>
                <a:gd name="T103" fmla="*/ 48 h 716"/>
                <a:gd name="T104" fmla="*/ 114 w 1258"/>
                <a:gd name="T105" fmla="*/ 67 h 716"/>
                <a:gd name="T106" fmla="*/ 143 w 1258"/>
                <a:gd name="T107" fmla="*/ 48 h 716"/>
                <a:gd name="T108" fmla="*/ 85 w 1258"/>
                <a:gd name="T109" fmla="*/ 57 h 716"/>
                <a:gd name="T110" fmla="*/ 19 w 1258"/>
                <a:gd name="T111" fmla="*/ 57 h 716"/>
                <a:gd name="T112" fmla="*/ 57 w 1258"/>
                <a:gd name="T113" fmla="*/ 343 h 716"/>
                <a:gd name="T114" fmla="*/ 162 w 1258"/>
                <a:gd name="T115" fmla="*/ 448 h 716"/>
                <a:gd name="T116" fmla="*/ 171 w 1258"/>
                <a:gd name="T117" fmla="*/ 496 h 716"/>
                <a:gd name="T118" fmla="*/ 228 w 1258"/>
                <a:gd name="T119" fmla="*/ 544 h 7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58"/>
                <a:gd name="T181" fmla="*/ 0 h 716"/>
                <a:gd name="T182" fmla="*/ 1258 w 1258"/>
                <a:gd name="T183" fmla="*/ 716 h 71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58" h="716">
                  <a:moveTo>
                    <a:pt x="276" y="582"/>
                  </a:moveTo>
                  <a:lnTo>
                    <a:pt x="686" y="582"/>
                  </a:lnTo>
                  <a:lnTo>
                    <a:pt x="695" y="592"/>
                  </a:lnTo>
                  <a:lnTo>
                    <a:pt x="714" y="592"/>
                  </a:lnTo>
                  <a:lnTo>
                    <a:pt x="724" y="592"/>
                  </a:lnTo>
                  <a:lnTo>
                    <a:pt x="743" y="592"/>
                  </a:lnTo>
                  <a:lnTo>
                    <a:pt x="753" y="601"/>
                  </a:lnTo>
                  <a:lnTo>
                    <a:pt x="781" y="592"/>
                  </a:lnTo>
                  <a:lnTo>
                    <a:pt x="829" y="620"/>
                  </a:lnTo>
                  <a:lnTo>
                    <a:pt x="838" y="639"/>
                  </a:lnTo>
                  <a:lnTo>
                    <a:pt x="867" y="668"/>
                  </a:lnTo>
                  <a:lnTo>
                    <a:pt x="867" y="677"/>
                  </a:lnTo>
                  <a:lnTo>
                    <a:pt x="857" y="706"/>
                  </a:lnTo>
                  <a:lnTo>
                    <a:pt x="867" y="716"/>
                  </a:lnTo>
                  <a:lnTo>
                    <a:pt x="905" y="697"/>
                  </a:lnTo>
                  <a:lnTo>
                    <a:pt x="915" y="687"/>
                  </a:lnTo>
                  <a:lnTo>
                    <a:pt x="953" y="677"/>
                  </a:lnTo>
                  <a:lnTo>
                    <a:pt x="972" y="658"/>
                  </a:lnTo>
                  <a:lnTo>
                    <a:pt x="981" y="649"/>
                  </a:lnTo>
                  <a:lnTo>
                    <a:pt x="991" y="649"/>
                  </a:lnTo>
                  <a:lnTo>
                    <a:pt x="1000" y="658"/>
                  </a:lnTo>
                  <a:lnTo>
                    <a:pt x="1029" y="649"/>
                  </a:lnTo>
                  <a:lnTo>
                    <a:pt x="1048" y="611"/>
                  </a:lnTo>
                  <a:lnTo>
                    <a:pt x="1058" y="611"/>
                  </a:lnTo>
                  <a:lnTo>
                    <a:pt x="1077" y="620"/>
                  </a:lnTo>
                  <a:lnTo>
                    <a:pt x="1077" y="639"/>
                  </a:lnTo>
                  <a:lnTo>
                    <a:pt x="1086" y="649"/>
                  </a:lnTo>
                  <a:lnTo>
                    <a:pt x="1086" y="658"/>
                  </a:lnTo>
                  <a:lnTo>
                    <a:pt x="1096" y="649"/>
                  </a:lnTo>
                  <a:lnTo>
                    <a:pt x="1105" y="649"/>
                  </a:lnTo>
                  <a:lnTo>
                    <a:pt x="1115" y="649"/>
                  </a:lnTo>
                  <a:lnTo>
                    <a:pt x="1124" y="639"/>
                  </a:lnTo>
                  <a:lnTo>
                    <a:pt x="1124" y="649"/>
                  </a:lnTo>
                  <a:lnTo>
                    <a:pt x="1134" y="649"/>
                  </a:lnTo>
                  <a:lnTo>
                    <a:pt x="1124" y="658"/>
                  </a:lnTo>
                  <a:lnTo>
                    <a:pt x="1115" y="658"/>
                  </a:lnTo>
                  <a:lnTo>
                    <a:pt x="1105" y="668"/>
                  </a:lnTo>
                  <a:lnTo>
                    <a:pt x="1096" y="677"/>
                  </a:lnTo>
                  <a:lnTo>
                    <a:pt x="1105" y="687"/>
                  </a:lnTo>
                  <a:lnTo>
                    <a:pt x="1115" y="687"/>
                  </a:lnTo>
                  <a:lnTo>
                    <a:pt x="1124" y="677"/>
                  </a:lnTo>
                  <a:lnTo>
                    <a:pt x="1134" y="658"/>
                  </a:lnTo>
                  <a:lnTo>
                    <a:pt x="1143" y="668"/>
                  </a:lnTo>
                  <a:lnTo>
                    <a:pt x="1143" y="658"/>
                  </a:lnTo>
                  <a:lnTo>
                    <a:pt x="1153" y="658"/>
                  </a:lnTo>
                  <a:lnTo>
                    <a:pt x="1162" y="658"/>
                  </a:lnTo>
                  <a:lnTo>
                    <a:pt x="1172" y="649"/>
                  </a:lnTo>
                  <a:lnTo>
                    <a:pt x="1162" y="649"/>
                  </a:lnTo>
                  <a:lnTo>
                    <a:pt x="1162" y="639"/>
                  </a:lnTo>
                  <a:lnTo>
                    <a:pt x="1153" y="649"/>
                  </a:lnTo>
                  <a:lnTo>
                    <a:pt x="1143" y="649"/>
                  </a:lnTo>
                  <a:lnTo>
                    <a:pt x="1134" y="639"/>
                  </a:lnTo>
                  <a:lnTo>
                    <a:pt x="1115" y="630"/>
                  </a:lnTo>
                  <a:lnTo>
                    <a:pt x="1115" y="611"/>
                  </a:lnTo>
                  <a:lnTo>
                    <a:pt x="1115" y="601"/>
                  </a:lnTo>
                  <a:lnTo>
                    <a:pt x="1105" y="601"/>
                  </a:lnTo>
                  <a:lnTo>
                    <a:pt x="1096" y="601"/>
                  </a:lnTo>
                  <a:lnTo>
                    <a:pt x="1096" y="592"/>
                  </a:lnTo>
                  <a:lnTo>
                    <a:pt x="1105" y="592"/>
                  </a:lnTo>
                  <a:lnTo>
                    <a:pt x="1115" y="592"/>
                  </a:lnTo>
                  <a:lnTo>
                    <a:pt x="1134" y="582"/>
                  </a:lnTo>
                  <a:lnTo>
                    <a:pt x="1124" y="582"/>
                  </a:lnTo>
                  <a:lnTo>
                    <a:pt x="1115" y="572"/>
                  </a:lnTo>
                  <a:lnTo>
                    <a:pt x="1096" y="572"/>
                  </a:lnTo>
                  <a:lnTo>
                    <a:pt x="1086" y="582"/>
                  </a:lnTo>
                  <a:lnTo>
                    <a:pt x="1077" y="582"/>
                  </a:lnTo>
                  <a:lnTo>
                    <a:pt x="1067" y="592"/>
                  </a:lnTo>
                  <a:lnTo>
                    <a:pt x="1058" y="592"/>
                  </a:lnTo>
                  <a:lnTo>
                    <a:pt x="1048" y="611"/>
                  </a:lnTo>
                  <a:lnTo>
                    <a:pt x="1039" y="611"/>
                  </a:lnTo>
                  <a:lnTo>
                    <a:pt x="1029" y="620"/>
                  </a:lnTo>
                  <a:lnTo>
                    <a:pt x="1029" y="611"/>
                  </a:lnTo>
                  <a:lnTo>
                    <a:pt x="1039" y="601"/>
                  </a:lnTo>
                  <a:lnTo>
                    <a:pt x="1048" y="592"/>
                  </a:lnTo>
                  <a:lnTo>
                    <a:pt x="1058" y="592"/>
                  </a:lnTo>
                  <a:lnTo>
                    <a:pt x="1067" y="572"/>
                  </a:lnTo>
                  <a:lnTo>
                    <a:pt x="1086" y="572"/>
                  </a:lnTo>
                  <a:lnTo>
                    <a:pt x="1086" y="563"/>
                  </a:lnTo>
                  <a:lnTo>
                    <a:pt x="1096" y="553"/>
                  </a:lnTo>
                  <a:lnTo>
                    <a:pt x="1105" y="553"/>
                  </a:lnTo>
                  <a:lnTo>
                    <a:pt x="1134" y="553"/>
                  </a:lnTo>
                  <a:lnTo>
                    <a:pt x="1143" y="553"/>
                  </a:lnTo>
                  <a:lnTo>
                    <a:pt x="1153" y="553"/>
                  </a:lnTo>
                  <a:lnTo>
                    <a:pt x="1162" y="553"/>
                  </a:lnTo>
                  <a:lnTo>
                    <a:pt x="1172" y="553"/>
                  </a:lnTo>
                  <a:lnTo>
                    <a:pt x="1191" y="553"/>
                  </a:lnTo>
                  <a:lnTo>
                    <a:pt x="1201" y="544"/>
                  </a:lnTo>
                  <a:lnTo>
                    <a:pt x="1210" y="534"/>
                  </a:lnTo>
                  <a:lnTo>
                    <a:pt x="1220" y="525"/>
                  </a:lnTo>
                  <a:lnTo>
                    <a:pt x="1239" y="525"/>
                  </a:lnTo>
                  <a:lnTo>
                    <a:pt x="1248" y="515"/>
                  </a:lnTo>
                  <a:lnTo>
                    <a:pt x="1258" y="506"/>
                  </a:lnTo>
                  <a:lnTo>
                    <a:pt x="1248" y="496"/>
                  </a:lnTo>
                  <a:lnTo>
                    <a:pt x="1258" y="487"/>
                  </a:lnTo>
                  <a:lnTo>
                    <a:pt x="1248" y="477"/>
                  </a:lnTo>
                  <a:lnTo>
                    <a:pt x="1239" y="477"/>
                  </a:lnTo>
                  <a:lnTo>
                    <a:pt x="1229" y="477"/>
                  </a:lnTo>
                  <a:lnTo>
                    <a:pt x="1229" y="467"/>
                  </a:lnTo>
                  <a:lnTo>
                    <a:pt x="1220" y="467"/>
                  </a:lnTo>
                  <a:lnTo>
                    <a:pt x="1210" y="467"/>
                  </a:lnTo>
                  <a:lnTo>
                    <a:pt x="1210" y="477"/>
                  </a:lnTo>
                  <a:lnTo>
                    <a:pt x="1201" y="477"/>
                  </a:lnTo>
                  <a:lnTo>
                    <a:pt x="1191" y="487"/>
                  </a:lnTo>
                  <a:lnTo>
                    <a:pt x="1182" y="487"/>
                  </a:lnTo>
                  <a:lnTo>
                    <a:pt x="1182" y="477"/>
                  </a:lnTo>
                  <a:lnTo>
                    <a:pt x="1191" y="477"/>
                  </a:lnTo>
                  <a:lnTo>
                    <a:pt x="1201" y="467"/>
                  </a:lnTo>
                  <a:lnTo>
                    <a:pt x="1220" y="458"/>
                  </a:lnTo>
                  <a:lnTo>
                    <a:pt x="1229" y="458"/>
                  </a:lnTo>
                  <a:lnTo>
                    <a:pt x="1229" y="448"/>
                  </a:lnTo>
                  <a:lnTo>
                    <a:pt x="1220" y="448"/>
                  </a:lnTo>
                  <a:lnTo>
                    <a:pt x="1210" y="448"/>
                  </a:lnTo>
                  <a:lnTo>
                    <a:pt x="1201" y="439"/>
                  </a:lnTo>
                  <a:lnTo>
                    <a:pt x="1191" y="439"/>
                  </a:lnTo>
                  <a:lnTo>
                    <a:pt x="1191" y="429"/>
                  </a:lnTo>
                  <a:lnTo>
                    <a:pt x="1182" y="420"/>
                  </a:lnTo>
                  <a:lnTo>
                    <a:pt x="1172" y="420"/>
                  </a:lnTo>
                  <a:lnTo>
                    <a:pt x="1162" y="410"/>
                  </a:lnTo>
                  <a:lnTo>
                    <a:pt x="1162" y="401"/>
                  </a:lnTo>
                  <a:lnTo>
                    <a:pt x="1172" y="401"/>
                  </a:lnTo>
                  <a:lnTo>
                    <a:pt x="1172" y="391"/>
                  </a:lnTo>
                  <a:lnTo>
                    <a:pt x="1162" y="391"/>
                  </a:lnTo>
                  <a:lnTo>
                    <a:pt x="1162" y="372"/>
                  </a:lnTo>
                  <a:lnTo>
                    <a:pt x="1153" y="372"/>
                  </a:lnTo>
                  <a:lnTo>
                    <a:pt x="1153" y="362"/>
                  </a:lnTo>
                  <a:lnTo>
                    <a:pt x="1143" y="353"/>
                  </a:lnTo>
                  <a:lnTo>
                    <a:pt x="1143" y="343"/>
                  </a:lnTo>
                  <a:lnTo>
                    <a:pt x="1134" y="324"/>
                  </a:lnTo>
                  <a:lnTo>
                    <a:pt x="1124" y="324"/>
                  </a:lnTo>
                  <a:lnTo>
                    <a:pt x="1124" y="305"/>
                  </a:lnTo>
                  <a:lnTo>
                    <a:pt x="1115" y="315"/>
                  </a:lnTo>
                  <a:lnTo>
                    <a:pt x="1115" y="324"/>
                  </a:lnTo>
                  <a:lnTo>
                    <a:pt x="1105" y="324"/>
                  </a:lnTo>
                  <a:lnTo>
                    <a:pt x="1115" y="334"/>
                  </a:lnTo>
                  <a:lnTo>
                    <a:pt x="1105" y="353"/>
                  </a:lnTo>
                  <a:lnTo>
                    <a:pt x="1096" y="353"/>
                  </a:lnTo>
                  <a:lnTo>
                    <a:pt x="1086" y="353"/>
                  </a:lnTo>
                  <a:lnTo>
                    <a:pt x="1086" y="362"/>
                  </a:lnTo>
                  <a:lnTo>
                    <a:pt x="1077" y="372"/>
                  </a:lnTo>
                  <a:lnTo>
                    <a:pt x="1067" y="362"/>
                  </a:lnTo>
                  <a:lnTo>
                    <a:pt x="1067" y="353"/>
                  </a:lnTo>
                  <a:lnTo>
                    <a:pt x="1058" y="343"/>
                  </a:lnTo>
                  <a:lnTo>
                    <a:pt x="1048" y="353"/>
                  </a:lnTo>
                  <a:lnTo>
                    <a:pt x="1039" y="353"/>
                  </a:lnTo>
                  <a:lnTo>
                    <a:pt x="1048" y="343"/>
                  </a:lnTo>
                  <a:lnTo>
                    <a:pt x="1058" y="343"/>
                  </a:lnTo>
                  <a:lnTo>
                    <a:pt x="1048" y="334"/>
                  </a:lnTo>
                  <a:lnTo>
                    <a:pt x="1039" y="334"/>
                  </a:lnTo>
                  <a:lnTo>
                    <a:pt x="1048" y="334"/>
                  </a:lnTo>
                  <a:lnTo>
                    <a:pt x="1048" y="324"/>
                  </a:lnTo>
                  <a:lnTo>
                    <a:pt x="1039" y="315"/>
                  </a:lnTo>
                  <a:lnTo>
                    <a:pt x="1048" y="315"/>
                  </a:lnTo>
                  <a:lnTo>
                    <a:pt x="1048" y="305"/>
                  </a:lnTo>
                  <a:lnTo>
                    <a:pt x="1058" y="296"/>
                  </a:lnTo>
                  <a:lnTo>
                    <a:pt x="1058" y="286"/>
                  </a:lnTo>
                  <a:lnTo>
                    <a:pt x="1048" y="286"/>
                  </a:lnTo>
                  <a:lnTo>
                    <a:pt x="1039" y="286"/>
                  </a:lnTo>
                  <a:lnTo>
                    <a:pt x="1020" y="286"/>
                  </a:lnTo>
                  <a:lnTo>
                    <a:pt x="1020" y="277"/>
                  </a:lnTo>
                  <a:lnTo>
                    <a:pt x="1010" y="267"/>
                  </a:lnTo>
                  <a:lnTo>
                    <a:pt x="1010" y="258"/>
                  </a:lnTo>
                  <a:lnTo>
                    <a:pt x="1000" y="258"/>
                  </a:lnTo>
                  <a:lnTo>
                    <a:pt x="991" y="248"/>
                  </a:lnTo>
                  <a:lnTo>
                    <a:pt x="972" y="248"/>
                  </a:lnTo>
                  <a:lnTo>
                    <a:pt x="972" y="258"/>
                  </a:lnTo>
                  <a:lnTo>
                    <a:pt x="962" y="258"/>
                  </a:lnTo>
                  <a:lnTo>
                    <a:pt x="953" y="258"/>
                  </a:lnTo>
                  <a:lnTo>
                    <a:pt x="943" y="248"/>
                  </a:lnTo>
                  <a:lnTo>
                    <a:pt x="934" y="248"/>
                  </a:lnTo>
                  <a:lnTo>
                    <a:pt x="924" y="248"/>
                  </a:lnTo>
                  <a:lnTo>
                    <a:pt x="924" y="267"/>
                  </a:lnTo>
                  <a:lnTo>
                    <a:pt x="934" y="277"/>
                  </a:lnTo>
                  <a:lnTo>
                    <a:pt x="934" y="286"/>
                  </a:lnTo>
                  <a:lnTo>
                    <a:pt x="924" y="286"/>
                  </a:lnTo>
                  <a:lnTo>
                    <a:pt x="924" y="296"/>
                  </a:lnTo>
                  <a:lnTo>
                    <a:pt x="934" y="296"/>
                  </a:lnTo>
                  <a:lnTo>
                    <a:pt x="934" y="315"/>
                  </a:lnTo>
                  <a:lnTo>
                    <a:pt x="934" y="324"/>
                  </a:lnTo>
                  <a:lnTo>
                    <a:pt x="924" y="334"/>
                  </a:lnTo>
                  <a:lnTo>
                    <a:pt x="924" y="343"/>
                  </a:lnTo>
                  <a:lnTo>
                    <a:pt x="924" y="353"/>
                  </a:lnTo>
                  <a:lnTo>
                    <a:pt x="934" y="362"/>
                  </a:lnTo>
                  <a:lnTo>
                    <a:pt x="943" y="372"/>
                  </a:lnTo>
                  <a:lnTo>
                    <a:pt x="953" y="401"/>
                  </a:lnTo>
                  <a:lnTo>
                    <a:pt x="943" y="420"/>
                  </a:lnTo>
                  <a:lnTo>
                    <a:pt x="934" y="429"/>
                  </a:lnTo>
                  <a:lnTo>
                    <a:pt x="924" y="439"/>
                  </a:lnTo>
                  <a:lnTo>
                    <a:pt x="915" y="448"/>
                  </a:lnTo>
                  <a:lnTo>
                    <a:pt x="905" y="448"/>
                  </a:lnTo>
                  <a:lnTo>
                    <a:pt x="905" y="458"/>
                  </a:lnTo>
                  <a:lnTo>
                    <a:pt x="915" y="458"/>
                  </a:lnTo>
                  <a:lnTo>
                    <a:pt x="915" y="477"/>
                  </a:lnTo>
                  <a:lnTo>
                    <a:pt x="915" y="487"/>
                  </a:lnTo>
                  <a:lnTo>
                    <a:pt x="915" y="496"/>
                  </a:lnTo>
                  <a:lnTo>
                    <a:pt x="924" y="506"/>
                  </a:lnTo>
                  <a:lnTo>
                    <a:pt x="915" y="515"/>
                  </a:lnTo>
                  <a:lnTo>
                    <a:pt x="915" y="525"/>
                  </a:lnTo>
                  <a:lnTo>
                    <a:pt x="905" y="525"/>
                  </a:lnTo>
                  <a:lnTo>
                    <a:pt x="896" y="525"/>
                  </a:lnTo>
                  <a:lnTo>
                    <a:pt x="886" y="506"/>
                  </a:lnTo>
                  <a:lnTo>
                    <a:pt x="877" y="506"/>
                  </a:lnTo>
                  <a:lnTo>
                    <a:pt x="867" y="496"/>
                  </a:lnTo>
                  <a:lnTo>
                    <a:pt x="867" y="487"/>
                  </a:lnTo>
                  <a:lnTo>
                    <a:pt x="867" y="467"/>
                  </a:lnTo>
                  <a:lnTo>
                    <a:pt x="867" y="458"/>
                  </a:lnTo>
                  <a:lnTo>
                    <a:pt x="867" y="439"/>
                  </a:lnTo>
                  <a:lnTo>
                    <a:pt x="857" y="439"/>
                  </a:lnTo>
                  <a:lnTo>
                    <a:pt x="848" y="439"/>
                  </a:lnTo>
                  <a:lnTo>
                    <a:pt x="838" y="439"/>
                  </a:lnTo>
                  <a:lnTo>
                    <a:pt x="829" y="429"/>
                  </a:lnTo>
                  <a:lnTo>
                    <a:pt x="819" y="429"/>
                  </a:lnTo>
                  <a:lnTo>
                    <a:pt x="810" y="420"/>
                  </a:lnTo>
                  <a:lnTo>
                    <a:pt x="791" y="420"/>
                  </a:lnTo>
                  <a:lnTo>
                    <a:pt x="781" y="410"/>
                  </a:lnTo>
                  <a:lnTo>
                    <a:pt x="772" y="401"/>
                  </a:lnTo>
                  <a:lnTo>
                    <a:pt x="753" y="391"/>
                  </a:lnTo>
                  <a:lnTo>
                    <a:pt x="743" y="391"/>
                  </a:lnTo>
                  <a:lnTo>
                    <a:pt x="734" y="391"/>
                  </a:lnTo>
                  <a:lnTo>
                    <a:pt x="714" y="391"/>
                  </a:lnTo>
                  <a:lnTo>
                    <a:pt x="714" y="382"/>
                  </a:lnTo>
                  <a:lnTo>
                    <a:pt x="714" y="372"/>
                  </a:lnTo>
                  <a:lnTo>
                    <a:pt x="705" y="353"/>
                  </a:lnTo>
                  <a:lnTo>
                    <a:pt x="695" y="353"/>
                  </a:lnTo>
                  <a:lnTo>
                    <a:pt x="686" y="343"/>
                  </a:lnTo>
                  <a:lnTo>
                    <a:pt x="686" y="324"/>
                  </a:lnTo>
                  <a:lnTo>
                    <a:pt x="686" y="296"/>
                  </a:lnTo>
                  <a:lnTo>
                    <a:pt x="695" y="286"/>
                  </a:lnTo>
                  <a:lnTo>
                    <a:pt x="695" y="277"/>
                  </a:lnTo>
                  <a:lnTo>
                    <a:pt x="705" y="267"/>
                  </a:lnTo>
                  <a:lnTo>
                    <a:pt x="705" y="258"/>
                  </a:lnTo>
                  <a:lnTo>
                    <a:pt x="714" y="248"/>
                  </a:lnTo>
                  <a:lnTo>
                    <a:pt x="724" y="248"/>
                  </a:lnTo>
                  <a:lnTo>
                    <a:pt x="714" y="238"/>
                  </a:lnTo>
                  <a:lnTo>
                    <a:pt x="724" y="229"/>
                  </a:lnTo>
                  <a:lnTo>
                    <a:pt x="724" y="238"/>
                  </a:lnTo>
                  <a:lnTo>
                    <a:pt x="734" y="238"/>
                  </a:lnTo>
                  <a:lnTo>
                    <a:pt x="743" y="229"/>
                  </a:lnTo>
                  <a:lnTo>
                    <a:pt x="743" y="219"/>
                  </a:lnTo>
                  <a:lnTo>
                    <a:pt x="734" y="210"/>
                  </a:lnTo>
                  <a:lnTo>
                    <a:pt x="743" y="210"/>
                  </a:lnTo>
                  <a:lnTo>
                    <a:pt x="753" y="210"/>
                  </a:lnTo>
                  <a:lnTo>
                    <a:pt x="762" y="200"/>
                  </a:lnTo>
                  <a:lnTo>
                    <a:pt x="762" y="210"/>
                  </a:lnTo>
                  <a:lnTo>
                    <a:pt x="772" y="210"/>
                  </a:lnTo>
                  <a:lnTo>
                    <a:pt x="781" y="200"/>
                  </a:lnTo>
                  <a:lnTo>
                    <a:pt x="791" y="191"/>
                  </a:lnTo>
                  <a:lnTo>
                    <a:pt x="791" y="181"/>
                  </a:lnTo>
                  <a:lnTo>
                    <a:pt x="791" y="172"/>
                  </a:lnTo>
                  <a:lnTo>
                    <a:pt x="791" y="162"/>
                  </a:lnTo>
                  <a:lnTo>
                    <a:pt x="772" y="162"/>
                  </a:lnTo>
                  <a:lnTo>
                    <a:pt x="753" y="153"/>
                  </a:lnTo>
                  <a:lnTo>
                    <a:pt x="753" y="143"/>
                  </a:lnTo>
                  <a:lnTo>
                    <a:pt x="772" y="143"/>
                  </a:lnTo>
                  <a:lnTo>
                    <a:pt x="781" y="153"/>
                  </a:lnTo>
                  <a:lnTo>
                    <a:pt x="791" y="162"/>
                  </a:lnTo>
                  <a:lnTo>
                    <a:pt x="800" y="153"/>
                  </a:lnTo>
                  <a:lnTo>
                    <a:pt x="810" y="143"/>
                  </a:lnTo>
                  <a:lnTo>
                    <a:pt x="819" y="133"/>
                  </a:lnTo>
                  <a:lnTo>
                    <a:pt x="810" y="133"/>
                  </a:lnTo>
                  <a:lnTo>
                    <a:pt x="800" y="124"/>
                  </a:lnTo>
                  <a:lnTo>
                    <a:pt x="819" y="124"/>
                  </a:lnTo>
                  <a:lnTo>
                    <a:pt x="829" y="133"/>
                  </a:lnTo>
                  <a:lnTo>
                    <a:pt x="838" y="124"/>
                  </a:lnTo>
                  <a:lnTo>
                    <a:pt x="829" y="114"/>
                  </a:lnTo>
                  <a:lnTo>
                    <a:pt x="838" y="114"/>
                  </a:lnTo>
                  <a:lnTo>
                    <a:pt x="848" y="114"/>
                  </a:lnTo>
                  <a:lnTo>
                    <a:pt x="848" y="124"/>
                  </a:lnTo>
                  <a:lnTo>
                    <a:pt x="857" y="124"/>
                  </a:lnTo>
                  <a:lnTo>
                    <a:pt x="867" y="114"/>
                  </a:lnTo>
                  <a:lnTo>
                    <a:pt x="877" y="114"/>
                  </a:lnTo>
                  <a:lnTo>
                    <a:pt x="886" y="95"/>
                  </a:lnTo>
                  <a:lnTo>
                    <a:pt x="877" y="95"/>
                  </a:lnTo>
                  <a:lnTo>
                    <a:pt x="867" y="86"/>
                  </a:lnTo>
                  <a:lnTo>
                    <a:pt x="867" y="76"/>
                  </a:lnTo>
                  <a:lnTo>
                    <a:pt x="877" y="76"/>
                  </a:lnTo>
                  <a:lnTo>
                    <a:pt x="877" y="67"/>
                  </a:lnTo>
                  <a:lnTo>
                    <a:pt x="877" y="57"/>
                  </a:lnTo>
                  <a:lnTo>
                    <a:pt x="867" y="57"/>
                  </a:lnTo>
                  <a:lnTo>
                    <a:pt x="867" y="48"/>
                  </a:lnTo>
                  <a:lnTo>
                    <a:pt x="848" y="48"/>
                  </a:lnTo>
                  <a:lnTo>
                    <a:pt x="838" y="48"/>
                  </a:lnTo>
                  <a:lnTo>
                    <a:pt x="829" y="48"/>
                  </a:lnTo>
                  <a:lnTo>
                    <a:pt x="819" y="48"/>
                  </a:lnTo>
                  <a:lnTo>
                    <a:pt x="819" y="67"/>
                  </a:lnTo>
                  <a:lnTo>
                    <a:pt x="829" y="67"/>
                  </a:lnTo>
                  <a:lnTo>
                    <a:pt x="819" y="76"/>
                  </a:lnTo>
                  <a:lnTo>
                    <a:pt x="810" y="86"/>
                  </a:lnTo>
                  <a:lnTo>
                    <a:pt x="810" y="95"/>
                  </a:lnTo>
                  <a:lnTo>
                    <a:pt x="800" y="95"/>
                  </a:lnTo>
                  <a:lnTo>
                    <a:pt x="800" y="105"/>
                  </a:lnTo>
                  <a:lnTo>
                    <a:pt x="791" y="105"/>
                  </a:lnTo>
                  <a:lnTo>
                    <a:pt x="781" y="95"/>
                  </a:lnTo>
                  <a:lnTo>
                    <a:pt x="781" y="86"/>
                  </a:lnTo>
                  <a:lnTo>
                    <a:pt x="791" y="86"/>
                  </a:lnTo>
                  <a:lnTo>
                    <a:pt x="791" y="76"/>
                  </a:lnTo>
                  <a:lnTo>
                    <a:pt x="781" y="76"/>
                  </a:lnTo>
                  <a:lnTo>
                    <a:pt x="772" y="67"/>
                  </a:lnTo>
                  <a:lnTo>
                    <a:pt x="762" y="67"/>
                  </a:lnTo>
                  <a:lnTo>
                    <a:pt x="753" y="67"/>
                  </a:lnTo>
                  <a:lnTo>
                    <a:pt x="753" y="76"/>
                  </a:lnTo>
                  <a:lnTo>
                    <a:pt x="753" y="86"/>
                  </a:lnTo>
                  <a:lnTo>
                    <a:pt x="743" y="76"/>
                  </a:lnTo>
                  <a:lnTo>
                    <a:pt x="743" y="67"/>
                  </a:lnTo>
                  <a:lnTo>
                    <a:pt x="734" y="57"/>
                  </a:lnTo>
                  <a:lnTo>
                    <a:pt x="743" y="57"/>
                  </a:lnTo>
                  <a:lnTo>
                    <a:pt x="734" y="57"/>
                  </a:lnTo>
                  <a:lnTo>
                    <a:pt x="724" y="57"/>
                  </a:lnTo>
                  <a:lnTo>
                    <a:pt x="714" y="48"/>
                  </a:lnTo>
                  <a:lnTo>
                    <a:pt x="714" y="38"/>
                  </a:lnTo>
                  <a:lnTo>
                    <a:pt x="724" y="38"/>
                  </a:lnTo>
                  <a:lnTo>
                    <a:pt x="714" y="19"/>
                  </a:lnTo>
                  <a:lnTo>
                    <a:pt x="714" y="9"/>
                  </a:lnTo>
                  <a:lnTo>
                    <a:pt x="705" y="9"/>
                  </a:lnTo>
                  <a:lnTo>
                    <a:pt x="705" y="0"/>
                  </a:lnTo>
                  <a:lnTo>
                    <a:pt x="695" y="0"/>
                  </a:lnTo>
                  <a:lnTo>
                    <a:pt x="686" y="0"/>
                  </a:lnTo>
                  <a:lnTo>
                    <a:pt x="676" y="0"/>
                  </a:lnTo>
                  <a:lnTo>
                    <a:pt x="667" y="0"/>
                  </a:lnTo>
                  <a:lnTo>
                    <a:pt x="676" y="9"/>
                  </a:lnTo>
                  <a:lnTo>
                    <a:pt x="667" y="9"/>
                  </a:lnTo>
                  <a:lnTo>
                    <a:pt x="657" y="9"/>
                  </a:lnTo>
                  <a:lnTo>
                    <a:pt x="657" y="28"/>
                  </a:lnTo>
                  <a:lnTo>
                    <a:pt x="667" y="28"/>
                  </a:lnTo>
                  <a:lnTo>
                    <a:pt x="657" y="28"/>
                  </a:lnTo>
                  <a:lnTo>
                    <a:pt x="657" y="38"/>
                  </a:lnTo>
                  <a:lnTo>
                    <a:pt x="657" y="48"/>
                  </a:lnTo>
                  <a:lnTo>
                    <a:pt x="667" y="48"/>
                  </a:lnTo>
                  <a:lnTo>
                    <a:pt x="676" y="48"/>
                  </a:lnTo>
                  <a:lnTo>
                    <a:pt x="686" y="48"/>
                  </a:lnTo>
                  <a:lnTo>
                    <a:pt x="686" y="57"/>
                  </a:lnTo>
                  <a:lnTo>
                    <a:pt x="695" y="57"/>
                  </a:lnTo>
                  <a:lnTo>
                    <a:pt x="686" y="57"/>
                  </a:lnTo>
                  <a:lnTo>
                    <a:pt x="686" y="67"/>
                  </a:lnTo>
                  <a:lnTo>
                    <a:pt x="686" y="76"/>
                  </a:lnTo>
                  <a:lnTo>
                    <a:pt x="695" y="67"/>
                  </a:lnTo>
                  <a:lnTo>
                    <a:pt x="695" y="76"/>
                  </a:lnTo>
                  <a:lnTo>
                    <a:pt x="695" y="86"/>
                  </a:lnTo>
                  <a:lnTo>
                    <a:pt x="686" y="86"/>
                  </a:lnTo>
                  <a:lnTo>
                    <a:pt x="676" y="86"/>
                  </a:lnTo>
                  <a:lnTo>
                    <a:pt x="667" y="86"/>
                  </a:lnTo>
                  <a:lnTo>
                    <a:pt x="667" y="95"/>
                  </a:lnTo>
                  <a:lnTo>
                    <a:pt x="676" y="95"/>
                  </a:lnTo>
                  <a:lnTo>
                    <a:pt x="676" y="105"/>
                  </a:lnTo>
                  <a:lnTo>
                    <a:pt x="657" y="105"/>
                  </a:lnTo>
                  <a:lnTo>
                    <a:pt x="657" y="95"/>
                  </a:lnTo>
                  <a:lnTo>
                    <a:pt x="667" y="95"/>
                  </a:lnTo>
                  <a:lnTo>
                    <a:pt x="667" y="86"/>
                  </a:lnTo>
                  <a:lnTo>
                    <a:pt x="657" y="86"/>
                  </a:lnTo>
                  <a:lnTo>
                    <a:pt x="648" y="76"/>
                  </a:lnTo>
                  <a:lnTo>
                    <a:pt x="638" y="76"/>
                  </a:lnTo>
                  <a:lnTo>
                    <a:pt x="629" y="76"/>
                  </a:lnTo>
                  <a:lnTo>
                    <a:pt x="619" y="95"/>
                  </a:lnTo>
                  <a:lnTo>
                    <a:pt x="610" y="95"/>
                  </a:lnTo>
                  <a:lnTo>
                    <a:pt x="591" y="95"/>
                  </a:lnTo>
                  <a:lnTo>
                    <a:pt x="581" y="95"/>
                  </a:lnTo>
                  <a:lnTo>
                    <a:pt x="572" y="95"/>
                  </a:lnTo>
                  <a:lnTo>
                    <a:pt x="562" y="95"/>
                  </a:lnTo>
                  <a:lnTo>
                    <a:pt x="552" y="86"/>
                  </a:lnTo>
                  <a:lnTo>
                    <a:pt x="543" y="86"/>
                  </a:lnTo>
                  <a:lnTo>
                    <a:pt x="533" y="86"/>
                  </a:lnTo>
                  <a:lnTo>
                    <a:pt x="524" y="76"/>
                  </a:lnTo>
                  <a:lnTo>
                    <a:pt x="514" y="76"/>
                  </a:lnTo>
                  <a:lnTo>
                    <a:pt x="514" y="86"/>
                  </a:lnTo>
                  <a:lnTo>
                    <a:pt x="505" y="86"/>
                  </a:lnTo>
                  <a:lnTo>
                    <a:pt x="486" y="86"/>
                  </a:lnTo>
                  <a:lnTo>
                    <a:pt x="486" y="95"/>
                  </a:lnTo>
                  <a:lnTo>
                    <a:pt x="495" y="105"/>
                  </a:lnTo>
                  <a:lnTo>
                    <a:pt x="495" y="114"/>
                  </a:lnTo>
                  <a:lnTo>
                    <a:pt x="486" y="114"/>
                  </a:lnTo>
                  <a:lnTo>
                    <a:pt x="476" y="114"/>
                  </a:lnTo>
                  <a:lnTo>
                    <a:pt x="486" y="105"/>
                  </a:lnTo>
                  <a:lnTo>
                    <a:pt x="476" y="95"/>
                  </a:lnTo>
                  <a:lnTo>
                    <a:pt x="467" y="95"/>
                  </a:lnTo>
                  <a:lnTo>
                    <a:pt x="457" y="95"/>
                  </a:lnTo>
                  <a:lnTo>
                    <a:pt x="438" y="95"/>
                  </a:lnTo>
                  <a:lnTo>
                    <a:pt x="419" y="95"/>
                  </a:lnTo>
                  <a:lnTo>
                    <a:pt x="400" y="95"/>
                  </a:lnTo>
                  <a:lnTo>
                    <a:pt x="390" y="95"/>
                  </a:lnTo>
                  <a:lnTo>
                    <a:pt x="381" y="95"/>
                  </a:lnTo>
                  <a:lnTo>
                    <a:pt x="371" y="86"/>
                  </a:lnTo>
                  <a:lnTo>
                    <a:pt x="381" y="86"/>
                  </a:lnTo>
                  <a:lnTo>
                    <a:pt x="390" y="86"/>
                  </a:lnTo>
                  <a:lnTo>
                    <a:pt x="400" y="76"/>
                  </a:lnTo>
                  <a:lnTo>
                    <a:pt x="381" y="67"/>
                  </a:lnTo>
                  <a:lnTo>
                    <a:pt x="371" y="67"/>
                  </a:lnTo>
                  <a:lnTo>
                    <a:pt x="362" y="67"/>
                  </a:lnTo>
                  <a:lnTo>
                    <a:pt x="352" y="67"/>
                  </a:lnTo>
                  <a:lnTo>
                    <a:pt x="343" y="67"/>
                  </a:lnTo>
                  <a:lnTo>
                    <a:pt x="324" y="57"/>
                  </a:lnTo>
                  <a:lnTo>
                    <a:pt x="314" y="57"/>
                  </a:lnTo>
                  <a:lnTo>
                    <a:pt x="305" y="57"/>
                  </a:lnTo>
                  <a:lnTo>
                    <a:pt x="286" y="48"/>
                  </a:lnTo>
                  <a:lnTo>
                    <a:pt x="266" y="48"/>
                  </a:lnTo>
                  <a:lnTo>
                    <a:pt x="266" y="57"/>
                  </a:lnTo>
                  <a:lnTo>
                    <a:pt x="257" y="57"/>
                  </a:lnTo>
                  <a:lnTo>
                    <a:pt x="247" y="57"/>
                  </a:lnTo>
                  <a:lnTo>
                    <a:pt x="238" y="48"/>
                  </a:lnTo>
                  <a:lnTo>
                    <a:pt x="247" y="48"/>
                  </a:lnTo>
                  <a:lnTo>
                    <a:pt x="247" y="38"/>
                  </a:lnTo>
                  <a:lnTo>
                    <a:pt x="228" y="48"/>
                  </a:lnTo>
                  <a:lnTo>
                    <a:pt x="228" y="57"/>
                  </a:lnTo>
                  <a:lnTo>
                    <a:pt x="219" y="57"/>
                  </a:lnTo>
                  <a:lnTo>
                    <a:pt x="209" y="48"/>
                  </a:lnTo>
                  <a:lnTo>
                    <a:pt x="209" y="38"/>
                  </a:lnTo>
                  <a:lnTo>
                    <a:pt x="190" y="28"/>
                  </a:lnTo>
                  <a:lnTo>
                    <a:pt x="190" y="38"/>
                  </a:lnTo>
                  <a:lnTo>
                    <a:pt x="190" y="48"/>
                  </a:lnTo>
                  <a:lnTo>
                    <a:pt x="181" y="48"/>
                  </a:lnTo>
                  <a:lnTo>
                    <a:pt x="171" y="48"/>
                  </a:lnTo>
                  <a:lnTo>
                    <a:pt x="152" y="57"/>
                  </a:lnTo>
                  <a:lnTo>
                    <a:pt x="143" y="57"/>
                  </a:lnTo>
                  <a:lnTo>
                    <a:pt x="124" y="67"/>
                  </a:lnTo>
                  <a:lnTo>
                    <a:pt x="114" y="76"/>
                  </a:lnTo>
                  <a:lnTo>
                    <a:pt x="114" y="67"/>
                  </a:lnTo>
                  <a:lnTo>
                    <a:pt x="124" y="57"/>
                  </a:lnTo>
                  <a:lnTo>
                    <a:pt x="143" y="57"/>
                  </a:lnTo>
                  <a:lnTo>
                    <a:pt x="162" y="48"/>
                  </a:lnTo>
                  <a:lnTo>
                    <a:pt x="162" y="38"/>
                  </a:lnTo>
                  <a:lnTo>
                    <a:pt x="152" y="38"/>
                  </a:lnTo>
                  <a:lnTo>
                    <a:pt x="143" y="48"/>
                  </a:lnTo>
                  <a:lnTo>
                    <a:pt x="133" y="48"/>
                  </a:lnTo>
                  <a:lnTo>
                    <a:pt x="124" y="48"/>
                  </a:lnTo>
                  <a:lnTo>
                    <a:pt x="114" y="57"/>
                  </a:lnTo>
                  <a:lnTo>
                    <a:pt x="104" y="57"/>
                  </a:lnTo>
                  <a:lnTo>
                    <a:pt x="95" y="57"/>
                  </a:lnTo>
                  <a:lnTo>
                    <a:pt x="85" y="57"/>
                  </a:lnTo>
                  <a:lnTo>
                    <a:pt x="76" y="67"/>
                  </a:lnTo>
                  <a:lnTo>
                    <a:pt x="85" y="76"/>
                  </a:lnTo>
                  <a:lnTo>
                    <a:pt x="66" y="76"/>
                  </a:lnTo>
                  <a:lnTo>
                    <a:pt x="57" y="67"/>
                  </a:lnTo>
                  <a:lnTo>
                    <a:pt x="47" y="67"/>
                  </a:lnTo>
                  <a:lnTo>
                    <a:pt x="38" y="67"/>
                  </a:lnTo>
                  <a:lnTo>
                    <a:pt x="19" y="57"/>
                  </a:lnTo>
                  <a:lnTo>
                    <a:pt x="9" y="57"/>
                  </a:lnTo>
                  <a:lnTo>
                    <a:pt x="0" y="57"/>
                  </a:lnTo>
                  <a:lnTo>
                    <a:pt x="0" y="305"/>
                  </a:lnTo>
                  <a:lnTo>
                    <a:pt x="19" y="315"/>
                  </a:lnTo>
                  <a:lnTo>
                    <a:pt x="19" y="305"/>
                  </a:lnTo>
                  <a:lnTo>
                    <a:pt x="28" y="315"/>
                  </a:lnTo>
                  <a:lnTo>
                    <a:pt x="57" y="343"/>
                  </a:lnTo>
                  <a:lnTo>
                    <a:pt x="66" y="334"/>
                  </a:lnTo>
                  <a:lnTo>
                    <a:pt x="85" y="334"/>
                  </a:lnTo>
                  <a:lnTo>
                    <a:pt x="95" y="334"/>
                  </a:lnTo>
                  <a:lnTo>
                    <a:pt x="104" y="353"/>
                  </a:lnTo>
                  <a:lnTo>
                    <a:pt x="114" y="362"/>
                  </a:lnTo>
                  <a:lnTo>
                    <a:pt x="133" y="401"/>
                  </a:lnTo>
                  <a:lnTo>
                    <a:pt x="143" y="410"/>
                  </a:lnTo>
                  <a:lnTo>
                    <a:pt x="162" y="420"/>
                  </a:lnTo>
                  <a:lnTo>
                    <a:pt x="162" y="439"/>
                  </a:lnTo>
                  <a:lnTo>
                    <a:pt x="162" y="448"/>
                  </a:lnTo>
                  <a:lnTo>
                    <a:pt x="152" y="458"/>
                  </a:lnTo>
                  <a:lnTo>
                    <a:pt x="162" y="467"/>
                  </a:lnTo>
                  <a:lnTo>
                    <a:pt x="162" y="477"/>
                  </a:lnTo>
                  <a:lnTo>
                    <a:pt x="171" y="487"/>
                  </a:lnTo>
                  <a:lnTo>
                    <a:pt x="171" y="477"/>
                  </a:lnTo>
                  <a:lnTo>
                    <a:pt x="181" y="487"/>
                  </a:lnTo>
                  <a:lnTo>
                    <a:pt x="171" y="487"/>
                  </a:lnTo>
                  <a:lnTo>
                    <a:pt x="171" y="496"/>
                  </a:lnTo>
                  <a:lnTo>
                    <a:pt x="181" y="496"/>
                  </a:lnTo>
                  <a:lnTo>
                    <a:pt x="190" y="496"/>
                  </a:lnTo>
                  <a:lnTo>
                    <a:pt x="190" y="506"/>
                  </a:lnTo>
                  <a:lnTo>
                    <a:pt x="190" y="515"/>
                  </a:lnTo>
                  <a:lnTo>
                    <a:pt x="190" y="534"/>
                  </a:lnTo>
                  <a:lnTo>
                    <a:pt x="200" y="534"/>
                  </a:lnTo>
                  <a:lnTo>
                    <a:pt x="209" y="534"/>
                  </a:lnTo>
                  <a:lnTo>
                    <a:pt x="219" y="544"/>
                  </a:lnTo>
                  <a:lnTo>
                    <a:pt x="228" y="544"/>
                  </a:lnTo>
                  <a:lnTo>
                    <a:pt x="238" y="544"/>
                  </a:lnTo>
                  <a:lnTo>
                    <a:pt x="238" y="553"/>
                  </a:lnTo>
                  <a:lnTo>
                    <a:pt x="247" y="553"/>
                  </a:lnTo>
                  <a:lnTo>
                    <a:pt x="257" y="563"/>
                  </a:lnTo>
                  <a:lnTo>
                    <a:pt x="266" y="572"/>
                  </a:lnTo>
                  <a:lnTo>
                    <a:pt x="276" y="582"/>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43" name="Freeform 424">
              <a:extLst>
                <a:ext uri="{FF2B5EF4-FFF2-40B4-BE49-F238E27FC236}">
                  <a16:creationId xmlns:a16="http://schemas.microsoft.com/office/drawing/2014/main" id="{C38ED9BA-5A1A-4C02-89F7-9AA87D96E6BF}"/>
                </a:ext>
              </a:extLst>
            </p:cNvPr>
            <p:cNvSpPr>
              <a:spLocks/>
            </p:cNvSpPr>
            <p:nvPr/>
          </p:nvSpPr>
          <p:spPr bwMode="gray">
            <a:xfrm>
              <a:off x="686" y="1536"/>
              <a:ext cx="1258" cy="716"/>
            </a:xfrm>
            <a:custGeom>
              <a:avLst/>
              <a:gdLst>
                <a:gd name="T0" fmla="*/ 838 w 1258"/>
                <a:gd name="T1" fmla="*/ 639 h 716"/>
                <a:gd name="T2" fmla="*/ 991 w 1258"/>
                <a:gd name="T3" fmla="*/ 649 h 716"/>
                <a:gd name="T4" fmla="*/ 1096 w 1258"/>
                <a:gd name="T5" fmla="*/ 649 h 716"/>
                <a:gd name="T6" fmla="*/ 1115 w 1258"/>
                <a:gd name="T7" fmla="*/ 658 h 716"/>
                <a:gd name="T8" fmla="*/ 1143 w 1258"/>
                <a:gd name="T9" fmla="*/ 668 h 716"/>
                <a:gd name="T10" fmla="*/ 1134 w 1258"/>
                <a:gd name="T11" fmla="*/ 639 h 716"/>
                <a:gd name="T12" fmla="*/ 1096 w 1258"/>
                <a:gd name="T13" fmla="*/ 592 h 716"/>
                <a:gd name="T14" fmla="*/ 1067 w 1258"/>
                <a:gd name="T15" fmla="*/ 592 h 716"/>
                <a:gd name="T16" fmla="*/ 1058 w 1258"/>
                <a:gd name="T17" fmla="*/ 592 h 716"/>
                <a:gd name="T18" fmla="*/ 1153 w 1258"/>
                <a:gd name="T19" fmla="*/ 553 h 716"/>
                <a:gd name="T20" fmla="*/ 1258 w 1258"/>
                <a:gd name="T21" fmla="*/ 506 h 716"/>
                <a:gd name="T22" fmla="*/ 1210 w 1258"/>
                <a:gd name="T23" fmla="*/ 477 h 716"/>
                <a:gd name="T24" fmla="*/ 1220 w 1258"/>
                <a:gd name="T25" fmla="*/ 448 h 716"/>
                <a:gd name="T26" fmla="*/ 1162 w 1258"/>
                <a:gd name="T27" fmla="*/ 401 h 716"/>
                <a:gd name="T28" fmla="*/ 1134 w 1258"/>
                <a:gd name="T29" fmla="*/ 324 h 716"/>
                <a:gd name="T30" fmla="*/ 1096 w 1258"/>
                <a:gd name="T31" fmla="*/ 353 h 716"/>
                <a:gd name="T32" fmla="*/ 1039 w 1258"/>
                <a:gd name="T33" fmla="*/ 353 h 716"/>
                <a:gd name="T34" fmla="*/ 1048 w 1258"/>
                <a:gd name="T35" fmla="*/ 334 h 716"/>
                <a:gd name="T36" fmla="*/ 1048 w 1258"/>
                <a:gd name="T37" fmla="*/ 286 h 716"/>
                <a:gd name="T38" fmla="*/ 991 w 1258"/>
                <a:gd name="T39" fmla="*/ 248 h 716"/>
                <a:gd name="T40" fmla="*/ 934 w 1258"/>
                <a:gd name="T41" fmla="*/ 277 h 716"/>
                <a:gd name="T42" fmla="*/ 924 w 1258"/>
                <a:gd name="T43" fmla="*/ 343 h 716"/>
                <a:gd name="T44" fmla="*/ 915 w 1258"/>
                <a:gd name="T45" fmla="*/ 448 h 716"/>
                <a:gd name="T46" fmla="*/ 915 w 1258"/>
                <a:gd name="T47" fmla="*/ 515 h 716"/>
                <a:gd name="T48" fmla="*/ 867 w 1258"/>
                <a:gd name="T49" fmla="*/ 496 h 716"/>
                <a:gd name="T50" fmla="*/ 819 w 1258"/>
                <a:gd name="T51" fmla="*/ 429 h 716"/>
                <a:gd name="T52" fmla="*/ 743 w 1258"/>
                <a:gd name="T53" fmla="*/ 391 h 716"/>
                <a:gd name="T54" fmla="*/ 686 w 1258"/>
                <a:gd name="T55" fmla="*/ 324 h 716"/>
                <a:gd name="T56" fmla="*/ 714 w 1258"/>
                <a:gd name="T57" fmla="*/ 238 h 716"/>
                <a:gd name="T58" fmla="*/ 753 w 1258"/>
                <a:gd name="T59" fmla="*/ 210 h 716"/>
                <a:gd name="T60" fmla="*/ 772 w 1258"/>
                <a:gd name="T61" fmla="*/ 162 h 716"/>
                <a:gd name="T62" fmla="*/ 810 w 1258"/>
                <a:gd name="T63" fmla="*/ 133 h 716"/>
                <a:gd name="T64" fmla="*/ 829 w 1258"/>
                <a:gd name="T65" fmla="*/ 114 h 716"/>
                <a:gd name="T66" fmla="*/ 877 w 1258"/>
                <a:gd name="T67" fmla="*/ 95 h 716"/>
                <a:gd name="T68" fmla="*/ 867 w 1258"/>
                <a:gd name="T69" fmla="*/ 57 h 716"/>
                <a:gd name="T70" fmla="*/ 829 w 1258"/>
                <a:gd name="T71" fmla="*/ 67 h 716"/>
                <a:gd name="T72" fmla="*/ 781 w 1258"/>
                <a:gd name="T73" fmla="*/ 95 h 716"/>
                <a:gd name="T74" fmla="*/ 753 w 1258"/>
                <a:gd name="T75" fmla="*/ 86 h 716"/>
                <a:gd name="T76" fmla="*/ 714 w 1258"/>
                <a:gd name="T77" fmla="*/ 48 h 716"/>
                <a:gd name="T78" fmla="*/ 695 w 1258"/>
                <a:gd name="T79" fmla="*/ 0 h 716"/>
                <a:gd name="T80" fmla="*/ 657 w 1258"/>
                <a:gd name="T81" fmla="*/ 28 h 716"/>
                <a:gd name="T82" fmla="*/ 686 w 1258"/>
                <a:gd name="T83" fmla="*/ 57 h 716"/>
                <a:gd name="T84" fmla="*/ 695 w 1258"/>
                <a:gd name="T85" fmla="*/ 76 h 716"/>
                <a:gd name="T86" fmla="*/ 667 w 1258"/>
                <a:gd name="T87" fmla="*/ 95 h 716"/>
                <a:gd name="T88" fmla="*/ 591 w 1258"/>
                <a:gd name="T89" fmla="*/ 95 h 716"/>
                <a:gd name="T90" fmla="*/ 514 w 1258"/>
                <a:gd name="T91" fmla="*/ 76 h 716"/>
                <a:gd name="T92" fmla="*/ 476 w 1258"/>
                <a:gd name="T93" fmla="*/ 114 h 716"/>
                <a:gd name="T94" fmla="*/ 390 w 1258"/>
                <a:gd name="T95" fmla="*/ 95 h 716"/>
                <a:gd name="T96" fmla="*/ 352 w 1258"/>
                <a:gd name="T97" fmla="*/ 67 h 716"/>
                <a:gd name="T98" fmla="*/ 247 w 1258"/>
                <a:gd name="T99" fmla="*/ 57 h 716"/>
                <a:gd name="T100" fmla="*/ 228 w 1258"/>
                <a:gd name="T101" fmla="*/ 57 h 716"/>
                <a:gd name="T102" fmla="*/ 181 w 1258"/>
                <a:gd name="T103" fmla="*/ 48 h 716"/>
                <a:gd name="T104" fmla="*/ 114 w 1258"/>
                <a:gd name="T105" fmla="*/ 67 h 716"/>
                <a:gd name="T106" fmla="*/ 143 w 1258"/>
                <a:gd name="T107" fmla="*/ 48 h 716"/>
                <a:gd name="T108" fmla="*/ 85 w 1258"/>
                <a:gd name="T109" fmla="*/ 57 h 716"/>
                <a:gd name="T110" fmla="*/ 19 w 1258"/>
                <a:gd name="T111" fmla="*/ 57 h 716"/>
                <a:gd name="T112" fmla="*/ 57 w 1258"/>
                <a:gd name="T113" fmla="*/ 343 h 716"/>
                <a:gd name="T114" fmla="*/ 162 w 1258"/>
                <a:gd name="T115" fmla="*/ 448 h 716"/>
                <a:gd name="T116" fmla="*/ 171 w 1258"/>
                <a:gd name="T117" fmla="*/ 496 h 716"/>
                <a:gd name="T118" fmla="*/ 228 w 1258"/>
                <a:gd name="T119" fmla="*/ 544 h 7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58"/>
                <a:gd name="T181" fmla="*/ 0 h 716"/>
                <a:gd name="T182" fmla="*/ 1258 w 1258"/>
                <a:gd name="T183" fmla="*/ 716 h 71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58" h="716">
                  <a:moveTo>
                    <a:pt x="276" y="582"/>
                  </a:moveTo>
                  <a:lnTo>
                    <a:pt x="686" y="582"/>
                  </a:lnTo>
                  <a:lnTo>
                    <a:pt x="695" y="592"/>
                  </a:lnTo>
                  <a:lnTo>
                    <a:pt x="714" y="592"/>
                  </a:lnTo>
                  <a:lnTo>
                    <a:pt x="724" y="592"/>
                  </a:lnTo>
                  <a:lnTo>
                    <a:pt x="743" y="592"/>
                  </a:lnTo>
                  <a:lnTo>
                    <a:pt x="753" y="601"/>
                  </a:lnTo>
                  <a:lnTo>
                    <a:pt x="781" y="592"/>
                  </a:lnTo>
                  <a:lnTo>
                    <a:pt x="829" y="620"/>
                  </a:lnTo>
                  <a:lnTo>
                    <a:pt x="838" y="639"/>
                  </a:lnTo>
                  <a:lnTo>
                    <a:pt x="867" y="668"/>
                  </a:lnTo>
                  <a:lnTo>
                    <a:pt x="867" y="677"/>
                  </a:lnTo>
                  <a:lnTo>
                    <a:pt x="857" y="706"/>
                  </a:lnTo>
                  <a:lnTo>
                    <a:pt x="867" y="716"/>
                  </a:lnTo>
                  <a:lnTo>
                    <a:pt x="905" y="697"/>
                  </a:lnTo>
                  <a:lnTo>
                    <a:pt x="915" y="687"/>
                  </a:lnTo>
                  <a:lnTo>
                    <a:pt x="953" y="677"/>
                  </a:lnTo>
                  <a:lnTo>
                    <a:pt x="972" y="658"/>
                  </a:lnTo>
                  <a:lnTo>
                    <a:pt x="981" y="649"/>
                  </a:lnTo>
                  <a:lnTo>
                    <a:pt x="991" y="649"/>
                  </a:lnTo>
                  <a:lnTo>
                    <a:pt x="1000" y="658"/>
                  </a:lnTo>
                  <a:lnTo>
                    <a:pt x="1029" y="649"/>
                  </a:lnTo>
                  <a:lnTo>
                    <a:pt x="1048" y="611"/>
                  </a:lnTo>
                  <a:lnTo>
                    <a:pt x="1058" y="611"/>
                  </a:lnTo>
                  <a:lnTo>
                    <a:pt x="1077" y="620"/>
                  </a:lnTo>
                  <a:lnTo>
                    <a:pt x="1077" y="639"/>
                  </a:lnTo>
                  <a:lnTo>
                    <a:pt x="1086" y="649"/>
                  </a:lnTo>
                  <a:lnTo>
                    <a:pt x="1086" y="658"/>
                  </a:lnTo>
                  <a:lnTo>
                    <a:pt x="1096" y="649"/>
                  </a:lnTo>
                  <a:lnTo>
                    <a:pt x="1105" y="649"/>
                  </a:lnTo>
                  <a:lnTo>
                    <a:pt x="1115" y="649"/>
                  </a:lnTo>
                  <a:lnTo>
                    <a:pt x="1124" y="639"/>
                  </a:lnTo>
                  <a:lnTo>
                    <a:pt x="1124" y="649"/>
                  </a:lnTo>
                  <a:lnTo>
                    <a:pt x="1134" y="649"/>
                  </a:lnTo>
                  <a:lnTo>
                    <a:pt x="1124" y="658"/>
                  </a:lnTo>
                  <a:lnTo>
                    <a:pt x="1115" y="658"/>
                  </a:lnTo>
                  <a:lnTo>
                    <a:pt x="1105" y="668"/>
                  </a:lnTo>
                  <a:lnTo>
                    <a:pt x="1096" y="677"/>
                  </a:lnTo>
                  <a:lnTo>
                    <a:pt x="1105" y="687"/>
                  </a:lnTo>
                  <a:lnTo>
                    <a:pt x="1115" y="687"/>
                  </a:lnTo>
                  <a:lnTo>
                    <a:pt x="1124" y="677"/>
                  </a:lnTo>
                  <a:lnTo>
                    <a:pt x="1134" y="658"/>
                  </a:lnTo>
                  <a:lnTo>
                    <a:pt x="1143" y="668"/>
                  </a:lnTo>
                  <a:lnTo>
                    <a:pt x="1143" y="658"/>
                  </a:lnTo>
                  <a:lnTo>
                    <a:pt x="1153" y="658"/>
                  </a:lnTo>
                  <a:lnTo>
                    <a:pt x="1162" y="658"/>
                  </a:lnTo>
                  <a:lnTo>
                    <a:pt x="1172" y="649"/>
                  </a:lnTo>
                  <a:lnTo>
                    <a:pt x="1162" y="649"/>
                  </a:lnTo>
                  <a:lnTo>
                    <a:pt x="1162" y="639"/>
                  </a:lnTo>
                  <a:lnTo>
                    <a:pt x="1153" y="649"/>
                  </a:lnTo>
                  <a:lnTo>
                    <a:pt x="1143" y="649"/>
                  </a:lnTo>
                  <a:lnTo>
                    <a:pt x="1134" y="639"/>
                  </a:lnTo>
                  <a:lnTo>
                    <a:pt x="1115" y="630"/>
                  </a:lnTo>
                  <a:lnTo>
                    <a:pt x="1115" y="611"/>
                  </a:lnTo>
                  <a:lnTo>
                    <a:pt x="1115" y="601"/>
                  </a:lnTo>
                  <a:lnTo>
                    <a:pt x="1105" y="601"/>
                  </a:lnTo>
                  <a:lnTo>
                    <a:pt x="1096" y="601"/>
                  </a:lnTo>
                  <a:lnTo>
                    <a:pt x="1096" y="592"/>
                  </a:lnTo>
                  <a:lnTo>
                    <a:pt x="1105" y="592"/>
                  </a:lnTo>
                  <a:lnTo>
                    <a:pt x="1115" y="592"/>
                  </a:lnTo>
                  <a:lnTo>
                    <a:pt x="1134" y="582"/>
                  </a:lnTo>
                  <a:lnTo>
                    <a:pt x="1124" y="582"/>
                  </a:lnTo>
                  <a:lnTo>
                    <a:pt x="1115" y="572"/>
                  </a:lnTo>
                  <a:lnTo>
                    <a:pt x="1096" y="572"/>
                  </a:lnTo>
                  <a:lnTo>
                    <a:pt x="1086" y="582"/>
                  </a:lnTo>
                  <a:lnTo>
                    <a:pt x="1077" y="582"/>
                  </a:lnTo>
                  <a:lnTo>
                    <a:pt x="1067" y="592"/>
                  </a:lnTo>
                  <a:lnTo>
                    <a:pt x="1058" y="592"/>
                  </a:lnTo>
                  <a:lnTo>
                    <a:pt x="1048" y="611"/>
                  </a:lnTo>
                  <a:lnTo>
                    <a:pt x="1039" y="611"/>
                  </a:lnTo>
                  <a:lnTo>
                    <a:pt x="1029" y="620"/>
                  </a:lnTo>
                  <a:lnTo>
                    <a:pt x="1029" y="611"/>
                  </a:lnTo>
                  <a:lnTo>
                    <a:pt x="1039" y="601"/>
                  </a:lnTo>
                  <a:lnTo>
                    <a:pt x="1048" y="592"/>
                  </a:lnTo>
                  <a:lnTo>
                    <a:pt x="1058" y="592"/>
                  </a:lnTo>
                  <a:lnTo>
                    <a:pt x="1067" y="572"/>
                  </a:lnTo>
                  <a:lnTo>
                    <a:pt x="1086" y="572"/>
                  </a:lnTo>
                  <a:lnTo>
                    <a:pt x="1086" y="563"/>
                  </a:lnTo>
                  <a:lnTo>
                    <a:pt x="1096" y="553"/>
                  </a:lnTo>
                  <a:lnTo>
                    <a:pt x="1105" y="553"/>
                  </a:lnTo>
                  <a:lnTo>
                    <a:pt x="1134" y="553"/>
                  </a:lnTo>
                  <a:lnTo>
                    <a:pt x="1143" y="553"/>
                  </a:lnTo>
                  <a:lnTo>
                    <a:pt x="1153" y="553"/>
                  </a:lnTo>
                  <a:lnTo>
                    <a:pt x="1162" y="553"/>
                  </a:lnTo>
                  <a:lnTo>
                    <a:pt x="1172" y="553"/>
                  </a:lnTo>
                  <a:lnTo>
                    <a:pt x="1191" y="553"/>
                  </a:lnTo>
                  <a:lnTo>
                    <a:pt x="1201" y="544"/>
                  </a:lnTo>
                  <a:lnTo>
                    <a:pt x="1210" y="534"/>
                  </a:lnTo>
                  <a:lnTo>
                    <a:pt x="1220" y="525"/>
                  </a:lnTo>
                  <a:lnTo>
                    <a:pt x="1239" y="525"/>
                  </a:lnTo>
                  <a:lnTo>
                    <a:pt x="1248" y="515"/>
                  </a:lnTo>
                  <a:lnTo>
                    <a:pt x="1258" y="506"/>
                  </a:lnTo>
                  <a:lnTo>
                    <a:pt x="1248" y="496"/>
                  </a:lnTo>
                  <a:lnTo>
                    <a:pt x="1258" y="487"/>
                  </a:lnTo>
                  <a:lnTo>
                    <a:pt x="1248" y="477"/>
                  </a:lnTo>
                  <a:lnTo>
                    <a:pt x="1239" y="477"/>
                  </a:lnTo>
                  <a:lnTo>
                    <a:pt x="1229" y="477"/>
                  </a:lnTo>
                  <a:lnTo>
                    <a:pt x="1229" y="467"/>
                  </a:lnTo>
                  <a:lnTo>
                    <a:pt x="1220" y="467"/>
                  </a:lnTo>
                  <a:lnTo>
                    <a:pt x="1210" y="467"/>
                  </a:lnTo>
                  <a:lnTo>
                    <a:pt x="1210" y="477"/>
                  </a:lnTo>
                  <a:lnTo>
                    <a:pt x="1201" y="477"/>
                  </a:lnTo>
                  <a:lnTo>
                    <a:pt x="1191" y="487"/>
                  </a:lnTo>
                  <a:lnTo>
                    <a:pt x="1182" y="487"/>
                  </a:lnTo>
                  <a:lnTo>
                    <a:pt x="1182" y="477"/>
                  </a:lnTo>
                  <a:lnTo>
                    <a:pt x="1191" y="477"/>
                  </a:lnTo>
                  <a:lnTo>
                    <a:pt x="1201" y="467"/>
                  </a:lnTo>
                  <a:lnTo>
                    <a:pt x="1220" y="458"/>
                  </a:lnTo>
                  <a:lnTo>
                    <a:pt x="1229" y="458"/>
                  </a:lnTo>
                  <a:lnTo>
                    <a:pt x="1229" y="448"/>
                  </a:lnTo>
                  <a:lnTo>
                    <a:pt x="1220" y="448"/>
                  </a:lnTo>
                  <a:lnTo>
                    <a:pt x="1210" y="448"/>
                  </a:lnTo>
                  <a:lnTo>
                    <a:pt x="1201" y="439"/>
                  </a:lnTo>
                  <a:lnTo>
                    <a:pt x="1191" y="439"/>
                  </a:lnTo>
                  <a:lnTo>
                    <a:pt x="1191" y="429"/>
                  </a:lnTo>
                  <a:lnTo>
                    <a:pt x="1182" y="420"/>
                  </a:lnTo>
                  <a:lnTo>
                    <a:pt x="1172" y="420"/>
                  </a:lnTo>
                  <a:lnTo>
                    <a:pt x="1162" y="410"/>
                  </a:lnTo>
                  <a:lnTo>
                    <a:pt x="1162" y="401"/>
                  </a:lnTo>
                  <a:lnTo>
                    <a:pt x="1172" y="401"/>
                  </a:lnTo>
                  <a:lnTo>
                    <a:pt x="1172" y="391"/>
                  </a:lnTo>
                  <a:lnTo>
                    <a:pt x="1162" y="391"/>
                  </a:lnTo>
                  <a:lnTo>
                    <a:pt x="1162" y="372"/>
                  </a:lnTo>
                  <a:lnTo>
                    <a:pt x="1153" y="372"/>
                  </a:lnTo>
                  <a:lnTo>
                    <a:pt x="1153" y="362"/>
                  </a:lnTo>
                  <a:lnTo>
                    <a:pt x="1143" y="353"/>
                  </a:lnTo>
                  <a:lnTo>
                    <a:pt x="1143" y="343"/>
                  </a:lnTo>
                  <a:lnTo>
                    <a:pt x="1134" y="324"/>
                  </a:lnTo>
                  <a:lnTo>
                    <a:pt x="1124" y="324"/>
                  </a:lnTo>
                  <a:lnTo>
                    <a:pt x="1124" y="305"/>
                  </a:lnTo>
                  <a:lnTo>
                    <a:pt x="1115" y="315"/>
                  </a:lnTo>
                  <a:lnTo>
                    <a:pt x="1115" y="324"/>
                  </a:lnTo>
                  <a:lnTo>
                    <a:pt x="1105" y="324"/>
                  </a:lnTo>
                  <a:lnTo>
                    <a:pt x="1115" y="334"/>
                  </a:lnTo>
                  <a:lnTo>
                    <a:pt x="1105" y="353"/>
                  </a:lnTo>
                  <a:lnTo>
                    <a:pt x="1096" y="353"/>
                  </a:lnTo>
                  <a:lnTo>
                    <a:pt x="1086" y="353"/>
                  </a:lnTo>
                  <a:lnTo>
                    <a:pt x="1086" y="362"/>
                  </a:lnTo>
                  <a:lnTo>
                    <a:pt x="1077" y="372"/>
                  </a:lnTo>
                  <a:lnTo>
                    <a:pt x="1067" y="362"/>
                  </a:lnTo>
                  <a:lnTo>
                    <a:pt x="1067" y="353"/>
                  </a:lnTo>
                  <a:lnTo>
                    <a:pt x="1058" y="343"/>
                  </a:lnTo>
                  <a:lnTo>
                    <a:pt x="1048" y="353"/>
                  </a:lnTo>
                  <a:lnTo>
                    <a:pt x="1039" y="353"/>
                  </a:lnTo>
                  <a:lnTo>
                    <a:pt x="1048" y="343"/>
                  </a:lnTo>
                  <a:lnTo>
                    <a:pt x="1058" y="343"/>
                  </a:lnTo>
                  <a:lnTo>
                    <a:pt x="1048" y="334"/>
                  </a:lnTo>
                  <a:lnTo>
                    <a:pt x="1039" y="334"/>
                  </a:lnTo>
                  <a:lnTo>
                    <a:pt x="1048" y="334"/>
                  </a:lnTo>
                  <a:lnTo>
                    <a:pt x="1048" y="324"/>
                  </a:lnTo>
                  <a:lnTo>
                    <a:pt x="1039" y="315"/>
                  </a:lnTo>
                  <a:lnTo>
                    <a:pt x="1048" y="315"/>
                  </a:lnTo>
                  <a:lnTo>
                    <a:pt x="1048" y="305"/>
                  </a:lnTo>
                  <a:lnTo>
                    <a:pt x="1058" y="296"/>
                  </a:lnTo>
                  <a:lnTo>
                    <a:pt x="1058" y="286"/>
                  </a:lnTo>
                  <a:lnTo>
                    <a:pt x="1048" y="286"/>
                  </a:lnTo>
                  <a:lnTo>
                    <a:pt x="1039" y="286"/>
                  </a:lnTo>
                  <a:lnTo>
                    <a:pt x="1020" y="286"/>
                  </a:lnTo>
                  <a:lnTo>
                    <a:pt x="1020" y="277"/>
                  </a:lnTo>
                  <a:lnTo>
                    <a:pt x="1010" y="267"/>
                  </a:lnTo>
                  <a:lnTo>
                    <a:pt x="1010" y="258"/>
                  </a:lnTo>
                  <a:lnTo>
                    <a:pt x="1000" y="258"/>
                  </a:lnTo>
                  <a:lnTo>
                    <a:pt x="991" y="248"/>
                  </a:lnTo>
                  <a:lnTo>
                    <a:pt x="972" y="248"/>
                  </a:lnTo>
                  <a:lnTo>
                    <a:pt x="972" y="258"/>
                  </a:lnTo>
                  <a:lnTo>
                    <a:pt x="962" y="258"/>
                  </a:lnTo>
                  <a:lnTo>
                    <a:pt x="953" y="258"/>
                  </a:lnTo>
                  <a:lnTo>
                    <a:pt x="943" y="248"/>
                  </a:lnTo>
                  <a:lnTo>
                    <a:pt x="934" y="248"/>
                  </a:lnTo>
                  <a:lnTo>
                    <a:pt x="924" y="248"/>
                  </a:lnTo>
                  <a:lnTo>
                    <a:pt x="924" y="267"/>
                  </a:lnTo>
                  <a:lnTo>
                    <a:pt x="934" y="277"/>
                  </a:lnTo>
                  <a:lnTo>
                    <a:pt x="934" y="286"/>
                  </a:lnTo>
                  <a:lnTo>
                    <a:pt x="924" y="286"/>
                  </a:lnTo>
                  <a:lnTo>
                    <a:pt x="924" y="296"/>
                  </a:lnTo>
                  <a:lnTo>
                    <a:pt x="934" y="296"/>
                  </a:lnTo>
                  <a:lnTo>
                    <a:pt x="934" y="315"/>
                  </a:lnTo>
                  <a:lnTo>
                    <a:pt x="934" y="324"/>
                  </a:lnTo>
                  <a:lnTo>
                    <a:pt x="924" y="334"/>
                  </a:lnTo>
                  <a:lnTo>
                    <a:pt x="924" y="343"/>
                  </a:lnTo>
                  <a:lnTo>
                    <a:pt x="924" y="353"/>
                  </a:lnTo>
                  <a:lnTo>
                    <a:pt x="934" y="362"/>
                  </a:lnTo>
                  <a:lnTo>
                    <a:pt x="943" y="372"/>
                  </a:lnTo>
                  <a:lnTo>
                    <a:pt x="953" y="401"/>
                  </a:lnTo>
                  <a:lnTo>
                    <a:pt x="943" y="420"/>
                  </a:lnTo>
                  <a:lnTo>
                    <a:pt x="934" y="429"/>
                  </a:lnTo>
                  <a:lnTo>
                    <a:pt x="924" y="439"/>
                  </a:lnTo>
                  <a:lnTo>
                    <a:pt x="915" y="448"/>
                  </a:lnTo>
                  <a:lnTo>
                    <a:pt x="905" y="448"/>
                  </a:lnTo>
                  <a:lnTo>
                    <a:pt x="905" y="458"/>
                  </a:lnTo>
                  <a:lnTo>
                    <a:pt x="915" y="458"/>
                  </a:lnTo>
                  <a:lnTo>
                    <a:pt x="915" y="477"/>
                  </a:lnTo>
                  <a:lnTo>
                    <a:pt x="915" y="487"/>
                  </a:lnTo>
                  <a:lnTo>
                    <a:pt x="915" y="496"/>
                  </a:lnTo>
                  <a:lnTo>
                    <a:pt x="924" y="506"/>
                  </a:lnTo>
                  <a:lnTo>
                    <a:pt x="915" y="515"/>
                  </a:lnTo>
                  <a:lnTo>
                    <a:pt x="915" y="525"/>
                  </a:lnTo>
                  <a:lnTo>
                    <a:pt x="905" y="525"/>
                  </a:lnTo>
                  <a:lnTo>
                    <a:pt x="896" y="525"/>
                  </a:lnTo>
                  <a:lnTo>
                    <a:pt x="886" y="506"/>
                  </a:lnTo>
                  <a:lnTo>
                    <a:pt x="877" y="506"/>
                  </a:lnTo>
                  <a:lnTo>
                    <a:pt x="867" y="496"/>
                  </a:lnTo>
                  <a:lnTo>
                    <a:pt x="867" y="487"/>
                  </a:lnTo>
                  <a:lnTo>
                    <a:pt x="867" y="467"/>
                  </a:lnTo>
                  <a:lnTo>
                    <a:pt x="867" y="458"/>
                  </a:lnTo>
                  <a:lnTo>
                    <a:pt x="867" y="439"/>
                  </a:lnTo>
                  <a:lnTo>
                    <a:pt x="857" y="439"/>
                  </a:lnTo>
                  <a:lnTo>
                    <a:pt x="848" y="439"/>
                  </a:lnTo>
                  <a:lnTo>
                    <a:pt x="838" y="439"/>
                  </a:lnTo>
                  <a:lnTo>
                    <a:pt x="829" y="429"/>
                  </a:lnTo>
                  <a:lnTo>
                    <a:pt x="819" y="429"/>
                  </a:lnTo>
                  <a:lnTo>
                    <a:pt x="810" y="420"/>
                  </a:lnTo>
                  <a:lnTo>
                    <a:pt x="791" y="420"/>
                  </a:lnTo>
                  <a:lnTo>
                    <a:pt x="781" y="410"/>
                  </a:lnTo>
                  <a:lnTo>
                    <a:pt x="772" y="401"/>
                  </a:lnTo>
                  <a:lnTo>
                    <a:pt x="753" y="391"/>
                  </a:lnTo>
                  <a:lnTo>
                    <a:pt x="743" y="391"/>
                  </a:lnTo>
                  <a:lnTo>
                    <a:pt x="734" y="391"/>
                  </a:lnTo>
                  <a:lnTo>
                    <a:pt x="714" y="391"/>
                  </a:lnTo>
                  <a:lnTo>
                    <a:pt x="714" y="382"/>
                  </a:lnTo>
                  <a:lnTo>
                    <a:pt x="714" y="372"/>
                  </a:lnTo>
                  <a:lnTo>
                    <a:pt x="705" y="353"/>
                  </a:lnTo>
                  <a:lnTo>
                    <a:pt x="695" y="353"/>
                  </a:lnTo>
                  <a:lnTo>
                    <a:pt x="686" y="343"/>
                  </a:lnTo>
                  <a:lnTo>
                    <a:pt x="686" y="324"/>
                  </a:lnTo>
                  <a:lnTo>
                    <a:pt x="686" y="296"/>
                  </a:lnTo>
                  <a:lnTo>
                    <a:pt x="695" y="286"/>
                  </a:lnTo>
                  <a:lnTo>
                    <a:pt x="695" y="277"/>
                  </a:lnTo>
                  <a:lnTo>
                    <a:pt x="705" y="267"/>
                  </a:lnTo>
                  <a:lnTo>
                    <a:pt x="705" y="258"/>
                  </a:lnTo>
                  <a:lnTo>
                    <a:pt x="714" y="248"/>
                  </a:lnTo>
                  <a:lnTo>
                    <a:pt x="724" y="248"/>
                  </a:lnTo>
                  <a:lnTo>
                    <a:pt x="714" y="238"/>
                  </a:lnTo>
                  <a:lnTo>
                    <a:pt x="724" y="229"/>
                  </a:lnTo>
                  <a:lnTo>
                    <a:pt x="724" y="238"/>
                  </a:lnTo>
                  <a:lnTo>
                    <a:pt x="734" y="238"/>
                  </a:lnTo>
                  <a:lnTo>
                    <a:pt x="743" y="229"/>
                  </a:lnTo>
                  <a:lnTo>
                    <a:pt x="743" y="219"/>
                  </a:lnTo>
                  <a:lnTo>
                    <a:pt x="734" y="210"/>
                  </a:lnTo>
                  <a:lnTo>
                    <a:pt x="743" y="210"/>
                  </a:lnTo>
                  <a:lnTo>
                    <a:pt x="753" y="210"/>
                  </a:lnTo>
                  <a:lnTo>
                    <a:pt x="762" y="200"/>
                  </a:lnTo>
                  <a:lnTo>
                    <a:pt x="762" y="210"/>
                  </a:lnTo>
                  <a:lnTo>
                    <a:pt x="772" y="210"/>
                  </a:lnTo>
                  <a:lnTo>
                    <a:pt x="781" y="200"/>
                  </a:lnTo>
                  <a:lnTo>
                    <a:pt x="791" y="191"/>
                  </a:lnTo>
                  <a:lnTo>
                    <a:pt x="791" y="181"/>
                  </a:lnTo>
                  <a:lnTo>
                    <a:pt x="791" y="172"/>
                  </a:lnTo>
                  <a:lnTo>
                    <a:pt x="791" y="162"/>
                  </a:lnTo>
                  <a:lnTo>
                    <a:pt x="772" y="162"/>
                  </a:lnTo>
                  <a:lnTo>
                    <a:pt x="753" y="153"/>
                  </a:lnTo>
                  <a:lnTo>
                    <a:pt x="753" y="143"/>
                  </a:lnTo>
                  <a:lnTo>
                    <a:pt x="772" y="143"/>
                  </a:lnTo>
                  <a:lnTo>
                    <a:pt x="781" y="153"/>
                  </a:lnTo>
                  <a:lnTo>
                    <a:pt x="791" y="162"/>
                  </a:lnTo>
                  <a:lnTo>
                    <a:pt x="800" y="153"/>
                  </a:lnTo>
                  <a:lnTo>
                    <a:pt x="810" y="143"/>
                  </a:lnTo>
                  <a:lnTo>
                    <a:pt x="819" y="133"/>
                  </a:lnTo>
                  <a:lnTo>
                    <a:pt x="810" y="133"/>
                  </a:lnTo>
                  <a:lnTo>
                    <a:pt x="800" y="124"/>
                  </a:lnTo>
                  <a:lnTo>
                    <a:pt x="819" y="124"/>
                  </a:lnTo>
                  <a:lnTo>
                    <a:pt x="829" y="133"/>
                  </a:lnTo>
                  <a:lnTo>
                    <a:pt x="838" y="124"/>
                  </a:lnTo>
                  <a:lnTo>
                    <a:pt x="829" y="114"/>
                  </a:lnTo>
                  <a:lnTo>
                    <a:pt x="838" y="114"/>
                  </a:lnTo>
                  <a:lnTo>
                    <a:pt x="848" y="114"/>
                  </a:lnTo>
                  <a:lnTo>
                    <a:pt x="848" y="124"/>
                  </a:lnTo>
                  <a:lnTo>
                    <a:pt x="857" y="124"/>
                  </a:lnTo>
                  <a:lnTo>
                    <a:pt x="867" y="114"/>
                  </a:lnTo>
                  <a:lnTo>
                    <a:pt x="877" y="114"/>
                  </a:lnTo>
                  <a:lnTo>
                    <a:pt x="886" y="95"/>
                  </a:lnTo>
                  <a:lnTo>
                    <a:pt x="877" y="95"/>
                  </a:lnTo>
                  <a:lnTo>
                    <a:pt x="867" y="86"/>
                  </a:lnTo>
                  <a:lnTo>
                    <a:pt x="867" y="76"/>
                  </a:lnTo>
                  <a:lnTo>
                    <a:pt x="877" y="76"/>
                  </a:lnTo>
                  <a:lnTo>
                    <a:pt x="877" y="67"/>
                  </a:lnTo>
                  <a:lnTo>
                    <a:pt x="877" y="57"/>
                  </a:lnTo>
                  <a:lnTo>
                    <a:pt x="867" y="57"/>
                  </a:lnTo>
                  <a:lnTo>
                    <a:pt x="867" y="48"/>
                  </a:lnTo>
                  <a:lnTo>
                    <a:pt x="848" y="48"/>
                  </a:lnTo>
                  <a:lnTo>
                    <a:pt x="838" y="48"/>
                  </a:lnTo>
                  <a:lnTo>
                    <a:pt x="829" y="48"/>
                  </a:lnTo>
                  <a:lnTo>
                    <a:pt x="819" y="48"/>
                  </a:lnTo>
                  <a:lnTo>
                    <a:pt x="819" y="67"/>
                  </a:lnTo>
                  <a:lnTo>
                    <a:pt x="829" y="67"/>
                  </a:lnTo>
                  <a:lnTo>
                    <a:pt x="819" y="76"/>
                  </a:lnTo>
                  <a:lnTo>
                    <a:pt x="810" y="86"/>
                  </a:lnTo>
                  <a:lnTo>
                    <a:pt x="810" y="95"/>
                  </a:lnTo>
                  <a:lnTo>
                    <a:pt x="800" y="95"/>
                  </a:lnTo>
                  <a:lnTo>
                    <a:pt x="800" y="105"/>
                  </a:lnTo>
                  <a:lnTo>
                    <a:pt x="791" y="105"/>
                  </a:lnTo>
                  <a:lnTo>
                    <a:pt x="781" y="95"/>
                  </a:lnTo>
                  <a:lnTo>
                    <a:pt x="781" y="86"/>
                  </a:lnTo>
                  <a:lnTo>
                    <a:pt x="791" y="86"/>
                  </a:lnTo>
                  <a:lnTo>
                    <a:pt x="791" y="76"/>
                  </a:lnTo>
                  <a:lnTo>
                    <a:pt x="781" y="76"/>
                  </a:lnTo>
                  <a:lnTo>
                    <a:pt x="772" y="67"/>
                  </a:lnTo>
                  <a:lnTo>
                    <a:pt x="762" y="67"/>
                  </a:lnTo>
                  <a:lnTo>
                    <a:pt x="753" y="67"/>
                  </a:lnTo>
                  <a:lnTo>
                    <a:pt x="753" y="76"/>
                  </a:lnTo>
                  <a:lnTo>
                    <a:pt x="753" y="86"/>
                  </a:lnTo>
                  <a:lnTo>
                    <a:pt x="743" y="76"/>
                  </a:lnTo>
                  <a:lnTo>
                    <a:pt x="743" y="67"/>
                  </a:lnTo>
                  <a:lnTo>
                    <a:pt x="734" y="57"/>
                  </a:lnTo>
                  <a:lnTo>
                    <a:pt x="743" y="57"/>
                  </a:lnTo>
                  <a:lnTo>
                    <a:pt x="734" y="57"/>
                  </a:lnTo>
                  <a:lnTo>
                    <a:pt x="724" y="57"/>
                  </a:lnTo>
                  <a:lnTo>
                    <a:pt x="714" y="48"/>
                  </a:lnTo>
                  <a:lnTo>
                    <a:pt x="714" y="38"/>
                  </a:lnTo>
                  <a:lnTo>
                    <a:pt x="724" y="38"/>
                  </a:lnTo>
                  <a:lnTo>
                    <a:pt x="714" y="19"/>
                  </a:lnTo>
                  <a:lnTo>
                    <a:pt x="714" y="9"/>
                  </a:lnTo>
                  <a:lnTo>
                    <a:pt x="705" y="9"/>
                  </a:lnTo>
                  <a:lnTo>
                    <a:pt x="705" y="0"/>
                  </a:lnTo>
                  <a:lnTo>
                    <a:pt x="695" y="0"/>
                  </a:lnTo>
                  <a:lnTo>
                    <a:pt x="686" y="0"/>
                  </a:lnTo>
                  <a:lnTo>
                    <a:pt x="676" y="0"/>
                  </a:lnTo>
                  <a:lnTo>
                    <a:pt x="667" y="0"/>
                  </a:lnTo>
                  <a:lnTo>
                    <a:pt x="676" y="9"/>
                  </a:lnTo>
                  <a:lnTo>
                    <a:pt x="667" y="9"/>
                  </a:lnTo>
                  <a:lnTo>
                    <a:pt x="657" y="9"/>
                  </a:lnTo>
                  <a:lnTo>
                    <a:pt x="657" y="28"/>
                  </a:lnTo>
                  <a:lnTo>
                    <a:pt x="667" y="28"/>
                  </a:lnTo>
                  <a:lnTo>
                    <a:pt x="657" y="28"/>
                  </a:lnTo>
                  <a:lnTo>
                    <a:pt x="657" y="38"/>
                  </a:lnTo>
                  <a:lnTo>
                    <a:pt x="657" y="48"/>
                  </a:lnTo>
                  <a:lnTo>
                    <a:pt x="667" y="48"/>
                  </a:lnTo>
                  <a:lnTo>
                    <a:pt x="676" y="48"/>
                  </a:lnTo>
                  <a:lnTo>
                    <a:pt x="686" y="48"/>
                  </a:lnTo>
                  <a:lnTo>
                    <a:pt x="686" y="57"/>
                  </a:lnTo>
                  <a:lnTo>
                    <a:pt x="695" y="57"/>
                  </a:lnTo>
                  <a:lnTo>
                    <a:pt x="686" y="57"/>
                  </a:lnTo>
                  <a:lnTo>
                    <a:pt x="686" y="67"/>
                  </a:lnTo>
                  <a:lnTo>
                    <a:pt x="686" y="76"/>
                  </a:lnTo>
                  <a:lnTo>
                    <a:pt x="695" y="67"/>
                  </a:lnTo>
                  <a:lnTo>
                    <a:pt x="695" y="76"/>
                  </a:lnTo>
                  <a:lnTo>
                    <a:pt x="695" y="86"/>
                  </a:lnTo>
                  <a:lnTo>
                    <a:pt x="686" y="86"/>
                  </a:lnTo>
                  <a:lnTo>
                    <a:pt x="676" y="86"/>
                  </a:lnTo>
                  <a:lnTo>
                    <a:pt x="667" y="86"/>
                  </a:lnTo>
                  <a:lnTo>
                    <a:pt x="667" y="95"/>
                  </a:lnTo>
                  <a:lnTo>
                    <a:pt x="676" y="95"/>
                  </a:lnTo>
                  <a:lnTo>
                    <a:pt x="676" y="105"/>
                  </a:lnTo>
                  <a:lnTo>
                    <a:pt x="657" y="105"/>
                  </a:lnTo>
                  <a:lnTo>
                    <a:pt x="657" y="95"/>
                  </a:lnTo>
                  <a:lnTo>
                    <a:pt x="667" y="95"/>
                  </a:lnTo>
                  <a:lnTo>
                    <a:pt x="667" y="86"/>
                  </a:lnTo>
                  <a:lnTo>
                    <a:pt x="657" y="86"/>
                  </a:lnTo>
                  <a:lnTo>
                    <a:pt x="648" y="76"/>
                  </a:lnTo>
                  <a:lnTo>
                    <a:pt x="638" y="76"/>
                  </a:lnTo>
                  <a:lnTo>
                    <a:pt x="629" y="76"/>
                  </a:lnTo>
                  <a:lnTo>
                    <a:pt x="619" y="95"/>
                  </a:lnTo>
                  <a:lnTo>
                    <a:pt x="610" y="95"/>
                  </a:lnTo>
                  <a:lnTo>
                    <a:pt x="591" y="95"/>
                  </a:lnTo>
                  <a:lnTo>
                    <a:pt x="581" y="95"/>
                  </a:lnTo>
                  <a:lnTo>
                    <a:pt x="572" y="95"/>
                  </a:lnTo>
                  <a:lnTo>
                    <a:pt x="562" y="95"/>
                  </a:lnTo>
                  <a:lnTo>
                    <a:pt x="552" y="86"/>
                  </a:lnTo>
                  <a:lnTo>
                    <a:pt x="543" y="86"/>
                  </a:lnTo>
                  <a:lnTo>
                    <a:pt x="533" y="86"/>
                  </a:lnTo>
                  <a:lnTo>
                    <a:pt x="524" y="76"/>
                  </a:lnTo>
                  <a:lnTo>
                    <a:pt x="514" y="76"/>
                  </a:lnTo>
                  <a:lnTo>
                    <a:pt x="514" y="86"/>
                  </a:lnTo>
                  <a:lnTo>
                    <a:pt x="505" y="86"/>
                  </a:lnTo>
                  <a:lnTo>
                    <a:pt x="486" y="86"/>
                  </a:lnTo>
                  <a:lnTo>
                    <a:pt x="486" y="95"/>
                  </a:lnTo>
                  <a:lnTo>
                    <a:pt x="495" y="105"/>
                  </a:lnTo>
                  <a:lnTo>
                    <a:pt x="495" y="114"/>
                  </a:lnTo>
                  <a:lnTo>
                    <a:pt x="486" y="114"/>
                  </a:lnTo>
                  <a:lnTo>
                    <a:pt x="476" y="114"/>
                  </a:lnTo>
                  <a:lnTo>
                    <a:pt x="486" y="105"/>
                  </a:lnTo>
                  <a:lnTo>
                    <a:pt x="476" y="95"/>
                  </a:lnTo>
                  <a:lnTo>
                    <a:pt x="467" y="95"/>
                  </a:lnTo>
                  <a:lnTo>
                    <a:pt x="457" y="95"/>
                  </a:lnTo>
                  <a:lnTo>
                    <a:pt x="438" y="95"/>
                  </a:lnTo>
                  <a:lnTo>
                    <a:pt x="419" y="95"/>
                  </a:lnTo>
                  <a:lnTo>
                    <a:pt x="400" y="95"/>
                  </a:lnTo>
                  <a:lnTo>
                    <a:pt x="390" y="95"/>
                  </a:lnTo>
                  <a:lnTo>
                    <a:pt x="381" y="95"/>
                  </a:lnTo>
                  <a:lnTo>
                    <a:pt x="371" y="86"/>
                  </a:lnTo>
                  <a:lnTo>
                    <a:pt x="381" y="86"/>
                  </a:lnTo>
                  <a:lnTo>
                    <a:pt x="390" y="86"/>
                  </a:lnTo>
                  <a:lnTo>
                    <a:pt x="400" y="76"/>
                  </a:lnTo>
                  <a:lnTo>
                    <a:pt x="381" y="67"/>
                  </a:lnTo>
                  <a:lnTo>
                    <a:pt x="371" y="67"/>
                  </a:lnTo>
                  <a:lnTo>
                    <a:pt x="362" y="67"/>
                  </a:lnTo>
                  <a:lnTo>
                    <a:pt x="352" y="67"/>
                  </a:lnTo>
                  <a:lnTo>
                    <a:pt x="343" y="67"/>
                  </a:lnTo>
                  <a:lnTo>
                    <a:pt x="324" y="57"/>
                  </a:lnTo>
                  <a:lnTo>
                    <a:pt x="314" y="57"/>
                  </a:lnTo>
                  <a:lnTo>
                    <a:pt x="305" y="57"/>
                  </a:lnTo>
                  <a:lnTo>
                    <a:pt x="286" y="48"/>
                  </a:lnTo>
                  <a:lnTo>
                    <a:pt x="266" y="48"/>
                  </a:lnTo>
                  <a:lnTo>
                    <a:pt x="266" y="57"/>
                  </a:lnTo>
                  <a:lnTo>
                    <a:pt x="257" y="57"/>
                  </a:lnTo>
                  <a:lnTo>
                    <a:pt x="247" y="57"/>
                  </a:lnTo>
                  <a:lnTo>
                    <a:pt x="238" y="48"/>
                  </a:lnTo>
                  <a:lnTo>
                    <a:pt x="247" y="48"/>
                  </a:lnTo>
                  <a:lnTo>
                    <a:pt x="247" y="38"/>
                  </a:lnTo>
                  <a:lnTo>
                    <a:pt x="228" y="48"/>
                  </a:lnTo>
                  <a:lnTo>
                    <a:pt x="228" y="57"/>
                  </a:lnTo>
                  <a:lnTo>
                    <a:pt x="219" y="57"/>
                  </a:lnTo>
                  <a:lnTo>
                    <a:pt x="209" y="48"/>
                  </a:lnTo>
                  <a:lnTo>
                    <a:pt x="209" y="38"/>
                  </a:lnTo>
                  <a:lnTo>
                    <a:pt x="190" y="28"/>
                  </a:lnTo>
                  <a:lnTo>
                    <a:pt x="190" y="38"/>
                  </a:lnTo>
                  <a:lnTo>
                    <a:pt x="190" y="48"/>
                  </a:lnTo>
                  <a:lnTo>
                    <a:pt x="181" y="48"/>
                  </a:lnTo>
                  <a:lnTo>
                    <a:pt x="171" y="48"/>
                  </a:lnTo>
                  <a:lnTo>
                    <a:pt x="152" y="57"/>
                  </a:lnTo>
                  <a:lnTo>
                    <a:pt x="143" y="57"/>
                  </a:lnTo>
                  <a:lnTo>
                    <a:pt x="124" y="67"/>
                  </a:lnTo>
                  <a:lnTo>
                    <a:pt x="114" y="76"/>
                  </a:lnTo>
                  <a:lnTo>
                    <a:pt x="114" y="67"/>
                  </a:lnTo>
                  <a:lnTo>
                    <a:pt x="124" y="57"/>
                  </a:lnTo>
                  <a:lnTo>
                    <a:pt x="143" y="57"/>
                  </a:lnTo>
                  <a:lnTo>
                    <a:pt x="162" y="48"/>
                  </a:lnTo>
                  <a:lnTo>
                    <a:pt x="162" y="38"/>
                  </a:lnTo>
                  <a:lnTo>
                    <a:pt x="152" y="38"/>
                  </a:lnTo>
                  <a:lnTo>
                    <a:pt x="143" y="48"/>
                  </a:lnTo>
                  <a:lnTo>
                    <a:pt x="133" y="48"/>
                  </a:lnTo>
                  <a:lnTo>
                    <a:pt x="124" y="48"/>
                  </a:lnTo>
                  <a:lnTo>
                    <a:pt x="114" y="57"/>
                  </a:lnTo>
                  <a:lnTo>
                    <a:pt x="104" y="57"/>
                  </a:lnTo>
                  <a:lnTo>
                    <a:pt x="95" y="57"/>
                  </a:lnTo>
                  <a:lnTo>
                    <a:pt x="85" y="57"/>
                  </a:lnTo>
                  <a:lnTo>
                    <a:pt x="76" y="67"/>
                  </a:lnTo>
                  <a:lnTo>
                    <a:pt x="85" y="76"/>
                  </a:lnTo>
                  <a:lnTo>
                    <a:pt x="66" y="76"/>
                  </a:lnTo>
                  <a:lnTo>
                    <a:pt x="57" y="67"/>
                  </a:lnTo>
                  <a:lnTo>
                    <a:pt x="47" y="67"/>
                  </a:lnTo>
                  <a:lnTo>
                    <a:pt x="38" y="67"/>
                  </a:lnTo>
                  <a:lnTo>
                    <a:pt x="19" y="57"/>
                  </a:lnTo>
                  <a:lnTo>
                    <a:pt x="9" y="57"/>
                  </a:lnTo>
                  <a:lnTo>
                    <a:pt x="0" y="57"/>
                  </a:lnTo>
                  <a:lnTo>
                    <a:pt x="0" y="305"/>
                  </a:lnTo>
                  <a:lnTo>
                    <a:pt x="19" y="315"/>
                  </a:lnTo>
                  <a:lnTo>
                    <a:pt x="19" y="305"/>
                  </a:lnTo>
                  <a:lnTo>
                    <a:pt x="28" y="315"/>
                  </a:lnTo>
                  <a:lnTo>
                    <a:pt x="57" y="343"/>
                  </a:lnTo>
                  <a:lnTo>
                    <a:pt x="66" y="334"/>
                  </a:lnTo>
                  <a:lnTo>
                    <a:pt x="85" y="334"/>
                  </a:lnTo>
                  <a:lnTo>
                    <a:pt x="95" y="334"/>
                  </a:lnTo>
                  <a:lnTo>
                    <a:pt x="104" y="353"/>
                  </a:lnTo>
                  <a:lnTo>
                    <a:pt x="114" y="362"/>
                  </a:lnTo>
                  <a:lnTo>
                    <a:pt x="133" y="401"/>
                  </a:lnTo>
                  <a:lnTo>
                    <a:pt x="143" y="410"/>
                  </a:lnTo>
                  <a:lnTo>
                    <a:pt x="162" y="420"/>
                  </a:lnTo>
                  <a:lnTo>
                    <a:pt x="162" y="439"/>
                  </a:lnTo>
                  <a:lnTo>
                    <a:pt x="162" y="448"/>
                  </a:lnTo>
                  <a:lnTo>
                    <a:pt x="152" y="458"/>
                  </a:lnTo>
                  <a:lnTo>
                    <a:pt x="162" y="467"/>
                  </a:lnTo>
                  <a:lnTo>
                    <a:pt x="162" y="477"/>
                  </a:lnTo>
                  <a:lnTo>
                    <a:pt x="171" y="487"/>
                  </a:lnTo>
                  <a:lnTo>
                    <a:pt x="171" y="477"/>
                  </a:lnTo>
                  <a:lnTo>
                    <a:pt x="181" y="487"/>
                  </a:lnTo>
                  <a:lnTo>
                    <a:pt x="171" y="487"/>
                  </a:lnTo>
                  <a:lnTo>
                    <a:pt x="171" y="496"/>
                  </a:lnTo>
                  <a:lnTo>
                    <a:pt x="181" y="496"/>
                  </a:lnTo>
                  <a:lnTo>
                    <a:pt x="190" y="496"/>
                  </a:lnTo>
                  <a:lnTo>
                    <a:pt x="190" y="506"/>
                  </a:lnTo>
                  <a:lnTo>
                    <a:pt x="190" y="515"/>
                  </a:lnTo>
                  <a:lnTo>
                    <a:pt x="190" y="534"/>
                  </a:lnTo>
                  <a:lnTo>
                    <a:pt x="200" y="534"/>
                  </a:lnTo>
                  <a:lnTo>
                    <a:pt x="209" y="534"/>
                  </a:lnTo>
                  <a:lnTo>
                    <a:pt x="219" y="544"/>
                  </a:lnTo>
                  <a:lnTo>
                    <a:pt x="228" y="544"/>
                  </a:lnTo>
                  <a:lnTo>
                    <a:pt x="238" y="544"/>
                  </a:lnTo>
                  <a:lnTo>
                    <a:pt x="238" y="553"/>
                  </a:lnTo>
                  <a:lnTo>
                    <a:pt x="247" y="553"/>
                  </a:lnTo>
                  <a:lnTo>
                    <a:pt x="257" y="563"/>
                  </a:lnTo>
                  <a:lnTo>
                    <a:pt x="266" y="572"/>
                  </a:lnTo>
                  <a:lnTo>
                    <a:pt x="276" y="582"/>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44" name="Freeform 425">
              <a:extLst>
                <a:ext uri="{FF2B5EF4-FFF2-40B4-BE49-F238E27FC236}">
                  <a16:creationId xmlns:a16="http://schemas.microsoft.com/office/drawing/2014/main" id="{8654311E-AB30-46AC-A252-B7FE9972AE9F}"/>
                </a:ext>
              </a:extLst>
            </p:cNvPr>
            <p:cNvSpPr>
              <a:spLocks/>
            </p:cNvSpPr>
            <p:nvPr/>
          </p:nvSpPr>
          <p:spPr bwMode="gray">
            <a:xfrm>
              <a:off x="867" y="2032"/>
              <a:ext cx="95" cy="86"/>
            </a:xfrm>
            <a:custGeom>
              <a:avLst/>
              <a:gdLst>
                <a:gd name="T0" fmla="*/ 0 w 95"/>
                <a:gd name="T1" fmla="*/ 0 h 86"/>
                <a:gd name="T2" fmla="*/ 9 w 95"/>
                <a:gd name="T3" fmla="*/ 0 h 86"/>
                <a:gd name="T4" fmla="*/ 9 w 95"/>
                <a:gd name="T5" fmla="*/ 10 h 86"/>
                <a:gd name="T6" fmla="*/ 9 w 95"/>
                <a:gd name="T7" fmla="*/ 10 h 86"/>
                <a:gd name="T8" fmla="*/ 9 w 95"/>
                <a:gd name="T9" fmla="*/ 19 h 86"/>
                <a:gd name="T10" fmla="*/ 9 w 95"/>
                <a:gd name="T11" fmla="*/ 38 h 86"/>
                <a:gd name="T12" fmla="*/ 19 w 95"/>
                <a:gd name="T13" fmla="*/ 38 h 86"/>
                <a:gd name="T14" fmla="*/ 38 w 95"/>
                <a:gd name="T15" fmla="*/ 38 h 86"/>
                <a:gd name="T16" fmla="*/ 38 w 95"/>
                <a:gd name="T17" fmla="*/ 48 h 86"/>
                <a:gd name="T18" fmla="*/ 47 w 95"/>
                <a:gd name="T19" fmla="*/ 48 h 86"/>
                <a:gd name="T20" fmla="*/ 57 w 95"/>
                <a:gd name="T21" fmla="*/ 48 h 86"/>
                <a:gd name="T22" fmla="*/ 57 w 95"/>
                <a:gd name="T23" fmla="*/ 57 h 86"/>
                <a:gd name="T24" fmla="*/ 66 w 95"/>
                <a:gd name="T25" fmla="*/ 57 h 86"/>
                <a:gd name="T26" fmla="*/ 76 w 95"/>
                <a:gd name="T27" fmla="*/ 67 h 86"/>
                <a:gd name="T28" fmla="*/ 76 w 95"/>
                <a:gd name="T29" fmla="*/ 67 h 86"/>
                <a:gd name="T30" fmla="*/ 85 w 95"/>
                <a:gd name="T31" fmla="*/ 76 h 86"/>
                <a:gd name="T32" fmla="*/ 95 w 95"/>
                <a:gd name="T33" fmla="*/ 86 h 86"/>
                <a:gd name="T34" fmla="*/ 95 w 95"/>
                <a:gd name="T35" fmla="*/ 86 h 86"/>
                <a:gd name="T36" fmla="*/ 0 w 95"/>
                <a:gd name="T37" fmla="*/ 0 h 8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5"/>
                <a:gd name="T58" fmla="*/ 0 h 86"/>
                <a:gd name="T59" fmla="*/ 95 w 95"/>
                <a:gd name="T60" fmla="*/ 86 h 8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5" h="86">
                  <a:moveTo>
                    <a:pt x="0" y="0"/>
                  </a:moveTo>
                  <a:lnTo>
                    <a:pt x="9" y="0"/>
                  </a:lnTo>
                  <a:lnTo>
                    <a:pt x="9" y="10"/>
                  </a:lnTo>
                  <a:lnTo>
                    <a:pt x="9" y="19"/>
                  </a:lnTo>
                  <a:lnTo>
                    <a:pt x="9" y="38"/>
                  </a:lnTo>
                  <a:lnTo>
                    <a:pt x="19" y="38"/>
                  </a:lnTo>
                  <a:lnTo>
                    <a:pt x="38" y="38"/>
                  </a:lnTo>
                  <a:lnTo>
                    <a:pt x="38" y="48"/>
                  </a:lnTo>
                  <a:lnTo>
                    <a:pt x="47" y="48"/>
                  </a:lnTo>
                  <a:lnTo>
                    <a:pt x="57" y="48"/>
                  </a:lnTo>
                  <a:lnTo>
                    <a:pt x="57" y="57"/>
                  </a:lnTo>
                  <a:lnTo>
                    <a:pt x="66" y="57"/>
                  </a:lnTo>
                  <a:lnTo>
                    <a:pt x="76" y="67"/>
                  </a:lnTo>
                  <a:lnTo>
                    <a:pt x="85" y="76"/>
                  </a:lnTo>
                  <a:lnTo>
                    <a:pt x="95" y="86"/>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45" name="Freeform 426">
              <a:extLst>
                <a:ext uri="{FF2B5EF4-FFF2-40B4-BE49-F238E27FC236}">
                  <a16:creationId xmlns:a16="http://schemas.microsoft.com/office/drawing/2014/main" id="{671C9840-9678-458B-A845-01C1CF80AD08}"/>
                </a:ext>
              </a:extLst>
            </p:cNvPr>
            <p:cNvSpPr>
              <a:spLocks/>
            </p:cNvSpPr>
            <p:nvPr/>
          </p:nvSpPr>
          <p:spPr bwMode="gray">
            <a:xfrm>
              <a:off x="924" y="2118"/>
              <a:ext cx="848" cy="410"/>
            </a:xfrm>
            <a:custGeom>
              <a:avLst/>
              <a:gdLst>
                <a:gd name="T0" fmla="*/ 171 w 848"/>
                <a:gd name="T1" fmla="*/ 296 h 410"/>
                <a:gd name="T2" fmla="*/ 248 w 848"/>
                <a:gd name="T3" fmla="*/ 305 h 410"/>
                <a:gd name="T4" fmla="*/ 295 w 848"/>
                <a:gd name="T5" fmla="*/ 315 h 410"/>
                <a:gd name="T6" fmla="*/ 314 w 848"/>
                <a:gd name="T7" fmla="*/ 344 h 410"/>
                <a:gd name="T8" fmla="*/ 334 w 848"/>
                <a:gd name="T9" fmla="*/ 324 h 410"/>
                <a:gd name="T10" fmla="*/ 391 w 848"/>
                <a:gd name="T11" fmla="*/ 391 h 410"/>
                <a:gd name="T12" fmla="*/ 410 w 848"/>
                <a:gd name="T13" fmla="*/ 372 h 410"/>
                <a:gd name="T14" fmla="*/ 448 w 848"/>
                <a:gd name="T15" fmla="*/ 344 h 410"/>
                <a:gd name="T16" fmla="*/ 496 w 848"/>
                <a:gd name="T17" fmla="*/ 334 h 410"/>
                <a:gd name="T18" fmla="*/ 534 w 848"/>
                <a:gd name="T19" fmla="*/ 344 h 410"/>
                <a:gd name="T20" fmla="*/ 534 w 848"/>
                <a:gd name="T21" fmla="*/ 324 h 410"/>
                <a:gd name="T22" fmla="*/ 572 w 848"/>
                <a:gd name="T23" fmla="*/ 324 h 410"/>
                <a:gd name="T24" fmla="*/ 600 w 848"/>
                <a:gd name="T25" fmla="*/ 334 h 410"/>
                <a:gd name="T26" fmla="*/ 629 w 848"/>
                <a:gd name="T27" fmla="*/ 353 h 410"/>
                <a:gd name="T28" fmla="*/ 629 w 848"/>
                <a:gd name="T29" fmla="*/ 372 h 410"/>
                <a:gd name="T30" fmla="*/ 648 w 848"/>
                <a:gd name="T31" fmla="*/ 410 h 410"/>
                <a:gd name="T32" fmla="*/ 648 w 848"/>
                <a:gd name="T33" fmla="*/ 344 h 410"/>
                <a:gd name="T34" fmla="*/ 648 w 848"/>
                <a:gd name="T35" fmla="*/ 296 h 410"/>
                <a:gd name="T36" fmla="*/ 696 w 848"/>
                <a:gd name="T37" fmla="*/ 258 h 410"/>
                <a:gd name="T38" fmla="*/ 715 w 848"/>
                <a:gd name="T39" fmla="*/ 239 h 410"/>
                <a:gd name="T40" fmla="*/ 715 w 848"/>
                <a:gd name="T41" fmla="*/ 219 h 410"/>
                <a:gd name="T42" fmla="*/ 715 w 848"/>
                <a:gd name="T43" fmla="*/ 172 h 410"/>
                <a:gd name="T44" fmla="*/ 724 w 848"/>
                <a:gd name="T45" fmla="*/ 210 h 410"/>
                <a:gd name="T46" fmla="*/ 724 w 848"/>
                <a:gd name="T47" fmla="*/ 181 h 410"/>
                <a:gd name="T48" fmla="*/ 753 w 848"/>
                <a:gd name="T49" fmla="*/ 162 h 410"/>
                <a:gd name="T50" fmla="*/ 753 w 848"/>
                <a:gd name="T51" fmla="*/ 143 h 410"/>
                <a:gd name="T52" fmla="*/ 782 w 848"/>
                <a:gd name="T53" fmla="*/ 134 h 410"/>
                <a:gd name="T54" fmla="*/ 791 w 848"/>
                <a:gd name="T55" fmla="*/ 134 h 410"/>
                <a:gd name="T56" fmla="*/ 801 w 848"/>
                <a:gd name="T57" fmla="*/ 105 h 410"/>
                <a:gd name="T58" fmla="*/ 820 w 848"/>
                <a:gd name="T59" fmla="*/ 95 h 410"/>
                <a:gd name="T60" fmla="*/ 829 w 848"/>
                <a:gd name="T61" fmla="*/ 86 h 410"/>
                <a:gd name="T62" fmla="*/ 839 w 848"/>
                <a:gd name="T63" fmla="*/ 38 h 410"/>
                <a:gd name="T64" fmla="*/ 762 w 848"/>
                <a:gd name="T65" fmla="*/ 67 h 410"/>
                <a:gd name="T66" fmla="*/ 715 w 848"/>
                <a:gd name="T67" fmla="*/ 86 h 410"/>
                <a:gd name="T68" fmla="*/ 619 w 848"/>
                <a:gd name="T69" fmla="*/ 124 h 410"/>
                <a:gd name="T70" fmla="*/ 591 w 848"/>
                <a:gd name="T71" fmla="*/ 38 h 410"/>
                <a:gd name="T72" fmla="*/ 486 w 848"/>
                <a:gd name="T73" fmla="*/ 10 h 410"/>
                <a:gd name="T74" fmla="*/ 38 w 848"/>
                <a:gd name="T75" fmla="*/ 0 h 410"/>
                <a:gd name="T76" fmla="*/ 38 w 848"/>
                <a:gd name="T77" fmla="*/ 29 h 410"/>
                <a:gd name="T78" fmla="*/ 9 w 848"/>
                <a:gd name="T79" fmla="*/ 10 h 410"/>
                <a:gd name="T80" fmla="*/ 19 w 848"/>
                <a:gd name="T81" fmla="*/ 48 h 410"/>
                <a:gd name="T82" fmla="*/ 9 w 848"/>
                <a:gd name="T83" fmla="*/ 124 h 410"/>
                <a:gd name="T84" fmla="*/ 19 w 848"/>
                <a:gd name="T85" fmla="*/ 172 h 410"/>
                <a:gd name="T86" fmla="*/ 38 w 848"/>
                <a:gd name="T87" fmla="*/ 200 h 410"/>
                <a:gd name="T88" fmla="*/ 48 w 848"/>
                <a:gd name="T89" fmla="*/ 219 h 410"/>
                <a:gd name="T90" fmla="*/ 67 w 848"/>
                <a:gd name="T91" fmla="*/ 258 h 410"/>
                <a:gd name="T92" fmla="*/ 95 w 848"/>
                <a:gd name="T93" fmla="*/ 267 h 410"/>
                <a:gd name="T94" fmla="*/ 114 w 848"/>
                <a:gd name="T95" fmla="*/ 286 h 41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48"/>
                <a:gd name="T145" fmla="*/ 0 h 410"/>
                <a:gd name="T146" fmla="*/ 848 w 848"/>
                <a:gd name="T147" fmla="*/ 410 h 41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48" h="410">
                  <a:moveTo>
                    <a:pt x="114" y="286"/>
                  </a:moveTo>
                  <a:lnTo>
                    <a:pt x="124" y="286"/>
                  </a:lnTo>
                  <a:lnTo>
                    <a:pt x="152" y="286"/>
                  </a:lnTo>
                  <a:lnTo>
                    <a:pt x="171" y="296"/>
                  </a:lnTo>
                  <a:lnTo>
                    <a:pt x="191" y="305"/>
                  </a:lnTo>
                  <a:lnTo>
                    <a:pt x="200" y="305"/>
                  </a:lnTo>
                  <a:lnTo>
                    <a:pt x="229" y="315"/>
                  </a:lnTo>
                  <a:lnTo>
                    <a:pt x="248" y="305"/>
                  </a:lnTo>
                  <a:lnTo>
                    <a:pt x="248" y="296"/>
                  </a:lnTo>
                  <a:lnTo>
                    <a:pt x="267" y="296"/>
                  </a:lnTo>
                  <a:lnTo>
                    <a:pt x="276" y="305"/>
                  </a:lnTo>
                  <a:lnTo>
                    <a:pt x="295" y="315"/>
                  </a:lnTo>
                  <a:lnTo>
                    <a:pt x="305" y="315"/>
                  </a:lnTo>
                  <a:lnTo>
                    <a:pt x="305" y="334"/>
                  </a:lnTo>
                  <a:lnTo>
                    <a:pt x="314" y="344"/>
                  </a:lnTo>
                  <a:lnTo>
                    <a:pt x="324" y="344"/>
                  </a:lnTo>
                  <a:lnTo>
                    <a:pt x="324" y="334"/>
                  </a:lnTo>
                  <a:lnTo>
                    <a:pt x="334" y="324"/>
                  </a:lnTo>
                  <a:lnTo>
                    <a:pt x="353" y="344"/>
                  </a:lnTo>
                  <a:lnTo>
                    <a:pt x="372" y="372"/>
                  </a:lnTo>
                  <a:lnTo>
                    <a:pt x="381" y="382"/>
                  </a:lnTo>
                  <a:lnTo>
                    <a:pt x="391" y="391"/>
                  </a:lnTo>
                  <a:lnTo>
                    <a:pt x="410" y="391"/>
                  </a:lnTo>
                  <a:lnTo>
                    <a:pt x="410" y="382"/>
                  </a:lnTo>
                  <a:lnTo>
                    <a:pt x="410" y="372"/>
                  </a:lnTo>
                  <a:lnTo>
                    <a:pt x="410" y="363"/>
                  </a:lnTo>
                  <a:lnTo>
                    <a:pt x="429" y="344"/>
                  </a:lnTo>
                  <a:lnTo>
                    <a:pt x="448" y="344"/>
                  </a:lnTo>
                  <a:lnTo>
                    <a:pt x="457" y="334"/>
                  </a:lnTo>
                  <a:lnTo>
                    <a:pt x="467" y="334"/>
                  </a:lnTo>
                  <a:lnTo>
                    <a:pt x="486" y="334"/>
                  </a:lnTo>
                  <a:lnTo>
                    <a:pt x="496" y="334"/>
                  </a:lnTo>
                  <a:lnTo>
                    <a:pt x="505" y="344"/>
                  </a:lnTo>
                  <a:lnTo>
                    <a:pt x="515" y="344"/>
                  </a:lnTo>
                  <a:lnTo>
                    <a:pt x="524" y="344"/>
                  </a:lnTo>
                  <a:lnTo>
                    <a:pt x="534" y="344"/>
                  </a:lnTo>
                  <a:lnTo>
                    <a:pt x="524" y="334"/>
                  </a:lnTo>
                  <a:lnTo>
                    <a:pt x="524" y="324"/>
                  </a:lnTo>
                  <a:lnTo>
                    <a:pt x="534" y="324"/>
                  </a:lnTo>
                  <a:lnTo>
                    <a:pt x="553" y="324"/>
                  </a:lnTo>
                  <a:lnTo>
                    <a:pt x="562" y="324"/>
                  </a:lnTo>
                  <a:lnTo>
                    <a:pt x="572" y="324"/>
                  </a:lnTo>
                  <a:lnTo>
                    <a:pt x="581" y="324"/>
                  </a:lnTo>
                  <a:lnTo>
                    <a:pt x="591" y="334"/>
                  </a:lnTo>
                  <a:lnTo>
                    <a:pt x="600" y="334"/>
                  </a:lnTo>
                  <a:lnTo>
                    <a:pt x="600" y="324"/>
                  </a:lnTo>
                  <a:lnTo>
                    <a:pt x="610" y="334"/>
                  </a:lnTo>
                  <a:lnTo>
                    <a:pt x="619" y="344"/>
                  </a:lnTo>
                  <a:lnTo>
                    <a:pt x="629" y="353"/>
                  </a:lnTo>
                  <a:lnTo>
                    <a:pt x="619" y="353"/>
                  </a:lnTo>
                  <a:lnTo>
                    <a:pt x="619" y="372"/>
                  </a:lnTo>
                  <a:lnTo>
                    <a:pt x="629" y="372"/>
                  </a:lnTo>
                  <a:lnTo>
                    <a:pt x="629" y="382"/>
                  </a:lnTo>
                  <a:lnTo>
                    <a:pt x="639" y="391"/>
                  </a:lnTo>
                  <a:lnTo>
                    <a:pt x="648" y="401"/>
                  </a:lnTo>
                  <a:lnTo>
                    <a:pt x="648" y="410"/>
                  </a:lnTo>
                  <a:lnTo>
                    <a:pt x="658" y="401"/>
                  </a:lnTo>
                  <a:lnTo>
                    <a:pt x="658" y="382"/>
                  </a:lnTo>
                  <a:lnTo>
                    <a:pt x="658" y="363"/>
                  </a:lnTo>
                  <a:lnTo>
                    <a:pt x="648" y="344"/>
                  </a:lnTo>
                  <a:lnTo>
                    <a:pt x="639" y="324"/>
                  </a:lnTo>
                  <a:lnTo>
                    <a:pt x="639" y="315"/>
                  </a:lnTo>
                  <a:lnTo>
                    <a:pt x="648" y="296"/>
                  </a:lnTo>
                  <a:lnTo>
                    <a:pt x="658" y="296"/>
                  </a:lnTo>
                  <a:lnTo>
                    <a:pt x="677" y="267"/>
                  </a:lnTo>
                  <a:lnTo>
                    <a:pt x="696" y="267"/>
                  </a:lnTo>
                  <a:lnTo>
                    <a:pt x="696" y="258"/>
                  </a:lnTo>
                  <a:lnTo>
                    <a:pt x="705" y="258"/>
                  </a:lnTo>
                  <a:lnTo>
                    <a:pt x="705" y="248"/>
                  </a:lnTo>
                  <a:lnTo>
                    <a:pt x="715" y="239"/>
                  </a:lnTo>
                  <a:lnTo>
                    <a:pt x="715" y="229"/>
                  </a:lnTo>
                  <a:lnTo>
                    <a:pt x="715" y="219"/>
                  </a:lnTo>
                  <a:lnTo>
                    <a:pt x="715" y="200"/>
                  </a:lnTo>
                  <a:lnTo>
                    <a:pt x="705" y="181"/>
                  </a:lnTo>
                  <a:lnTo>
                    <a:pt x="705" y="172"/>
                  </a:lnTo>
                  <a:lnTo>
                    <a:pt x="715" y="172"/>
                  </a:lnTo>
                  <a:lnTo>
                    <a:pt x="715" y="181"/>
                  </a:lnTo>
                  <a:lnTo>
                    <a:pt x="715" y="200"/>
                  </a:lnTo>
                  <a:lnTo>
                    <a:pt x="724" y="210"/>
                  </a:lnTo>
                  <a:lnTo>
                    <a:pt x="734" y="200"/>
                  </a:lnTo>
                  <a:lnTo>
                    <a:pt x="734" y="191"/>
                  </a:lnTo>
                  <a:lnTo>
                    <a:pt x="724" y="181"/>
                  </a:lnTo>
                  <a:lnTo>
                    <a:pt x="734" y="181"/>
                  </a:lnTo>
                  <a:lnTo>
                    <a:pt x="743" y="172"/>
                  </a:lnTo>
                  <a:lnTo>
                    <a:pt x="753" y="162"/>
                  </a:lnTo>
                  <a:lnTo>
                    <a:pt x="753" y="153"/>
                  </a:lnTo>
                  <a:lnTo>
                    <a:pt x="743" y="153"/>
                  </a:lnTo>
                  <a:lnTo>
                    <a:pt x="753" y="153"/>
                  </a:lnTo>
                  <a:lnTo>
                    <a:pt x="753" y="143"/>
                  </a:lnTo>
                  <a:lnTo>
                    <a:pt x="762" y="143"/>
                  </a:lnTo>
                  <a:lnTo>
                    <a:pt x="772" y="143"/>
                  </a:lnTo>
                  <a:lnTo>
                    <a:pt x="782" y="134"/>
                  </a:lnTo>
                  <a:lnTo>
                    <a:pt x="791" y="143"/>
                  </a:lnTo>
                  <a:lnTo>
                    <a:pt x="801" y="143"/>
                  </a:lnTo>
                  <a:lnTo>
                    <a:pt x="801" y="134"/>
                  </a:lnTo>
                  <a:lnTo>
                    <a:pt x="791" y="134"/>
                  </a:lnTo>
                  <a:lnTo>
                    <a:pt x="791" y="124"/>
                  </a:lnTo>
                  <a:lnTo>
                    <a:pt x="801" y="115"/>
                  </a:lnTo>
                  <a:lnTo>
                    <a:pt x="801" y="105"/>
                  </a:lnTo>
                  <a:lnTo>
                    <a:pt x="801" y="95"/>
                  </a:lnTo>
                  <a:lnTo>
                    <a:pt x="820" y="95"/>
                  </a:lnTo>
                  <a:lnTo>
                    <a:pt x="820" y="86"/>
                  </a:lnTo>
                  <a:lnTo>
                    <a:pt x="829" y="86"/>
                  </a:lnTo>
                  <a:lnTo>
                    <a:pt x="848" y="76"/>
                  </a:lnTo>
                  <a:lnTo>
                    <a:pt x="848" y="67"/>
                  </a:lnTo>
                  <a:lnTo>
                    <a:pt x="839" y="48"/>
                  </a:lnTo>
                  <a:lnTo>
                    <a:pt x="839" y="38"/>
                  </a:lnTo>
                  <a:lnTo>
                    <a:pt x="820" y="29"/>
                  </a:lnTo>
                  <a:lnTo>
                    <a:pt x="810" y="29"/>
                  </a:lnTo>
                  <a:lnTo>
                    <a:pt x="791" y="67"/>
                  </a:lnTo>
                  <a:lnTo>
                    <a:pt x="762" y="67"/>
                  </a:lnTo>
                  <a:lnTo>
                    <a:pt x="753" y="67"/>
                  </a:lnTo>
                  <a:lnTo>
                    <a:pt x="743" y="67"/>
                  </a:lnTo>
                  <a:lnTo>
                    <a:pt x="734" y="76"/>
                  </a:lnTo>
                  <a:lnTo>
                    <a:pt x="715" y="86"/>
                  </a:lnTo>
                  <a:lnTo>
                    <a:pt x="677" y="105"/>
                  </a:lnTo>
                  <a:lnTo>
                    <a:pt x="667" y="115"/>
                  </a:lnTo>
                  <a:lnTo>
                    <a:pt x="629" y="134"/>
                  </a:lnTo>
                  <a:lnTo>
                    <a:pt x="619" y="124"/>
                  </a:lnTo>
                  <a:lnTo>
                    <a:pt x="629" y="95"/>
                  </a:lnTo>
                  <a:lnTo>
                    <a:pt x="629" y="76"/>
                  </a:lnTo>
                  <a:lnTo>
                    <a:pt x="600" y="57"/>
                  </a:lnTo>
                  <a:lnTo>
                    <a:pt x="591" y="38"/>
                  </a:lnTo>
                  <a:lnTo>
                    <a:pt x="543" y="10"/>
                  </a:lnTo>
                  <a:lnTo>
                    <a:pt x="515" y="19"/>
                  </a:lnTo>
                  <a:lnTo>
                    <a:pt x="505" y="10"/>
                  </a:lnTo>
                  <a:lnTo>
                    <a:pt x="486" y="10"/>
                  </a:lnTo>
                  <a:lnTo>
                    <a:pt x="476" y="10"/>
                  </a:lnTo>
                  <a:lnTo>
                    <a:pt x="457" y="0"/>
                  </a:lnTo>
                  <a:lnTo>
                    <a:pt x="448" y="0"/>
                  </a:lnTo>
                  <a:lnTo>
                    <a:pt x="38" y="0"/>
                  </a:lnTo>
                  <a:lnTo>
                    <a:pt x="38" y="10"/>
                  </a:lnTo>
                  <a:lnTo>
                    <a:pt x="38" y="19"/>
                  </a:lnTo>
                  <a:lnTo>
                    <a:pt x="38" y="29"/>
                  </a:lnTo>
                  <a:lnTo>
                    <a:pt x="38" y="10"/>
                  </a:lnTo>
                  <a:lnTo>
                    <a:pt x="19" y="10"/>
                  </a:lnTo>
                  <a:lnTo>
                    <a:pt x="9" y="10"/>
                  </a:lnTo>
                  <a:lnTo>
                    <a:pt x="0" y="10"/>
                  </a:lnTo>
                  <a:lnTo>
                    <a:pt x="9" y="29"/>
                  </a:lnTo>
                  <a:lnTo>
                    <a:pt x="19" y="48"/>
                  </a:lnTo>
                  <a:lnTo>
                    <a:pt x="9" y="67"/>
                  </a:lnTo>
                  <a:lnTo>
                    <a:pt x="9" y="86"/>
                  </a:lnTo>
                  <a:lnTo>
                    <a:pt x="0" y="105"/>
                  </a:lnTo>
                  <a:lnTo>
                    <a:pt x="9" y="124"/>
                  </a:lnTo>
                  <a:lnTo>
                    <a:pt x="9" y="143"/>
                  </a:lnTo>
                  <a:lnTo>
                    <a:pt x="9" y="153"/>
                  </a:lnTo>
                  <a:lnTo>
                    <a:pt x="9" y="162"/>
                  </a:lnTo>
                  <a:lnTo>
                    <a:pt x="19" y="172"/>
                  </a:lnTo>
                  <a:lnTo>
                    <a:pt x="19" y="181"/>
                  </a:lnTo>
                  <a:lnTo>
                    <a:pt x="28" y="191"/>
                  </a:lnTo>
                  <a:lnTo>
                    <a:pt x="28" y="200"/>
                  </a:lnTo>
                  <a:lnTo>
                    <a:pt x="38" y="200"/>
                  </a:lnTo>
                  <a:lnTo>
                    <a:pt x="38" y="210"/>
                  </a:lnTo>
                  <a:lnTo>
                    <a:pt x="38" y="219"/>
                  </a:lnTo>
                  <a:lnTo>
                    <a:pt x="48" y="219"/>
                  </a:lnTo>
                  <a:lnTo>
                    <a:pt x="48" y="229"/>
                  </a:lnTo>
                  <a:lnTo>
                    <a:pt x="48" y="239"/>
                  </a:lnTo>
                  <a:lnTo>
                    <a:pt x="57" y="248"/>
                  </a:lnTo>
                  <a:lnTo>
                    <a:pt x="67" y="258"/>
                  </a:lnTo>
                  <a:lnTo>
                    <a:pt x="76" y="258"/>
                  </a:lnTo>
                  <a:lnTo>
                    <a:pt x="86" y="267"/>
                  </a:lnTo>
                  <a:lnTo>
                    <a:pt x="95" y="267"/>
                  </a:lnTo>
                  <a:lnTo>
                    <a:pt x="105" y="277"/>
                  </a:lnTo>
                  <a:lnTo>
                    <a:pt x="114" y="286"/>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46" name="Freeform 427">
              <a:extLst>
                <a:ext uri="{FF2B5EF4-FFF2-40B4-BE49-F238E27FC236}">
                  <a16:creationId xmlns:a16="http://schemas.microsoft.com/office/drawing/2014/main" id="{725656AE-3DE6-4AF2-9E0D-FC3797015301}"/>
                </a:ext>
              </a:extLst>
            </p:cNvPr>
            <p:cNvSpPr>
              <a:spLocks/>
            </p:cNvSpPr>
            <p:nvPr/>
          </p:nvSpPr>
          <p:spPr bwMode="gray">
            <a:xfrm>
              <a:off x="867" y="2032"/>
              <a:ext cx="95" cy="86"/>
            </a:xfrm>
            <a:custGeom>
              <a:avLst/>
              <a:gdLst>
                <a:gd name="T0" fmla="*/ 0 w 95"/>
                <a:gd name="T1" fmla="*/ 0 h 86"/>
                <a:gd name="T2" fmla="*/ 9 w 95"/>
                <a:gd name="T3" fmla="*/ 0 h 86"/>
                <a:gd name="T4" fmla="*/ 9 w 95"/>
                <a:gd name="T5" fmla="*/ 10 h 86"/>
                <a:gd name="T6" fmla="*/ 9 w 95"/>
                <a:gd name="T7" fmla="*/ 10 h 86"/>
                <a:gd name="T8" fmla="*/ 9 w 95"/>
                <a:gd name="T9" fmla="*/ 19 h 86"/>
                <a:gd name="T10" fmla="*/ 9 w 95"/>
                <a:gd name="T11" fmla="*/ 38 h 86"/>
                <a:gd name="T12" fmla="*/ 19 w 95"/>
                <a:gd name="T13" fmla="*/ 38 h 86"/>
                <a:gd name="T14" fmla="*/ 38 w 95"/>
                <a:gd name="T15" fmla="*/ 38 h 86"/>
                <a:gd name="T16" fmla="*/ 38 w 95"/>
                <a:gd name="T17" fmla="*/ 48 h 86"/>
                <a:gd name="T18" fmla="*/ 47 w 95"/>
                <a:gd name="T19" fmla="*/ 48 h 86"/>
                <a:gd name="T20" fmla="*/ 57 w 95"/>
                <a:gd name="T21" fmla="*/ 48 h 86"/>
                <a:gd name="T22" fmla="*/ 57 w 95"/>
                <a:gd name="T23" fmla="*/ 57 h 86"/>
                <a:gd name="T24" fmla="*/ 66 w 95"/>
                <a:gd name="T25" fmla="*/ 57 h 86"/>
                <a:gd name="T26" fmla="*/ 76 w 95"/>
                <a:gd name="T27" fmla="*/ 67 h 86"/>
                <a:gd name="T28" fmla="*/ 76 w 95"/>
                <a:gd name="T29" fmla="*/ 67 h 86"/>
                <a:gd name="T30" fmla="*/ 85 w 95"/>
                <a:gd name="T31" fmla="*/ 76 h 86"/>
                <a:gd name="T32" fmla="*/ 95 w 95"/>
                <a:gd name="T33" fmla="*/ 86 h 86"/>
                <a:gd name="T34" fmla="*/ 95 w 95"/>
                <a:gd name="T35" fmla="*/ 86 h 8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5"/>
                <a:gd name="T55" fmla="*/ 0 h 86"/>
                <a:gd name="T56" fmla="*/ 95 w 95"/>
                <a:gd name="T57" fmla="*/ 86 h 8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5" h="86">
                  <a:moveTo>
                    <a:pt x="0" y="0"/>
                  </a:moveTo>
                  <a:lnTo>
                    <a:pt x="9" y="0"/>
                  </a:lnTo>
                  <a:lnTo>
                    <a:pt x="9" y="10"/>
                  </a:lnTo>
                  <a:lnTo>
                    <a:pt x="9" y="19"/>
                  </a:lnTo>
                  <a:lnTo>
                    <a:pt x="9" y="38"/>
                  </a:lnTo>
                  <a:lnTo>
                    <a:pt x="19" y="38"/>
                  </a:lnTo>
                  <a:lnTo>
                    <a:pt x="38" y="38"/>
                  </a:lnTo>
                  <a:lnTo>
                    <a:pt x="38" y="48"/>
                  </a:lnTo>
                  <a:lnTo>
                    <a:pt x="47" y="48"/>
                  </a:lnTo>
                  <a:lnTo>
                    <a:pt x="57" y="48"/>
                  </a:lnTo>
                  <a:lnTo>
                    <a:pt x="57" y="57"/>
                  </a:lnTo>
                  <a:lnTo>
                    <a:pt x="66" y="57"/>
                  </a:lnTo>
                  <a:lnTo>
                    <a:pt x="76" y="67"/>
                  </a:lnTo>
                  <a:lnTo>
                    <a:pt x="85" y="76"/>
                  </a:lnTo>
                  <a:lnTo>
                    <a:pt x="95" y="86"/>
                  </a:lnTo>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grpSp>
          <p:nvGrpSpPr>
            <p:cNvPr id="447" name="Group 428">
              <a:extLst>
                <a:ext uri="{FF2B5EF4-FFF2-40B4-BE49-F238E27FC236}">
                  <a16:creationId xmlns:a16="http://schemas.microsoft.com/office/drawing/2014/main" id="{A5A99ADA-D230-4007-849B-DCF5FF7E8AF1}"/>
                </a:ext>
              </a:extLst>
            </p:cNvPr>
            <p:cNvGrpSpPr>
              <a:grpSpLocks/>
            </p:cNvGrpSpPr>
            <p:nvPr/>
          </p:nvGrpSpPr>
          <p:grpSpPr bwMode="gray">
            <a:xfrm>
              <a:off x="285" y="1555"/>
              <a:ext cx="4401" cy="1031"/>
              <a:chOff x="285" y="1555"/>
              <a:chExt cx="4401" cy="1031"/>
            </a:xfrm>
            <a:grpFill/>
          </p:grpSpPr>
          <p:sp>
            <p:nvSpPr>
              <p:cNvPr id="521" name="Freeform 430">
                <a:extLst>
                  <a:ext uri="{FF2B5EF4-FFF2-40B4-BE49-F238E27FC236}">
                    <a16:creationId xmlns:a16="http://schemas.microsoft.com/office/drawing/2014/main" id="{0A9E9423-F1D3-4FEA-8D24-84ADB99342E2}"/>
                  </a:ext>
                </a:extLst>
              </p:cNvPr>
              <p:cNvSpPr>
                <a:spLocks/>
              </p:cNvSpPr>
              <p:nvPr/>
            </p:nvSpPr>
            <p:spPr bwMode="gray">
              <a:xfrm>
                <a:off x="2598" y="1889"/>
                <a:ext cx="115" cy="200"/>
              </a:xfrm>
              <a:custGeom>
                <a:avLst/>
                <a:gdLst>
                  <a:gd name="T0" fmla="*/ 48 w 115"/>
                  <a:gd name="T1" fmla="*/ 0 h 200"/>
                  <a:gd name="T2" fmla="*/ 19 w 115"/>
                  <a:gd name="T3" fmla="*/ 9 h 200"/>
                  <a:gd name="T4" fmla="*/ 10 w 115"/>
                  <a:gd name="T5" fmla="*/ 29 h 200"/>
                  <a:gd name="T6" fmla="*/ 10 w 115"/>
                  <a:gd name="T7" fmla="*/ 38 h 200"/>
                  <a:gd name="T8" fmla="*/ 10 w 115"/>
                  <a:gd name="T9" fmla="*/ 48 h 200"/>
                  <a:gd name="T10" fmla="*/ 10 w 115"/>
                  <a:gd name="T11" fmla="*/ 57 h 200"/>
                  <a:gd name="T12" fmla="*/ 10 w 115"/>
                  <a:gd name="T13" fmla="*/ 57 h 200"/>
                  <a:gd name="T14" fmla="*/ 19 w 115"/>
                  <a:gd name="T15" fmla="*/ 48 h 200"/>
                  <a:gd name="T16" fmla="*/ 19 w 115"/>
                  <a:gd name="T17" fmla="*/ 57 h 200"/>
                  <a:gd name="T18" fmla="*/ 10 w 115"/>
                  <a:gd name="T19" fmla="*/ 67 h 200"/>
                  <a:gd name="T20" fmla="*/ 10 w 115"/>
                  <a:gd name="T21" fmla="*/ 86 h 200"/>
                  <a:gd name="T22" fmla="*/ 19 w 115"/>
                  <a:gd name="T23" fmla="*/ 76 h 200"/>
                  <a:gd name="T24" fmla="*/ 29 w 115"/>
                  <a:gd name="T25" fmla="*/ 76 h 200"/>
                  <a:gd name="T26" fmla="*/ 29 w 115"/>
                  <a:gd name="T27" fmla="*/ 76 h 200"/>
                  <a:gd name="T28" fmla="*/ 19 w 115"/>
                  <a:gd name="T29" fmla="*/ 86 h 200"/>
                  <a:gd name="T30" fmla="*/ 19 w 115"/>
                  <a:gd name="T31" fmla="*/ 95 h 200"/>
                  <a:gd name="T32" fmla="*/ 48 w 115"/>
                  <a:gd name="T33" fmla="*/ 95 h 200"/>
                  <a:gd name="T34" fmla="*/ 48 w 115"/>
                  <a:gd name="T35" fmla="*/ 114 h 200"/>
                  <a:gd name="T36" fmla="*/ 57 w 115"/>
                  <a:gd name="T37" fmla="*/ 114 h 200"/>
                  <a:gd name="T38" fmla="*/ 48 w 115"/>
                  <a:gd name="T39" fmla="*/ 124 h 200"/>
                  <a:gd name="T40" fmla="*/ 29 w 115"/>
                  <a:gd name="T41" fmla="*/ 134 h 200"/>
                  <a:gd name="T42" fmla="*/ 38 w 115"/>
                  <a:gd name="T43" fmla="*/ 143 h 200"/>
                  <a:gd name="T44" fmla="*/ 29 w 115"/>
                  <a:gd name="T45" fmla="*/ 162 h 200"/>
                  <a:gd name="T46" fmla="*/ 19 w 115"/>
                  <a:gd name="T47" fmla="*/ 162 h 200"/>
                  <a:gd name="T48" fmla="*/ 38 w 115"/>
                  <a:gd name="T49" fmla="*/ 172 h 200"/>
                  <a:gd name="T50" fmla="*/ 48 w 115"/>
                  <a:gd name="T51" fmla="*/ 172 h 200"/>
                  <a:gd name="T52" fmla="*/ 57 w 115"/>
                  <a:gd name="T53" fmla="*/ 172 h 200"/>
                  <a:gd name="T54" fmla="*/ 48 w 115"/>
                  <a:gd name="T55" fmla="*/ 181 h 200"/>
                  <a:gd name="T56" fmla="*/ 38 w 115"/>
                  <a:gd name="T57" fmla="*/ 181 h 200"/>
                  <a:gd name="T58" fmla="*/ 29 w 115"/>
                  <a:gd name="T59" fmla="*/ 191 h 200"/>
                  <a:gd name="T60" fmla="*/ 19 w 115"/>
                  <a:gd name="T61" fmla="*/ 200 h 200"/>
                  <a:gd name="T62" fmla="*/ 29 w 115"/>
                  <a:gd name="T63" fmla="*/ 191 h 200"/>
                  <a:gd name="T64" fmla="*/ 48 w 115"/>
                  <a:gd name="T65" fmla="*/ 191 h 200"/>
                  <a:gd name="T66" fmla="*/ 57 w 115"/>
                  <a:gd name="T67" fmla="*/ 191 h 200"/>
                  <a:gd name="T68" fmla="*/ 86 w 115"/>
                  <a:gd name="T69" fmla="*/ 181 h 200"/>
                  <a:gd name="T70" fmla="*/ 115 w 115"/>
                  <a:gd name="T71" fmla="*/ 181 h 200"/>
                  <a:gd name="T72" fmla="*/ 105 w 115"/>
                  <a:gd name="T73" fmla="*/ 172 h 200"/>
                  <a:gd name="T74" fmla="*/ 96 w 115"/>
                  <a:gd name="T75" fmla="*/ 172 h 200"/>
                  <a:gd name="T76" fmla="*/ 115 w 115"/>
                  <a:gd name="T77" fmla="*/ 162 h 200"/>
                  <a:gd name="T78" fmla="*/ 115 w 115"/>
                  <a:gd name="T79" fmla="*/ 143 h 200"/>
                  <a:gd name="T80" fmla="*/ 96 w 115"/>
                  <a:gd name="T81" fmla="*/ 143 h 200"/>
                  <a:gd name="T82" fmla="*/ 96 w 115"/>
                  <a:gd name="T83" fmla="*/ 114 h 200"/>
                  <a:gd name="T84" fmla="*/ 76 w 115"/>
                  <a:gd name="T85" fmla="*/ 95 h 200"/>
                  <a:gd name="T86" fmla="*/ 67 w 115"/>
                  <a:gd name="T87" fmla="*/ 67 h 200"/>
                  <a:gd name="T88" fmla="*/ 48 w 115"/>
                  <a:gd name="T89" fmla="*/ 67 h 200"/>
                  <a:gd name="T90" fmla="*/ 57 w 115"/>
                  <a:gd name="T91" fmla="*/ 67 h 200"/>
                  <a:gd name="T92" fmla="*/ 67 w 115"/>
                  <a:gd name="T93" fmla="*/ 29 h 200"/>
                  <a:gd name="T94" fmla="*/ 48 w 115"/>
                  <a:gd name="T95" fmla="*/ 29 h 200"/>
                  <a:gd name="T96" fmla="*/ 38 w 115"/>
                  <a:gd name="T97" fmla="*/ 19 h 200"/>
                  <a:gd name="T98" fmla="*/ 48 w 115"/>
                  <a:gd name="T99" fmla="*/ 0 h 2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
                  <a:gd name="T151" fmla="*/ 0 h 200"/>
                  <a:gd name="T152" fmla="*/ 115 w 115"/>
                  <a:gd name="T153" fmla="*/ 200 h 2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 h="200">
                    <a:moveTo>
                      <a:pt x="48" y="0"/>
                    </a:moveTo>
                    <a:lnTo>
                      <a:pt x="48" y="0"/>
                    </a:lnTo>
                    <a:lnTo>
                      <a:pt x="29" y="0"/>
                    </a:lnTo>
                    <a:lnTo>
                      <a:pt x="19" y="9"/>
                    </a:lnTo>
                    <a:lnTo>
                      <a:pt x="19" y="19"/>
                    </a:lnTo>
                    <a:lnTo>
                      <a:pt x="10" y="29"/>
                    </a:lnTo>
                    <a:lnTo>
                      <a:pt x="10" y="38"/>
                    </a:lnTo>
                    <a:lnTo>
                      <a:pt x="10" y="48"/>
                    </a:lnTo>
                    <a:lnTo>
                      <a:pt x="0" y="57"/>
                    </a:lnTo>
                    <a:lnTo>
                      <a:pt x="10" y="57"/>
                    </a:lnTo>
                    <a:lnTo>
                      <a:pt x="10" y="67"/>
                    </a:lnTo>
                    <a:lnTo>
                      <a:pt x="10" y="57"/>
                    </a:lnTo>
                    <a:lnTo>
                      <a:pt x="19" y="48"/>
                    </a:lnTo>
                    <a:lnTo>
                      <a:pt x="19" y="57"/>
                    </a:lnTo>
                    <a:lnTo>
                      <a:pt x="10" y="67"/>
                    </a:lnTo>
                    <a:lnTo>
                      <a:pt x="10" y="76"/>
                    </a:lnTo>
                    <a:lnTo>
                      <a:pt x="10" y="86"/>
                    </a:lnTo>
                    <a:lnTo>
                      <a:pt x="19" y="76"/>
                    </a:lnTo>
                    <a:lnTo>
                      <a:pt x="19" y="67"/>
                    </a:lnTo>
                    <a:lnTo>
                      <a:pt x="29" y="76"/>
                    </a:lnTo>
                    <a:lnTo>
                      <a:pt x="29" y="86"/>
                    </a:lnTo>
                    <a:lnTo>
                      <a:pt x="19" y="86"/>
                    </a:lnTo>
                    <a:lnTo>
                      <a:pt x="19" y="95"/>
                    </a:lnTo>
                    <a:lnTo>
                      <a:pt x="38" y="95"/>
                    </a:lnTo>
                    <a:lnTo>
                      <a:pt x="48" y="95"/>
                    </a:lnTo>
                    <a:lnTo>
                      <a:pt x="48" y="105"/>
                    </a:lnTo>
                    <a:lnTo>
                      <a:pt x="48" y="114"/>
                    </a:lnTo>
                    <a:lnTo>
                      <a:pt x="57" y="114"/>
                    </a:lnTo>
                    <a:lnTo>
                      <a:pt x="57" y="124"/>
                    </a:lnTo>
                    <a:lnTo>
                      <a:pt x="48" y="124"/>
                    </a:lnTo>
                    <a:lnTo>
                      <a:pt x="38" y="134"/>
                    </a:lnTo>
                    <a:lnTo>
                      <a:pt x="29" y="134"/>
                    </a:lnTo>
                    <a:lnTo>
                      <a:pt x="29" y="143"/>
                    </a:lnTo>
                    <a:lnTo>
                      <a:pt x="38" y="143"/>
                    </a:lnTo>
                    <a:lnTo>
                      <a:pt x="29" y="153"/>
                    </a:lnTo>
                    <a:lnTo>
                      <a:pt x="29" y="162"/>
                    </a:lnTo>
                    <a:lnTo>
                      <a:pt x="19" y="162"/>
                    </a:lnTo>
                    <a:lnTo>
                      <a:pt x="19" y="172"/>
                    </a:lnTo>
                    <a:lnTo>
                      <a:pt x="38" y="172"/>
                    </a:lnTo>
                    <a:lnTo>
                      <a:pt x="48" y="172"/>
                    </a:lnTo>
                    <a:lnTo>
                      <a:pt x="57" y="172"/>
                    </a:lnTo>
                    <a:lnTo>
                      <a:pt x="48" y="172"/>
                    </a:lnTo>
                    <a:lnTo>
                      <a:pt x="48" y="181"/>
                    </a:lnTo>
                    <a:lnTo>
                      <a:pt x="38" y="181"/>
                    </a:lnTo>
                    <a:lnTo>
                      <a:pt x="29" y="181"/>
                    </a:lnTo>
                    <a:lnTo>
                      <a:pt x="29" y="191"/>
                    </a:lnTo>
                    <a:lnTo>
                      <a:pt x="19" y="200"/>
                    </a:lnTo>
                    <a:lnTo>
                      <a:pt x="29" y="200"/>
                    </a:lnTo>
                    <a:lnTo>
                      <a:pt x="29" y="191"/>
                    </a:lnTo>
                    <a:lnTo>
                      <a:pt x="48" y="191"/>
                    </a:lnTo>
                    <a:lnTo>
                      <a:pt x="57" y="191"/>
                    </a:lnTo>
                    <a:lnTo>
                      <a:pt x="86" y="181"/>
                    </a:lnTo>
                    <a:lnTo>
                      <a:pt x="96" y="181"/>
                    </a:lnTo>
                    <a:lnTo>
                      <a:pt x="115" y="181"/>
                    </a:lnTo>
                    <a:lnTo>
                      <a:pt x="115" y="172"/>
                    </a:lnTo>
                    <a:lnTo>
                      <a:pt x="105" y="172"/>
                    </a:lnTo>
                    <a:lnTo>
                      <a:pt x="96" y="172"/>
                    </a:lnTo>
                    <a:lnTo>
                      <a:pt x="105" y="172"/>
                    </a:lnTo>
                    <a:lnTo>
                      <a:pt x="115" y="162"/>
                    </a:lnTo>
                    <a:lnTo>
                      <a:pt x="115" y="153"/>
                    </a:lnTo>
                    <a:lnTo>
                      <a:pt x="115" y="143"/>
                    </a:lnTo>
                    <a:lnTo>
                      <a:pt x="105" y="143"/>
                    </a:lnTo>
                    <a:lnTo>
                      <a:pt x="96" y="143"/>
                    </a:lnTo>
                    <a:lnTo>
                      <a:pt x="96" y="114"/>
                    </a:lnTo>
                    <a:lnTo>
                      <a:pt x="86" y="105"/>
                    </a:lnTo>
                    <a:lnTo>
                      <a:pt x="76" y="95"/>
                    </a:lnTo>
                    <a:lnTo>
                      <a:pt x="76" y="86"/>
                    </a:lnTo>
                    <a:lnTo>
                      <a:pt x="67" y="67"/>
                    </a:lnTo>
                    <a:lnTo>
                      <a:pt x="57" y="67"/>
                    </a:lnTo>
                    <a:lnTo>
                      <a:pt x="48" y="67"/>
                    </a:lnTo>
                    <a:lnTo>
                      <a:pt x="57" y="67"/>
                    </a:lnTo>
                    <a:lnTo>
                      <a:pt x="57" y="48"/>
                    </a:lnTo>
                    <a:lnTo>
                      <a:pt x="67" y="29"/>
                    </a:lnTo>
                    <a:lnTo>
                      <a:pt x="48" y="29"/>
                    </a:lnTo>
                    <a:lnTo>
                      <a:pt x="38" y="29"/>
                    </a:lnTo>
                    <a:lnTo>
                      <a:pt x="38" y="19"/>
                    </a:lnTo>
                    <a:lnTo>
                      <a:pt x="48" y="9"/>
                    </a:lnTo>
                    <a:lnTo>
                      <a:pt x="48"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22" name="Freeform 433">
                <a:extLst>
                  <a:ext uri="{FF2B5EF4-FFF2-40B4-BE49-F238E27FC236}">
                    <a16:creationId xmlns:a16="http://schemas.microsoft.com/office/drawing/2014/main" id="{A7595761-2C09-4109-9540-31C9ECEA47C7}"/>
                  </a:ext>
                </a:extLst>
              </p:cNvPr>
              <p:cNvSpPr>
                <a:spLocks/>
              </p:cNvSpPr>
              <p:nvPr/>
            </p:nvSpPr>
            <p:spPr bwMode="gray">
              <a:xfrm>
                <a:off x="2560" y="2213"/>
                <a:ext cx="181" cy="134"/>
              </a:xfrm>
              <a:custGeom>
                <a:avLst/>
                <a:gdLst>
                  <a:gd name="T0" fmla="*/ 172 w 181"/>
                  <a:gd name="T1" fmla="*/ 20 h 134"/>
                  <a:gd name="T2" fmla="*/ 181 w 181"/>
                  <a:gd name="T3" fmla="*/ 29 h 134"/>
                  <a:gd name="T4" fmla="*/ 172 w 181"/>
                  <a:gd name="T5" fmla="*/ 39 h 134"/>
                  <a:gd name="T6" fmla="*/ 162 w 181"/>
                  <a:gd name="T7" fmla="*/ 48 h 134"/>
                  <a:gd name="T8" fmla="*/ 153 w 181"/>
                  <a:gd name="T9" fmla="*/ 48 h 134"/>
                  <a:gd name="T10" fmla="*/ 143 w 181"/>
                  <a:gd name="T11" fmla="*/ 48 h 134"/>
                  <a:gd name="T12" fmla="*/ 143 w 181"/>
                  <a:gd name="T13" fmla="*/ 58 h 134"/>
                  <a:gd name="T14" fmla="*/ 134 w 181"/>
                  <a:gd name="T15" fmla="*/ 67 h 134"/>
                  <a:gd name="T16" fmla="*/ 134 w 181"/>
                  <a:gd name="T17" fmla="*/ 77 h 134"/>
                  <a:gd name="T18" fmla="*/ 134 w 181"/>
                  <a:gd name="T19" fmla="*/ 96 h 134"/>
                  <a:gd name="T20" fmla="*/ 124 w 181"/>
                  <a:gd name="T21" fmla="*/ 96 h 134"/>
                  <a:gd name="T22" fmla="*/ 124 w 181"/>
                  <a:gd name="T23" fmla="*/ 105 h 134"/>
                  <a:gd name="T24" fmla="*/ 114 w 181"/>
                  <a:gd name="T25" fmla="*/ 115 h 134"/>
                  <a:gd name="T26" fmla="*/ 114 w 181"/>
                  <a:gd name="T27" fmla="*/ 115 h 134"/>
                  <a:gd name="T28" fmla="*/ 105 w 181"/>
                  <a:gd name="T29" fmla="*/ 115 h 134"/>
                  <a:gd name="T30" fmla="*/ 105 w 181"/>
                  <a:gd name="T31" fmla="*/ 124 h 134"/>
                  <a:gd name="T32" fmla="*/ 95 w 181"/>
                  <a:gd name="T33" fmla="*/ 134 h 134"/>
                  <a:gd name="T34" fmla="*/ 86 w 181"/>
                  <a:gd name="T35" fmla="*/ 124 h 134"/>
                  <a:gd name="T36" fmla="*/ 76 w 181"/>
                  <a:gd name="T37" fmla="*/ 124 h 134"/>
                  <a:gd name="T38" fmla="*/ 67 w 181"/>
                  <a:gd name="T39" fmla="*/ 124 h 134"/>
                  <a:gd name="T40" fmla="*/ 57 w 181"/>
                  <a:gd name="T41" fmla="*/ 134 h 134"/>
                  <a:gd name="T42" fmla="*/ 48 w 181"/>
                  <a:gd name="T43" fmla="*/ 134 h 134"/>
                  <a:gd name="T44" fmla="*/ 48 w 181"/>
                  <a:gd name="T45" fmla="*/ 134 h 134"/>
                  <a:gd name="T46" fmla="*/ 38 w 181"/>
                  <a:gd name="T47" fmla="*/ 134 h 134"/>
                  <a:gd name="T48" fmla="*/ 38 w 181"/>
                  <a:gd name="T49" fmla="*/ 115 h 134"/>
                  <a:gd name="T50" fmla="*/ 29 w 181"/>
                  <a:gd name="T51" fmla="*/ 115 h 134"/>
                  <a:gd name="T52" fmla="*/ 29 w 181"/>
                  <a:gd name="T53" fmla="*/ 115 h 134"/>
                  <a:gd name="T54" fmla="*/ 29 w 181"/>
                  <a:gd name="T55" fmla="*/ 105 h 134"/>
                  <a:gd name="T56" fmla="*/ 29 w 181"/>
                  <a:gd name="T57" fmla="*/ 105 h 134"/>
                  <a:gd name="T58" fmla="*/ 29 w 181"/>
                  <a:gd name="T59" fmla="*/ 86 h 134"/>
                  <a:gd name="T60" fmla="*/ 29 w 181"/>
                  <a:gd name="T61" fmla="*/ 77 h 134"/>
                  <a:gd name="T62" fmla="*/ 29 w 181"/>
                  <a:gd name="T63" fmla="*/ 67 h 134"/>
                  <a:gd name="T64" fmla="*/ 29 w 181"/>
                  <a:gd name="T65" fmla="*/ 58 h 134"/>
                  <a:gd name="T66" fmla="*/ 38 w 181"/>
                  <a:gd name="T67" fmla="*/ 48 h 134"/>
                  <a:gd name="T68" fmla="*/ 38 w 181"/>
                  <a:gd name="T69" fmla="*/ 39 h 134"/>
                  <a:gd name="T70" fmla="*/ 38 w 181"/>
                  <a:gd name="T71" fmla="*/ 29 h 134"/>
                  <a:gd name="T72" fmla="*/ 29 w 181"/>
                  <a:gd name="T73" fmla="*/ 29 h 134"/>
                  <a:gd name="T74" fmla="*/ 10 w 181"/>
                  <a:gd name="T75" fmla="*/ 39 h 134"/>
                  <a:gd name="T76" fmla="*/ 10 w 181"/>
                  <a:gd name="T77" fmla="*/ 29 h 134"/>
                  <a:gd name="T78" fmla="*/ 10 w 181"/>
                  <a:gd name="T79" fmla="*/ 29 h 134"/>
                  <a:gd name="T80" fmla="*/ 0 w 181"/>
                  <a:gd name="T81" fmla="*/ 20 h 134"/>
                  <a:gd name="T82" fmla="*/ 0 w 181"/>
                  <a:gd name="T83" fmla="*/ 10 h 134"/>
                  <a:gd name="T84" fmla="*/ 10 w 181"/>
                  <a:gd name="T85" fmla="*/ 0 h 134"/>
                  <a:gd name="T86" fmla="*/ 10 w 181"/>
                  <a:gd name="T87" fmla="*/ 0 h 134"/>
                  <a:gd name="T88" fmla="*/ 19 w 181"/>
                  <a:gd name="T89" fmla="*/ 0 h 134"/>
                  <a:gd name="T90" fmla="*/ 29 w 181"/>
                  <a:gd name="T91" fmla="*/ 0 h 134"/>
                  <a:gd name="T92" fmla="*/ 38 w 181"/>
                  <a:gd name="T93" fmla="*/ 0 h 134"/>
                  <a:gd name="T94" fmla="*/ 48 w 181"/>
                  <a:gd name="T95" fmla="*/ 0 h 134"/>
                  <a:gd name="T96" fmla="*/ 57 w 181"/>
                  <a:gd name="T97" fmla="*/ 0 h 134"/>
                  <a:gd name="T98" fmla="*/ 67 w 181"/>
                  <a:gd name="T99" fmla="*/ 0 h 134"/>
                  <a:gd name="T100" fmla="*/ 76 w 181"/>
                  <a:gd name="T101" fmla="*/ 0 h 134"/>
                  <a:gd name="T102" fmla="*/ 95 w 181"/>
                  <a:gd name="T103" fmla="*/ 10 h 134"/>
                  <a:gd name="T104" fmla="*/ 114 w 181"/>
                  <a:gd name="T105" fmla="*/ 10 h 134"/>
                  <a:gd name="T106" fmla="*/ 124 w 181"/>
                  <a:gd name="T107" fmla="*/ 10 h 134"/>
                  <a:gd name="T108" fmla="*/ 124 w 181"/>
                  <a:gd name="T109" fmla="*/ 10 h 134"/>
                  <a:gd name="T110" fmla="*/ 134 w 181"/>
                  <a:gd name="T111" fmla="*/ 20 h 134"/>
                  <a:gd name="T112" fmla="*/ 153 w 181"/>
                  <a:gd name="T113" fmla="*/ 20 h 134"/>
                  <a:gd name="T114" fmla="*/ 153 w 181"/>
                  <a:gd name="T115" fmla="*/ 20 h 134"/>
                  <a:gd name="T116" fmla="*/ 153 w 181"/>
                  <a:gd name="T117" fmla="*/ 20 h 134"/>
                  <a:gd name="T118" fmla="*/ 162 w 181"/>
                  <a:gd name="T119" fmla="*/ 20 h 134"/>
                  <a:gd name="T120" fmla="*/ 172 w 181"/>
                  <a:gd name="T121" fmla="*/ 20 h 1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1"/>
                  <a:gd name="T184" fmla="*/ 0 h 134"/>
                  <a:gd name="T185" fmla="*/ 181 w 181"/>
                  <a:gd name="T186" fmla="*/ 134 h 1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1" h="134">
                    <a:moveTo>
                      <a:pt x="172" y="20"/>
                    </a:moveTo>
                    <a:lnTo>
                      <a:pt x="181" y="29"/>
                    </a:lnTo>
                    <a:lnTo>
                      <a:pt x="172" y="39"/>
                    </a:lnTo>
                    <a:lnTo>
                      <a:pt x="162" y="48"/>
                    </a:lnTo>
                    <a:lnTo>
                      <a:pt x="153" y="48"/>
                    </a:lnTo>
                    <a:lnTo>
                      <a:pt x="143" y="48"/>
                    </a:lnTo>
                    <a:lnTo>
                      <a:pt x="143" y="58"/>
                    </a:lnTo>
                    <a:lnTo>
                      <a:pt x="134" y="67"/>
                    </a:lnTo>
                    <a:lnTo>
                      <a:pt x="134" y="77"/>
                    </a:lnTo>
                    <a:lnTo>
                      <a:pt x="134" y="96"/>
                    </a:lnTo>
                    <a:lnTo>
                      <a:pt x="124" y="96"/>
                    </a:lnTo>
                    <a:lnTo>
                      <a:pt x="124" y="105"/>
                    </a:lnTo>
                    <a:lnTo>
                      <a:pt x="114" y="115"/>
                    </a:lnTo>
                    <a:lnTo>
                      <a:pt x="105" y="115"/>
                    </a:lnTo>
                    <a:lnTo>
                      <a:pt x="105" y="124"/>
                    </a:lnTo>
                    <a:lnTo>
                      <a:pt x="95" y="134"/>
                    </a:lnTo>
                    <a:lnTo>
                      <a:pt x="86" y="124"/>
                    </a:lnTo>
                    <a:lnTo>
                      <a:pt x="76" y="124"/>
                    </a:lnTo>
                    <a:lnTo>
                      <a:pt x="67" y="124"/>
                    </a:lnTo>
                    <a:lnTo>
                      <a:pt x="57" y="134"/>
                    </a:lnTo>
                    <a:lnTo>
                      <a:pt x="48" y="134"/>
                    </a:lnTo>
                    <a:lnTo>
                      <a:pt x="38" y="134"/>
                    </a:lnTo>
                    <a:lnTo>
                      <a:pt x="38" y="115"/>
                    </a:lnTo>
                    <a:lnTo>
                      <a:pt x="29" y="115"/>
                    </a:lnTo>
                    <a:lnTo>
                      <a:pt x="29" y="105"/>
                    </a:lnTo>
                    <a:lnTo>
                      <a:pt x="29" y="86"/>
                    </a:lnTo>
                    <a:lnTo>
                      <a:pt x="29" y="77"/>
                    </a:lnTo>
                    <a:lnTo>
                      <a:pt x="29" y="67"/>
                    </a:lnTo>
                    <a:lnTo>
                      <a:pt x="29" y="58"/>
                    </a:lnTo>
                    <a:lnTo>
                      <a:pt x="38" y="48"/>
                    </a:lnTo>
                    <a:lnTo>
                      <a:pt x="38" y="39"/>
                    </a:lnTo>
                    <a:lnTo>
                      <a:pt x="38" y="29"/>
                    </a:lnTo>
                    <a:lnTo>
                      <a:pt x="29" y="29"/>
                    </a:lnTo>
                    <a:lnTo>
                      <a:pt x="10" y="39"/>
                    </a:lnTo>
                    <a:lnTo>
                      <a:pt x="10" y="29"/>
                    </a:lnTo>
                    <a:lnTo>
                      <a:pt x="0" y="20"/>
                    </a:lnTo>
                    <a:lnTo>
                      <a:pt x="0" y="10"/>
                    </a:lnTo>
                    <a:lnTo>
                      <a:pt x="10" y="0"/>
                    </a:lnTo>
                    <a:lnTo>
                      <a:pt x="19" y="0"/>
                    </a:lnTo>
                    <a:lnTo>
                      <a:pt x="29" y="0"/>
                    </a:lnTo>
                    <a:lnTo>
                      <a:pt x="38" y="0"/>
                    </a:lnTo>
                    <a:lnTo>
                      <a:pt x="48" y="0"/>
                    </a:lnTo>
                    <a:lnTo>
                      <a:pt x="57" y="0"/>
                    </a:lnTo>
                    <a:lnTo>
                      <a:pt x="67" y="0"/>
                    </a:lnTo>
                    <a:lnTo>
                      <a:pt x="76" y="0"/>
                    </a:lnTo>
                    <a:lnTo>
                      <a:pt x="95" y="10"/>
                    </a:lnTo>
                    <a:lnTo>
                      <a:pt x="114" y="10"/>
                    </a:lnTo>
                    <a:lnTo>
                      <a:pt x="124" y="10"/>
                    </a:lnTo>
                    <a:lnTo>
                      <a:pt x="134" y="20"/>
                    </a:lnTo>
                    <a:lnTo>
                      <a:pt x="153" y="20"/>
                    </a:lnTo>
                    <a:lnTo>
                      <a:pt x="162" y="20"/>
                    </a:lnTo>
                    <a:lnTo>
                      <a:pt x="172" y="2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23" name="Freeform 434">
                <a:extLst>
                  <a:ext uri="{FF2B5EF4-FFF2-40B4-BE49-F238E27FC236}">
                    <a16:creationId xmlns:a16="http://schemas.microsoft.com/office/drawing/2014/main" id="{2BFBC133-914F-4F6D-9D54-BFFF06762D92}"/>
                  </a:ext>
                </a:extLst>
              </p:cNvPr>
              <p:cNvSpPr>
                <a:spLocks/>
              </p:cNvSpPr>
              <p:nvPr/>
            </p:nvSpPr>
            <p:spPr bwMode="gray">
              <a:xfrm>
                <a:off x="2627" y="2070"/>
                <a:ext cx="190" cy="163"/>
              </a:xfrm>
              <a:custGeom>
                <a:avLst/>
                <a:gdLst>
                  <a:gd name="T0" fmla="*/ 114 w 190"/>
                  <a:gd name="T1" fmla="*/ 153 h 163"/>
                  <a:gd name="T2" fmla="*/ 133 w 190"/>
                  <a:gd name="T3" fmla="*/ 153 h 163"/>
                  <a:gd name="T4" fmla="*/ 152 w 190"/>
                  <a:gd name="T5" fmla="*/ 153 h 163"/>
                  <a:gd name="T6" fmla="*/ 162 w 190"/>
                  <a:gd name="T7" fmla="*/ 143 h 163"/>
                  <a:gd name="T8" fmla="*/ 181 w 190"/>
                  <a:gd name="T9" fmla="*/ 143 h 163"/>
                  <a:gd name="T10" fmla="*/ 171 w 190"/>
                  <a:gd name="T11" fmla="*/ 134 h 163"/>
                  <a:gd name="T12" fmla="*/ 162 w 190"/>
                  <a:gd name="T13" fmla="*/ 105 h 163"/>
                  <a:gd name="T14" fmla="*/ 162 w 190"/>
                  <a:gd name="T15" fmla="*/ 96 h 163"/>
                  <a:gd name="T16" fmla="*/ 152 w 190"/>
                  <a:gd name="T17" fmla="*/ 96 h 163"/>
                  <a:gd name="T18" fmla="*/ 162 w 190"/>
                  <a:gd name="T19" fmla="*/ 86 h 163"/>
                  <a:gd name="T20" fmla="*/ 162 w 190"/>
                  <a:gd name="T21" fmla="*/ 77 h 163"/>
                  <a:gd name="T22" fmla="*/ 171 w 190"/>
                  <a:gd name="T23" fmla="*/ 67 h 163"/>
                  <a:gd name="T24" fmla="*/ 190 w 190"/>
                  <a:gd name="T25" fmla="*/ 38 h 163"/>
                  <a:gd name="T26" fmla="*/ 162 w 190"/>
                  <a:gd name="T27" fmla="*/ 29 h 163"/>
                  <a:gd name="T28" fmla="*/ 143 w 190"/>
                  <a:gd name="T29" fmla="*/ 19 h 163"/>
                  <a:gd name="T30" fmla="*/ 124 w 190"/>
                  <a:gd name="T31" fmla="*/ 19 h 163"/>
                  <a:gd name="T32" fmla="*/ 105 w 190"/>
                  <a:gd name="T33" fmla="*/ 0 h 163"/>
                  <a:gd name="T34" fmla="*/ 86 w 190"/>
                  <a:gd name="T35" fmla="*/ 19 h 163"/>
                  <a:gd name="T36" fmla="*/ 67 w 190"/>
                  <a:gd name="T37" fmla="*/ 29 h 163"/>
                  <a:gd name="T38" fmla="*/ 47 w 190"/>
                  <a:gd name="T39" fmla="*/ 29 h 163"/>
                  <a:gd name="T40" fmla="*/ 38 w 190"/>
                  <a:gd name="T41" fmla="*/ 29 h 163"/>
                  <a:gd name="T42" fmla="*/ 47 w 190"/>
                  <a:gd name="T43" fmla="*/ 38 h 163"/>
                  <a:gd name="T44" fmla="*/ 38 w 190"/>
                  <a:gd name="T45" fmla="*/ 48 h 163"/>
                  <a:gd name="T46" fmla="*/ 28 w 190"/>
                  <a:gd name="T47" fmla="*/ 48 h 163"/>
                  <a:gd name="T48" fmla="*/ 19 w 190"/>
                  <a:gd name="T49" fmla="*/ 48 h 163"/>
                  <a:gd name="T50" fmla="*/ 0 w 190"/>
                  <a:gd name="T51" fmla="*/ 48 h 163"/>
                  <a:gd name="T52" fmla="*/ 0 w 190"/>
                  <a:gd name="T53" fmla="*/ 58 h 163"/>
                  <a:gd name="T54" fmla="*/ 9 w 190"/>
                  <a:gd name="T55" fmla="*/ 67 h 163"/>
                  <a:gd name="T56" fmla="*/ 19 w 190"/>
                  <a:gd name="T57" fmla="*/ 67 h 163"/>
                  <a:gd name="T58" fmla="*/ 28 w 190"/>
                  <a:gd name="T59" fmla="*/ 67 h 163"/>
                  <a:gd name="T60" fmla="*/ 38 w 190"/>
                  <a:gd name="T61" fmla="*/ 86 h 163"/>
                  <a:gd name="T62" fmla="*/ 47 w 190"/>
                  <a:gd name="T63" fmla="*/ 96 h 163"/>
                  <a:gd name="T64" fmla="*/ 47 w 190"/>
                  <a:gd name="T65" fmla="*/ 105 h 163"/>
                  <a:gd name="T66" fmla="*/ 57 w 190"/>
                  <a:gd name="T67" fmla="*/ 115 h 163"/>
                  <a:gd name="T68" fmla="*/ 47 w 190"/>
                  <a:gd name="T69" fmla="*/ 115 h 163"/>
                  <a:gd name="T70" fmla="*/ 47 w 190"/>
                  <a:gd name="T71" fmla="*/ 134 h 163"/>
                  <a:gd name="T72" fmla="*/ 57 w 190"/>
                  <a:gd name="T73" fmla="*/ 153 h 163"/>
                  <a:gd name="T74" fmla="*/ 67 w 190"/>
                  <a:gd name="T75" fmla="*/ 163 h 163"/>
                  <a:gd name="T76" fmla="*/ 86 w 190"/>
                  <a:gd name="T77" fmla="*/ 163 h 163"/>
                  <a:gd name="T78" fmla="*/ 105 w 190"/>
                  <a:gd name="T79" fmla="*/ 163 h 1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90"/>
                  <a:gd name="T121" fmla="*/ 0 h 163"/>
                  <a:gd name="T122" fmla="*/ 190 w 190"/>
                  <a:gd name="T123" fmla="*/ 163 h 16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90" h="163">
                    <a:moveTo>
                      <a:pt x="105" y="163"/>
                    </a:moveTo>
                    <a:lnTo>
                      <a:pt x="114" y="153"/>
                    </a:lnTo>
                    <a:lnTo>
                      <a:pt x="124" y="143"/>
                    </a:lnTo>
                    <a:lnTo>
                      <a:pt x="133" y="153"/>
                    </a:lnTo>
                    <a:lnTo>
                      <a:pt x="143" y="153"/>
                    </a:lnTo>
                    <a:lnTo>
                      <a:pt x="152" y="153"/>
                    </a:lnTo>
                    <a:lnTo>
                      <a:pt x="162" y="153"/>
                    </a:lnTo>
                    <a:lnTo>
                      <a:pt x="162" y="143"/>
                    </a:lnTo>
                    <a:lnTo>
                      <a:pt x="171" y="143"/>
                    </a:lnTo>
                    <a:lnTo>
                      <a:pt x="181" y="143"/>
                    </a:lnTo>
                    <a:lnTo>
                      <a:pt x="171" y="134"/>
                    </a:lnTo>
                    <a:lnTo>
                      <a:pt x="162" y="115"/>
                    </a:lnTo>
                    <a:lnTo>
                      <a:pt x="162" y="105"/>
                    </a:lnTo>
                    <a:lnTo>
                      <a:pt x="162" y="96"/>
                    </a:lnTo>
                    <a:lnTo>
                      <a:pt x="152" y="96"/>
                    </a:lnTo>
                    <a:lnTo>
                      <a:pt x="152" y="86"/>
                    </a:lnTo>
                    <a:lnTo>
                      <a:pt x="162" y="86"/>
                    </a:lnTo>
                    <a:lnTo>
                      <a:pt x="162" y="77"/>
                    </a:lnTo>
                    <a:lnTo>
                      <a:pt x="162" y="67"/>
                    </a:lnTo>
                    <a:lnTo>
                      <a:pt x="171" y="67"/>
                    </a:lnTo>
                    <a:lnTo>
                      <a:pt x="181" y="48"/>
                    </a:lnTo>
                    <a:lnTo>
                      <a:pt x="190" y="38"/>
                    </a:lnTo>
                    <a:lnTo>
                      <a:pt x="171" y="29"/>
                    </a:lnTo>
                    <a:lnTo>
                      <a:pt x="162" y="29"/>
                    </a:lnTo>
                    <a:lnTo>
                      <a:pt x="152" y="29"/>
                    </a:lnTo>
                    <a:lnTo>
                      <a:pt x="143" y="19"/>
                    </a:lnTo>
                    <a:lnTo>
                      <a:pt x="133" y="19"/>
                    </a:lnTo>
                    <a:lnTo>
                      <a:pt x="124" y="19"/>
                    </a:lnTo>
                    <a:lnTo>
                      <a:pt x="114" y="10"/>
                    </a:lnTo>
                    <a:lnTo>
                      <a:pt x="105" y="0"/>
                    </a:lnTo>
                    <a:lnTo>
                      <a:pt x="86" y="0"/>
                    </a:lnTo>
                    <a:lnTo>
                      <a:pt x="86" y="19"/>
                    </a:lnTo>
                    <a:lnTo>
                      <a:pt x="67" y="19"/>
                    </a:lnTo>
                    <a:lnTo>
                      <a:pt x="67" y="29"/>
                    </a:lnTo>
                    <a:lnTo>
                      <a:pt x="47" y="29"/>
                    </a:lnTo>
                    <a:lnTo>
                      <a:pt x="38" y="29"/>
                    </a:lnTo>
                    <a:lnTo>
                      <a:pt x="47" y="38"/>
                    </a:lnTo>
                    <a:lnTo>
                      <a:pt x="47" y="48"/>
                    </a:lnTo>
                    <a:lnTo>
                      <a:pt x="38" y="48"/>
                    </a:lnTo>
                    <a:lnTo>
                      <a:pt x="28" y="48"/>
                    </a:lnTo>
                    <a:lnTo>
                      <a:pt x="19" y="48"/>
                    </a:lnTo>
                    <a:lnTo>
                      <a:pt x="9" y="48"/>
                    </a:lnTo>
                    <a:lnTo>
                      <a:pt x="0" y="48"/>
                    </a:lnTo>
                    <a:lnTo>
                      <a:pt x="0" y="58"/>
                    </a:lnTo>
                    <a:lnTo>
                      <a:pt x="9" y="67"/>
                    </a:lnTo>
                    <a:lnTo>
                      <a:pt x="19" y="67"/>
                    </a:lnTo>
                    <a:lnTo>
                      <a:pt x="28" y="67"/>
                    </a:lnTo>
                    <a:lnTo>
                      <a:pt x="38" y="77"/>
                    </a:lnTo>
                    <a:lnTo>
                      <a:pt x="38" y="86"/>
                    </a:lnTo>
                    <a:lnTo>
                      <a:pt x="47" y="96"/>
                    </a:lnTo>
                    <a:lnTo>
                      <a:pt x="47" y="105"/>
                    </a:lnTo>
                    <a:lnTo>
                      <a:pt x="47" y="115"/>
                    </a:lnTo>
                    <a:lnTo>
                      <a:pt x="57" y="115"/>
                    </a:lnTo>
                    <a:lnTo>
                      <a:pt x="57" y="124"/>
                    </a:lnTo>
                    <a:lnTo>
                      <a:pt x="47" y="115"/>
                    </a:lnTo>
                    <a:lnTo>
                      <a:pt x="47" y="124"/>
                    </a:lnTo>
                    <a:lnTo>
                      <a:pt x="47" y="134"/>
                    </a:lnTo>
                    <a:lnTo>
                      <a:pt x="47" y="153"/>
                    </a:lnTo>
                    <a:lnTo>
                      <a:pt x="57" y="153"/>
                    </a:lnTo>
                    <a:lnTo>
                      <a:pt x="67" y="163"/>
                    </a:lnTo>
                    <a:lnTo>
                      <a:pt x="86" y="163"/>
                    </a:lnTo>
                    <a:lnTo>
                      <a:pt x="95" y="163"/>
                    </a:lnTo>
                    <a:lnTo>
                      <a:pt x="105" y="163"/>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24" name="Freeform 435">
                <a:extLst>
                  <a:ext uri="{FF2B5EF4-FFF2-40B4-BE49-F238E27FC236}">
                    <a16:creationId xmlns:a16="http://schemas.microsoft.com/office/drawing/2014/main" id="{C804F679-5235-48D1-9817-DF97AFDCCEE5}"/>
                  </a:ext>
                </a:extLst>
              </p:cNvPr>
              <p:cNvSpPr>
                <a:spLocks/>
              </p:cNvSpPr>
              <p:nvPr/>
            </p:nvSpPr>
            <p:spPr bwMode="gray">
              <a:xfrm>
                <a:off x="2779" y="1984"/>
                <a:ext cx="134" cy="163"/>
              </a:xfrm>
              <a:custGeom>
                <a:avLst/>
                <a:gdLst>
                  <a:gd name="T0" fmla="*/ 10 w 134"/>
                  <a:gd name="T1" fmla="*/ 115 h 163"/>
                  <a:gd name="T2" fmla="*/ 19 w 134"/>
                  <a:gd name="T3" fmla="*/ 115 h 163"/>
                  <a:gd name="T4" fmla="*/ 38 w 134"/>
                  <a:gd name="T5" fmla="*/ 124 h 163"/>
                  <a:gd name="T6" fmla="*/ 29 w 134"/>
                  <a:gd name="T7" fmla="*/ 134 h 163"/>
                  <a:gd name="T8" fmla="*/ 19 w 134"/>
                  <a:gd name="T9" fmla="*/ 153 h 163"/>
                  <a:gd name="T10" fmla="*/ 29 w 134"/>
                  <a:gd name="T11" fmla="*/ 153 h 163"/>
                  <a:gd name="T12" fmla="*/ 38 w 134"/>
                  <a:gd name="T13" fmla="*/ 153 h 163"/>
                  <a:gd name="T14" fmla="*/ 48 w 134"/>
                  <a:gd name="T15" fmla="*/ 153 h 163"/>
                  <a:gd name="T16" fmla="*/ 58 w 134"/>
                  <a:gd name="T17" fmla="*/ 163 h 163"/>
                  <a:gd name="T18" fmla="*/ 67 w 134"/>
                  <a:gd name="T19" fmla="*/ 163 h 163"/>
                  <a:gd name="T20" fmla="*/ 86 w 134"/>
                  <a:gd name="T21" fmla="*/ 153 h 163"/>
                  <a:gd name="T22" fmla="*/ 96 w 134"/>
                  <a:gd name="T23" fmla="*/ 153 h 163"/>
                  <a:gd name="T24" fmla="*/ 105 w 134"/>
                  <a:gd name="T25" fmla="*/ 153 h 163"/>
                  <a:gd name="T26" fmla="*/ 105 w 134"/>
                  <a:gd name="T27" fmla="*/ 144 h 163"/>
                  <a:gd name="T28" fmla="*/ 105 w 134"/>
                  <a:gd name="T29" fmla="*/ 144 h 163"/>
                  <a:gd name="T30" fmla="*/ 115 w 134"/>
                  <a:gd name="T31" fmla="*/ 134 h 163"/>
                  <a:gd name="T32" fmla="*/ 115 w 134"/>
                  <a:gd name="T33" fmla="*/ 124 h 163"/>
                  <a:gd name="T34" fmla="*/ 96 w 134"/>
                  <a:gd name="T35" fmla="*/ 115 h 163"/>
                  <a:gd name="T36" fmla="*/ 96 w 134"/>
                  <a:gd name="T37" fmla="*/ 96 h 163"/>
                  <a:gd name="T38" fmla="*/ 115 w 134"/>
                  <a:gd name="T39" fmla="*/ 86 h 163"/>
                  <a:gd name="T40" fmla="*/ 115 w 134"/>
                  <a:gd name="T41" fmla="*/ 77 h 163"/>
                  <a:gd name="T42" fmla="*/ 134 w 134"/>
                  <a:gd name="T43" fmla="*/ 77 h 163"/>
                  <a:gd name="T44" fmla="*/ 124 w 134"/>
                  <a:gd name="T45" fmla="*/ 48 h 163"/>
                  <a:gd name="T46" fmla="*/ 124 w 134"/>
                  <a:gd name="T47" fmla="*/ 29 h 163"/>
                  <a:gd name="T48" fmla="*/ 124 w 134"/>
                  <a:gd name="T49" fmla="*/ 19 h 163"/>
                  <a:gd name="T50" fmla="*/ 115 w 134"/>
                  <a:gd name="T51" fmla="*/ 10 h 163"/>
                  <a:gd name="T52" fmla="*/ 115 w 134"/>
                  <a:gd name="T53" fmla="*/ 10 h 163"/>
                  <a:gd name="T54" fmla="*/ 115 w 134"/>
                  <a:gd name="T55" fmla="*/ 0 h 163"/>
                  <a:gd name="T56" fmla="*/ 96 w 134"/>
                  <a:gd name="T57" fmla="*/ 10 h 163"/>
                  <a:gd name="T58" fmla="*/ 86 w 134"/>
                  <a:gd name="T59" fmla="*/ 10 h 163"/>
                  <a:gd name="T60" fmla="*/ 77 w 134"/>
                  <a:gd name="T61" fmla="*/ 10 h 163"/>
                  <a:gd name="T62" fmla="*/ 67 w 134"/>
                  <a:gd name="T63" fmla="*/ 10 h 163"/>
                  <a:gd name="T64" fmla="*/ 58 w 134"/>
                  <a:gd name="T65" fmla="*/ 10 h 163"/>
                  <a:gd name="T66" fmla="*/ 58 w 134"/>
                  <a:gd name="T67" fmla="*/ 0 h 163"/>
                  <a:gd name="T68" fmla="*/ 58 w 134"/>
                  <a:gd name="T69" fmla="*/ 0 h 163"/>
                  <a:gd name="T70" fmla="*/ 48 w 134"/>
                  <a:gd name="T71" fmla="*/ 0 h 163"/>
                  <a:gd name="T72" fmla="*/ 38 w 134"/>
                  <a:gd name="T73" fmla="*/ 0 h 163"/>
                  <a:gd name="T74" fmla="*/ 38 w 134"/>
                  <a:gd name="T75" fmla="*/ 0 h 163"/>
                  <a:gd name="T76" fmla="*/ 38 w 134"/>
                  <a:gd name="T77" fmla="*/ 10 h 163"/>
                  <a:gd name="T78" fmla="*/ 38 w 134"/>
                  <a:gd name="T79" fmla="*/ 19 h 163"/>
                  <a:gd name="T80" fmla="*/ 38 w 134"/>
                  <a:gd name="T81" fmla="*/ 19 h 163"/>
                  <a:gd name="T82" fmla="*/ 29 w 134"/>
                  <a:gd name="T83" fmla="*/ 29 h 163"/>
                  <a:gd name="T84" fmla="*/ 29 w 134"/>
                  <a:gd name="T85" fmla="*/ 19 h 163"/>
                  <a:gd name="T86" fmla="*/ 19 w 134"/>
                  <a:gd name="T87" fmla="*/ 19 h 163"/>
                  <a:gd name="T88" fmla="*/ 10 w 134"/>
                  <a:gd name="T89" fmla="*/ 29 h 163"/>
                  <a:gd name="T90" fmla="*/ 19 w 134"/>
                  <a:gd name="T91" fmla="*/ 39 h 163"/>
                  <a:gd name="T92" fmla="*/ 10 w 134"/>
                  <a:gd name="T93" fmla="*/ 39 h 163"/>
                  <a:gd name="T94" fmla="*/ 19 w 134"/>
                  <a:gd name="T95" fmla="*/ 48 h 163"/>
                  <a:gd name="T96" fmla="*/ 19 w 134"/>
                  <a:gd name="T97" fmla="*/ 58 h 163"/>
                  <a:gd name="T98" fmla="*/ 0 w 134"/>
                  <a:gd name="T99" fmla="*/ 67 h 163"/>
                  <a:gd name="T100" fmla="*/ 0 w 134"/>
                  <a:gd name="T101" fmla="*/ 67 h 163"/>
                  <a:gd name="T102" fmla="*/ 0 w 134"/>
                  <a:gd name="T103" fmla="*/ 67 h 163"/>
                  <a:gd name="T104" fmla="*/ 0 w 134"/>
                  <a:gd name="T105" fmla="*/ 77 h 163"/>
                  <a:gd name="T106" fmla="*/ 0 w 134"/>
                  <a:gd name="T107" fmla="*/ 86 h 163"/>
                  <a:gd name="T108" fmla="*/ 0 w 134"/>
                  <a:gd name="T109" fmla="*/ 86 h 163"/>
                  <a:gd name="T110" fmla="*/ 0 w 134"/>
                  <a:gd name="T111" fmla="*/ 96 h 163"/>
                  <a:gd name="T112" fmla="*/ 10 w 134"/>
                  <a:gd name="T113" fmla="*/ 105 h 163"/>
                  <a:gd name="T114" fmla="*/ 10 w 134"/>
                  <a:gd name="T115" fmla="*/ 115 h 1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4"/>
                  <a:gd name="T175" fmla="*/ 0 h 163"/>
                  <a:gd name="T176" fmla="*/ 134 w 134"/>
                  <a:gd name="T177" fmla="*/ 163 h 1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4" h="163">
                    <a:moveTo>
                      <a:pt x="10" y="115"/>
                    </a:moveTo>
                    <a:lnTo>
                      <a:pt x="19" y="115"/>
                    </a:lnTo>
                    <a:lnTo>
                      <a:pt x="38" y="124"/>
                    </a:lnTo>
                    <a:lnTo>
                      <a:pt x="29" y="134"/>
                    </a:lnTo>
                    <a:lnTo>
                      <a:pt x="19" y="153"/>
                    </a:lnTo>
                    <a:lnTo>
                      <a:pt x="29" y="153"/>
                    </a:lnTo>
                    <a:lnTo>
                      <a:pt x="38" y="153"/>
                    </a:lnTo>
                    <a:lnTo>
                      <a:pt x="48" y="153"/>
                    </a:lnTo>
                    <a:lnTo>
                      <a:pt x="58" y="163"/>
                    </a:lnTo>
                    <a:lnTo>
                      <a:pt x="67" y="163"/>
                    </a:lnTo>
                    <a:lnTo>
                      <a:pt x="86" y="153"/>
                    </a:lnTo>
                    <a:lnTo>
                      <a:pt x="96" y="153"/>
                    </a:lnTo>
                    <a:lnTo>
                      <a:pt x="105" y="153"/>
                    </a:lnTo>
                    <a:lnTo>
                      <a:pt x="105" y="144"/>
                    </a:lnTo>
                    <a:lnTo>
                      <a:pt x="115" y="134"/>
                    </a:lnTo>
                    <a:lnTo>
                      <a:pt x="115" y="124"/>
                    </a:lnTo>
                    <a:lnTo>
                      <a:pt x="96" y="115"/>
                    </a:lnTo>
                    <a:lnTo>
                      <a:pt x="96" y="96"/>
                    </a:lnTo>
                    <a:lnTo>
                      <a:pt x="115" y="86"/>
                    </a:lnTo>
                    <a:lnTo>
                      <a:pt x="115" y="77"/>
                    </a:lnTo>
                    <a:lnTo>
                      <a:pt x="134" y="77"/>
                    </a:lnTo>
                    <a:lnTo>
                      <a:pt x="124" y="48"/>
                    </a:lnTo>
                    <a:lnTo>
                      <a:pt x="124" y="29"/>
                    </a:lnTo>
                    <a:lnTo>
                      <a:pt x="124" y="19"/>
                    </a:lnTo>
                    <a:lnTo>
                      <a:pt x="115" y="10"/>
                    </a:lnTo>
                    <a:lnTo>
                      <a:pt x="115" y="0"/>
                    </a:lnTo>
                    <a:lnTo>
                      <a:pt x="96" y="10"/>
                    </a:lnTo>
                    <a:lnTo>
                      <a:pt x="86" y="10"/>
                    </a:lnTo>
                    <a:lnTo>
                      <a:pt x="77" y="10"/>
                    </a:lnTo>
                    <a:lnTo>
                      <a:pt x="67" y="10"/>
                    </a:lnTo>
                    <a:lnTo>
                      <a:pt x="58" y="10"/>
                    </a:lnTo>
                    <a:lnTo>
                      <a:pt x="58" y="0"/>
                    </a:lnTo>
                    <a:lnTo>
                      <a:pt x="48" y="0"/>
                    </a:lnTo>
                    <a:lnTo>
                      <a:pt x="38" y="0"/>
                    </a:lnTo>
                    <a:lnTo>
                      <a:pt x="38" y="10"/>
                    </a:lnTo>
                    <a:lnTo>
                      <a:pt x="38" y="19"/>
                    </a:lnTo>
                    <a:lnTo>
                      <a:pt x="29" y="29"/>
                    </a:lnTo>
                    <a:lnTo>
                      <a:pt x="29" y="19"/>
                    </a:lnTo>
                    <a:lnTo>
                      <a:pt x="19" y="19"/>
                    </a:lnTo>
                    <a:lnTo>
                      <a:pt x="10" y="29"/>
                    </a:lnTo>
                    <a:lnTo>
                      <a:pt x="19" y="39"/>
                    </a:lnTo>
                    <a:lnTo>
                      <a:pt x="10" y="39"/>
                    </a:lnTo>
                    <a:lnTo>
                      <a:pt x="19" y="48"/>
                    </a:lnTo>
                    <a:lnTo>
                      <a:pt x="19" y="58"/>
                    </a:lnTo>
                    <a:lnTo>
                      <a:pt x="0" y="67"/>
                    </a:lnTo>
                    <a:lnTo>
                      <a:pt x="0" y="77"/>
                    </a:lnTo>
                    <a:lnTo>
                      <a:pt x="0" y="86"/>
                    </a:lnTo>
                    <a:lnTo>
                      <a:pt x="0" y="96"/>
                    </a:lnTo>
                    <a:lnTo>
                      <a:pt x="10" y="105"/>
                    </a:lnTo>
                    <a:lnTo>
                      <a:pt x="10" y="115"/>
                    </a:lnTo>
                    <a:close/>
                  </a:path>
                </a:pathLst>
              </a:custGeom>
              <a:solidFill>
                <a:srgbClr val="E10019"/>
              </a:solid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25" name="Freeform 436">
                <a:extLst>
                  <a:ext uri="{FF2B5EF4-FFF2-40B4-BE49-F238E27FC236}">
                    <a16:creationId xmlns:a16="http://schemas.microsoft.com/office/drawing/2014/main" id="{10BC4768-7893-47C3-9E6E-6C377E4D5766}"/>
                  </a:ext>
                </a:extLst>
              </p:cNvPr>
              <p:cNvSpPr>
                <a:spLocks/>
              </p:cNvSpPr>
              <p:nvPr/>
            </p:nvSpPr>
            <p:spPr bwMode="gray">
              <a:xfrm>
                <a:off x="2789" y="2147"/>
                <a:ext cx="171" cy="171"/>
              </a:xfrm>
              <a:custGeom>
                <a:avLst/>
                <a:gdLst>
                  <a:gd name="T0" fmla="*/ 28 w 171"/>
                  <a:gd name="T1" fmla="*/ 57 h 171"/>
                  <a:gd name="T2" fmla="*/ 48 w 171"/>
                  <a:gd name="T3" fmla="*/ 57 h 171"/>
                  <a:gd name="T4" fmla="*/ 57 w 171"/>
                  <a:gd name="T5" fmla="*/ 76 h 171"/>
                  <a:gd name="T6" fmla="*/ 67 w 171"/>
                  <a:gd name="T7" fmla="*/ 95 h 171"/>
                  <a:gd name="T8" fmla="*/ 86 w 171"/>
                  <a:gd name="T9" fmla="*/ 95 h 171"/>
                  <a:gd name="T10" fmla="*/ 95 w 171"/>
                  <a:gd name="T11" fmla="*/ 114 h 171"/>
                  <a:gd name="T12" fmla="*/ 105 w 171"/>
                  <a:gd name="T13" fmla="*/ 114 h 171"/>
                  <a:gd name="T14" fmla="*/ 114 w 171"/>
                  <a:gd name="T15" fmla="*/ 124 h 171"/>
                  <a:gd name="T16" fmla="*/ 124 w 171"/>
                  <a:gd name="T17" fmla="*/ 124 h 171"/>
                  <a:gd name="T18" fmla="*/ 133 w 171"/>
                  <a:gd name="T19" fmla="*/ 133 h 171"/>
                  <a:gd name="T20" fmla="*/ 143 w 171"/>
                  <a:gd name="T21" fmla="*/ 143 h 171"/>
                  <a:gd name="T22" fmla="*/ 133 w 171"/>
                  <a:gd name="T23" fmla="*/ 162 h 171"/>
                  <a:gd name="T24" fmla="*/ 133 w 171"/>
                  <a:gd name="T25" fmla="*/ 171 h 171"/>
                  <a:gd name="T26" fmla="*/ 152 w 171"/>
                  <a:gd name="T27" fmla="*/ 152 h 171"/>
                  <a:gd name="T28" fmla="*/ 152 w 171"/>
                  <a:gd name="T29" fmla="*/ 143 h 171"/>
                  <a:gd name="T30" fmla="*/ 152 w 171"/>
                  <a:gd name="T31" fmla="*/ 124 h 171"/>
                  <a:gd name="T32" fmla="*/ 162 w 171"/>
                  <a:gd name="T33" fmla="*/ 124 h 171"/>
                  <a:gd name="T34" fmla="*/ 171 w 171"/>
                  <a:gd name="T35" fmla="*/ 133 h 171"/>
                  <a:gd name="T36" fmla="*/ 162 w 171"/>
                  <a:gd name="T37" fmla="*/ 114 h 171"/>
                  <a:gd name="T38" fmla="*/ 152 w 171"/>
                  <a:gd name="T39" fmla="*/ 114 h 171"/>
                  <a:gd name="T40" fmla="*/ 143 w 171"/>
                  <a:gd name="T41" fmla="*/ 105 h 171"/>
                  <a:gd name="T42" fmla="*/ 124 w 171"/>
                  <a:gd name="T43" fmla="*/ 95 h 171"/>
                  <a:gd name="T44" fmla="*/ 105 w 171"/>
                  <a:gd name="T45" fmla="*/ 76 h 171"/>
                  <a:gd name="T46" fmla="*/ 86 w 171"/>
                  <a:gd name="T47" fmla="*/ 57 h 171"/>
                  <a:gd name="T48" fmla="*/ 86 w 171"/>
                  <a:gd name="T49" fmla="*/ 38 h 171"/>
                  <a:gd name="T50" fmla="*/ 105 w 171"/>
                  <a:gd name="T51" fmla="*/ 28 h 171"/>
                  <a:gd name="T52" fmla="*/ 105 w 171"/>
                  <a:gd name="T53" fmla="*/ 28 h 171"/>
                  <a:gd name="T54" fmla="*/ 105 w 171"/>
                  <a:gd name="T55" fmla="*/ 19 h 171"/>
                  <a:gd name="T56" fmla="*/ 105 w 171"/>
                  <a:gd name="T57" fmla="*/ 9 h 171"/>
                  <a:gd name="T58" fmla="*/ 86 w 171"/>
                  <a:gd name="T59" fmla="*/ 9 h 171"/>
                  <a:gd name="T60" fmla="*/ 76 w 171"/>
                  <a:gd name="T61" fmla="*/ 0 h 171"/>
                  <a:gd name="T62" fmla="*/ 48 w 171"/>
                  <a:gd name="T63" fmla="*/ 9 h 171"/>
                  <a:gd name="T64" fmla="*/ 28 w 171"/>
                  <a:gd name="T65" fmla="*/ 9 h 171"/>
                  <a:gd name="T66" fmla="*/ 19 w 171"/>
                  <a:gd name="T67" fmla="*/ 9 h 171"/>
                  <a:gd name="T68" fmla="*/ 9 w 171"/>
                  <a:gd name="T69" fmla="*/ 28 h 171"/>
                  <a:gd name="T70" fmla="*/ 0 w 171"/>
                  <a:gd name="T71" fmla="*/ 28 h 171"/>
                  <a:gd name="T72" fmla="*/ 9 w 171"/>
                  <a:gd name="T73" fmla="*/ 57 h 171"/>
                  <a:gd name="T74" fmla="*/ 19 w 171"/>
                  <a:gd name="T75" fmla="*/ 57 h 1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1"/>
                  <a:gd name="T115" fmla="*/ 0 h 171"/>
                  <a:gd name="T116" fmla="*/ 171 w 171"/>
                  <a:gd name="T117" fmla="*/ 171 h 1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1" h="171">
                    <a:moveTo>
                      <a:pt x="19" y="57"/>
                    </a:moveTo>
                    <a:lnTo>
                      <a:pt x="28" y="57"/>
                    </a:lnTo>
                    <a:lnTo>
                      <a:pt x="38" y="47"/>
                    </a:lnTo>
                    <a:lnTo>
                      <a:pt x="48" y="57"/>
                    </a:lnTo>
                    <a:lnTo>
                      <a:pt x="57" y="66"/>
                    </a:lnTo>
                    <a:lnTo>
                      <a:pt x="57" y="76"/>
                    </a:lnTo>
                    <a:lnTo>
                      <a:pt x="67" y="86"/>
                    </a:lnTo>
                    <a:lnTo>
                      <a:pt x="67" y="95"/>
                    </a:lnTo>
                    <a:lnTo>
                      <a:pt x="76" y="95"/>
                    </a:lnTo>
                    <a:lnTo>
                      <a:pt x="86" y="95"/>
                    </a:lnTo>
                    <a:lnTo>
                      <a:pt x="86" y="105"/>
                    </a:lnTo>
                    <a:lnTo>
                      <a:pt x="95" y="114"/>
                    </a:lnTo>
                    <a:lnTo>
                      <a:pt x="105" y="114"/>
                    </a:lnTo>
                    <a:lnTo>
                      <a:pt x="114" y="114"/>
                    </a:lnTo>
                    <a:lnTo>
                      <a:pt x="114" y="124"/>
                    </a:lnTo>
                    <a:lnTo>
                      <a:pt x="124" y="124"/>
                    </a:lnTo>
                    <a:lnTo>
                      <a:pt x="133" y="133"/>
                    </a:lnTo>
                    <a:lnTo>
                      <a:pt x="143" y="133"/>
                    </a:lnTo>
                    <a:lnTo>
                      <a:pt x="143" y="143"/>
                    </a:lnTo>
                    <a:lnTo>
                      <a:pt x="143" y="152"/>
                    </a:lnTo>
                    <a:lnTo>
                      <a:pt x="133" y="162"/>
                    </a:lnTo>
                    <a:lnTo>
                      <a:pt x="133" y="171"/>
                    </a:lnTo>
                    <a:lnTo>
                      <a:pt x="143" y="162"/>
                    </a:lnTo>
                    <a:lnTo>
                      <a:pt x="152" y="152"/>
                    </a:lnTo>
                    <a:lnTo>
                      <a:pt x="152" y="143"/>
                    </a:lnTo>
                    <a:lnTo>
                      <a:pt x="143" y="133"/>
                    </a:lnTo>
                    <a:lnTo>
                      <a:pt x="152" y="124"/>
                    </a:lnTo>
                    <a:lnTo>
                      <a:pt x="162" y="124"/>
                    </a:lnTo>
                    <a:lnTo>
                      <a:pt x="171" y="133"/>
                    </a:lnTo>
                    <a:lnTo>
                      <a:pt x="171" y="124"/>
                    </a:lnTo>
                    <a:lnTo>
                      <a:pt x="162" y="114"/>
                    </a:lnTo>
                    <a:lnTo>
                      <a:pt x="152" y="114"/>
                    </a:lnTo>
                    <a:lnTo>
                      <a:pt x="143" y="105"/>
                    </a:lnTo>
                    <a:lnTo>
                      <a:pt x="133" y="95"/>
                    </a:lnTo>
                    <a:lnTo>
                      <a:pt x="124" y="95"/>
                    </a:lnTo>
                    <a:lnTo>
                      <a:pt x="114" y="86"/>
                    </a:lnTo>
                    <a:lnTo>
                      <a:pt x="105" y="76"/>
                    </a:lnTo>
                    <a:lnTo>
                      <a:pt x="95" y="66"/>
                    </a:lnTo>
                    <a:lnTo>
                      <a:pt x="86" y="57"/>
                    </a:lnTo>
                    <a:lnTo>
                      <a:pt x="86" y="38"/>
                    </a:lnTo>
                    <a:lnTo>
                      <a:pt x="86" y="28"/>
                    </a:lnTo>
                    <a:lnTo>
                      <a:pt x="105" y="28"/>
                    </a:lnTo>
                    <a:lnTo>
                      <a:pt x="105" y="38"/>
                    </a:lnTo>
                    <a:lnTo>
                      <a:pt x="105" y="28"/>
                    </a:lnTo>
                    <a:lnTo>
                      <a:pt x="105" y="19"/>
                    </a:lnTo>
                    <a:lnTo>
                      <a:pt x="105" y="9"/>
                    </a:lnTo>
                    <a:lnTo>
                      <a:pt x="86" y="9"/>
                    </a:lnTo>
                    <a:lnTo>
                      <a:pt x="76" y="0"/>
                    </a:lnTo>
                    <a:lnTo>
                      <a:pt x="67" y="9"/>
                    </a:lnTo>
                    <a:lnTo>
                      <a:pt x="48" y="9"/>
                    </a:lnTo>
                    <a:lnTo>
                      <a:pt x="48" y="19"/>
                    </a:lnTo>
                    <a:lnTo>
                      <a:pt x="28" y="9"/>
                    </a:lnTo>
                    <a:lnTo>
                      <a:pt x="19" y="9"/>
                    </a:lnTo>
                    <a:lnTo>
                      <a:pt x="19" y="19"/>
                    </a:lnTo>
                    <a:lnTo>
                      <a:pt x="9" y="28"/>
                    </a:lnTo>
                    <a:lnTo>
                      <a:pt x="9" y="19"/>
                    </a:lnTo>
                    <a:lnTo>
                      <a:pt x="0" y="28"/>
                    </a:lnTo>
                    <a:lnTo>
                      <a:pt x="0" y="38"/>
                    </a:lnTo>
                    <a:lnTo>
                      <a:pt x="9" y="57"/>
                    </a:lnTo>
                    <a:lnTo>
                      <a:pt x="19" y="5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26" name="Freeform 437">
                <a:extLst>
                  <a:ext uri="{FF2B5EF4-FFF2-40B4-BE49-F238E27FC236}">
                    <a16:creationId xmlns:a16="http://schemas.microsoft.com/office/drawing/2014/main" id="{0001466B-4F14-4145-94F4-2C6F509B71F6}"/>
                  </a:ext>
                </a:extLst>
              </p:cNvPr>
              <p:cNvSpPr>
                <a:spLocks/>
              </p:cNvSpPr>
              <p:nvPr/>
            </p:nvSpPr>
            <p:spPr bwMode="gray">
              <a:xfrm>
                <a:off x="3771" y="2003"/>
                <a:ext cx="915" cy="583"/>
              </a:xfrm>
              <a:custGeom>
                <a:avLst/>
                <a:gdLst>
                  <a:gd name="T0" fmla="*/ 800 w 915"/>
                  <a:gd name="T1" fmla="*/ 239 h 583"/>
                  <a:gd name="T2" fmla="*/ 819 w 915"/>
                  <a:gd name="T3" fmla="*/ 230 h 583"/>
                  <a:gd name="T4" fmla="*/ 867 w 915"/>
                  <a:gd name="T5" fmla="*/ 172 h 583"/>
                  <a:gd name="T6" fmla="*/ 915 w 915"/>
                  <a:gd name="T7" fmla="*/ 105 h 583"/>
                  <a:gd name="T8" fmla="*/ 858 w 915"/>
                  <a:gd name="T9" fmla="*/ 125 h 583"/>
                  <a:gd name="T10" fmla="*/ 800 w 915"/>
                  <a:gd name="T11" fmla="*/ 58 h 583"/>
                  <a:gd name="T12" fmla="*/ 734 w 915"/>
                  <a:gd name="T13" fmla="*/ 0 h 583"/>
                  <a:gd name="T14" fmla="*/ 686 w 915"/>
                  <a:gd name="T15" fmla="*/ 39 h 583"/>
                  <a:gd name="T16" fmla="*/ 648 w 915"/>
                  <a:gd name="T17" fmla="*/ 86 h 583"/>
                  <a:gd name="T18" fmla="*/ 629 w 915"/>
                  <a:gd name="T19" fmla="*/ 125 h 583"/>
                  <a:gd name="T20" fmla="*/ 686 w 915"/>
                  <a:gd name="T21" fmla="*/ 144 h 583"/>
                  <a:gd name="T22" fmla="*/ 648 w 915"/>
                  <a:gd name="T23" fmla="*/ 153 h 583"/>
                  <a:gd name="T24" fmla="*/ 610 w 915"/>
                  <a:gd name="T25" fmla="*/ 163 h 583"/>
                  <a:gd name="T26" fmla="*/ 572 w 915"/>
                  <a:gd name="T27" fmla="*/ 210 h 583"/>
                  <a:gd name="T28" fmla="*/ 495 w 915"/>
                  <a:gd name="T29" fmla="*/ 230 h 583"/>
                  <a:gd name="T30" fmla="*/ 419 w 915"/>
                  <a:gd name="T31" fmla="*/ 220 h 583"/>
                  <a:gd name="T32" fmla="*/ 362 w 915"/>
                  <a:gd name="T33" fmla="*/ 230 h 583"/>
                  <a:gd name="T34" fmla="*/ 267 w 915"/>
                  <a:gd name="T35" fmla="*/ 172 h 583"/>
                  <a:gd name="T36" fmla="*/ 209 w 915"/>
                  <a:gd name="T37" fmla="*/ 96 h 583"/>
                  <a:gd name="T38" fmla="*/ 162 w 915"/>
                  <a:gd name="T39" fmla="*/ 144 h 583"/>
                  <a:gd name="T40" fmla="*/ 124 w 915"/>
                  <a:gd name="T41" fmla="*/ 172 h 583"/>
                  <a:gd name="T42" fmla="*/ 95 w 915"/>
                  <a:gd name="T43" fmla="*/ 230 h 583"/>
                  <a:gd name="T44" fmla="*/ 47 w 915"/>
                  <a:gd name="T45" fmla="*/ 268 h 583"/>
                  <a:gd name="T46" fmla="*/ 9 w 915"/>
                  <a:gd name="T47" fmla="*/ 296 h 583"/>
                  <a:gd name="T48" fmla="*/ 28 w 915"/>
                  <a:gd name="T49" fmla="*/ 325 h 583"/>
                  <a:gd name="T50" fmla="*/ 57 w 915"/>
                  <a:gd name="T51" fmla="*/ 363 h 583"/>
                  <a:gd name="T52" fmla="*/ 76 w 915"/>
                  <a:gd name="T53" fmla="*/ 373 h 583"/>
                  <a:gd name="T54" fmla="*/ 76 w 915"/>
                  <a:gd name="T55" fmla="*/ 392 h 583"/>
                  <a:gd name="T56" fmla="*/ 85 w 915"/>
                  <a:gd name="T57" fmla="*/ 420 h 583"/>
                  <a:gd name="T58" fmla="*/ 162 w 915"/>
                  <a:gd name="T59" fmla="*/ 449 h 583"/>
                  <a:gd name="T60" fmla="*/ 238 w 915"/>
                  <a:gd name="T61" fmla="*/ 459 h 583"/>
                  <a:gd name="T62" fmla="*/ 305 w 915"/>
                  <a:gd name="T63" fmla="*/ 449 h 583"/>
                  <a:gd name="T64" fmla="*/ 362 w 915"/>
                  <a:gd name="T65" fmla="*/ 459 h 583"/>
                  <a:gd name="T66" fmla="*/ 371 w 915"/>
                  <a:gd name="T67" fmla="*/ 525 h 583"/>
                  <a:gd name="T68" fmla="*/ 410 w 915"/>
                  <a:gd name="T69" fmla="*/ 564 h 583"/>
                  <a:gd name="T70" fmla="*/ 429 w 915"/>
                  <a:gd name="T71" fmla="*/ 544 h 583"/>
                  <a:gd name="T72" fmla="*/ 476 w 915"/>
                  <a:gd name="T73" fmla="*/ 544 h 583"/>
                  <a:gd name="T74" fmla="*/ 514 w 915"/>
                  <a:gd name="T75" fmla="*/ 564 h 583"/>
                  <a:gd name="T76" fmla="*/ 543 w 915"/>
                  <a:gd name="T77" fmla="*/ 583 h 583"/>
                  <a:gd name="T78" fmla="*/ 562 w 915"/>
                  <a:gd name="T79" fmla="*/ 564 h 583"/>
                  <a:gd name="T80" fmla="*/ 600 w 915"/>
                  <a:gd name="T81" fmla="*/ 544 h 583"/>
                  <a:gd name="T82" fmla="*/ 629 w 915"/>
                  <a:gd name="T83" fmla="*/ 544 h 583"/>
                  <a:gd name="T84" fmla="*/ 657 w 915"/>
                  <a:gd name="T85" fmla="*/ 516 h 583"/>
                  <a:gd name="T86" fmla="*/ 686 w 915"/>
                  <a:gd name="T87" fmla="*/ 487 h 583"/>
                  <a:gd name="T88" fmla="*/ 705 w 915"/>
                  <a:gd name="T89" fmla="*/ 459 h 583"/>
                  <a:gd name="T90" fmla="*/ 715 w 915"/>
                  <a:gd name="T91" fmla="*/ 430 h 583"/>
                  <a:gd name="T92" fmla="*/ 715 w 915"/>
                  <a:gd name="T93" fmla="*/ 420 h 583"/>
                  <a:gd name="T94" fmla="*/ 715 w 915"/>
                  <a:gd name="T95" fmla="*/ 401 h 583"/>
                  <a:gd name="T96" fmla="*/ 686 w 915"/>
                  <a:gd name="T97" fmla="*/ 363 h 583"/>
                  <a:gd name="T98" fmla="*/ 695 w 915"/>
                  <a:gd name="T99" fmla="*/ 334 h 583"/>
                  <a:gd name="T100" fmla="*/ 715 w 915"/>
                  <a:gd name="T101" fmla="*/ 325 h 583"/>
                  <a:gd name="T102" fmla="*/ 705 w 915"/>
                  <a:gd name="T103" fmla="*/ 315 h 583"/>
                  <a:gd name="T104" fmla="*/ 657 w 915"/>
                  <a:gd name="T105" fmla="*/ 306 h 583"/>
                  <a:gd name="T106" fmla="*/ 676 w 915"/>
                  <a:gd name="T107" fmla="*/ 287 h 583"/>
                  <a:gd name="T108" fmla="*/ 715 w 915"/>
                  <a:gd name="T109" fmla="*/ 258 h 583"/>
                  <a:gd name="T110" fmla="*/ 724 w 915"/>
                  <a:gd name="T111" fmla="*/ 287 h 5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15"/>
                  <a:gd name="T169" fmla="*/ 0 h 583"/>
                  <a:gd name="T170" fmla="*/ 915 w 915"/>
                  <a:gd name="T171" fmla="*/ 583 h 5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15" h="583">
                    <a:moveTo>
                      <a:pt x="753" y="277"/>
                    </a:moveTo>
                    <a:lnTo>
                      <a:pt x="762" y="258"/>
                    </a:lnTo>
                    <a:lnTo>
                      <a:pt x="781" y="258"/>
                    </a:lnTo>
                    <a:lnTo>
                      <a:pt x="791" y="239"/>
                    </a:lnTo>
                    <a:lnTo>
                      <a:pt x="800" y="239"/>
                    </a:lnTo>
                    <a:lnTo>
                      <a:pt x="800" y="249"/>
                    </a:lnTo>
                    <a:lnTo>
                      <a:pt x="810" y="249"/>
                    </a:lnTo>
                    <a:lnTo>
                      <a:pt x="810" y="239"/>
                    </a:lnTo>
                    <a:lnTo>
                      <a:pt x="810" y="230"/>
                    </a:lnTo>
                    <a:lnTo>
                      <a:pt x="819" y="230"/>
                    </a:lnTo>
                    <a:lnTo>
                      <a:pt x="838" y="220"/>
                    </a:lnTo>
                    <a:lnTo>
                      <a:pt x="858" y="210"/>
                    </a:lnTo>
                    <a:lnTo>
                      <a:pt x="858" y="201"/>
                    </a:lnTo>
                    <a:lnTo>
                      <a:pt x="848" y="182"/>
                    </a:lnTo>
                    <a:lnTo>
                      <a:pt x="867" y="172"/>
                    </a:lnTo>
                    <a:lnTo>
                      <a:pt x="877" y="182"/>
                    </a:lnTo>
                    <a:lnTo>
                      <a:pt x="886" y="172"/>
                    </a:lnTo>
                    <a:lnTo>
                      <a:pt x="896" y="144"/>
                    </a:lnTo>
                    <a:lnTo>
                      <a:pt x="905" y="134"/>
                    </a:lnTo>
                    <a:lnTo>
                      <a:pt x="915" y="105"/>
                    </a:lnTo>
                    <a:lnTo>
                      <a:pt x="905" y="105"/>
                    </a:lnTo>
                    <a:lnTo>
                      <a:pt x="886" y="115"/>
                    </a:lnTo>
                    <a:lnTo>
                      <a:pt x="877" y="115"/>
                    </a:lnTo>
                    <a:lnTo>
                      <a:pt x="867" y="125"/>
                    </a:lnTo>
                    <a:lnTo>
                      <a:pt x="858" y="125"/>
                    </a:lnTo>
                    <a:lnTo>
                      <a:pt x="848" y="105"/>
                    </a:lnTo>
                    <a:lnTo>
                      <a:pt x="829" y="86"/>
                    </a:lnTo>
                    <a:lnTo>
                      <a:pt x="819" y="86"/>
                    </a:lnTo>
                    <a:lnTo>
                      <a:pt x="800" y="77"/>
                    </a:lnTo>
                    <a:lnTo>
                      <a:pt x="800" y="58"/>
                    </a:lnTo>
                    <a:lnTo>
                      <a:pt x="791" y="39"/>
                    </a:lnTo>
                    <a:lnTo>
                      <a:pt x="791" y="29"/>
                    </a:lnTo>
                    <a:lnTo>
                      <a:pt x="772" y="10"/>
                    </a:lnTo>
                    <a:lnTo>
                      <a:pt x="762" y="0"/>
                    </a:lnTo>
                    <a:lnTo>
                      <a:pt x="734" y="0"/>
                    </a:lnTo>
                    <a:lnTo>
                      <a:pt x="705" y="0"/>
                    </a:lnTo>
                    <a:lnTo>
                      <a:pt x="686" y="20"/>
                    </a:lnTo>
                    <a:lnTo>
                      <a:pt x="695" y="20"/>
                    </a:lnTo>
                    <a:lnTo>
                      <a:pt x="695" y="29"/>
                    </a:lnTo>
                    <a:lnTo>
                      <a:pt x="686" y="39"/>
                    </a:lnTo>
                    <a:lnTo>
                      <a:pt x="686" y="58"/>
                    </a:lnTo>
                    <a:lnTo>
                      <a:pt x="676" y="67"/>
                    </a:lnTo>
                    <a:lnTo>
                      <a:pt x="676" y="77"/>
                    </a:lnTo>
                    <a:lnTo>
                      <a:pt x="648" y="86"/>
                    </a:lnTo>
                    <a:lnTo>
                      <a:pt x="638" y="86"/>
                    </a:lnTo>
                    <a:lnTo>
                      <a:pt x="629" y="105"/>
                    </a:lnTo>
                    <a:lnTo>
                      <a:pt x="629" y="115"/>
                    </a:lnTo>
                    <a:lnTo>
                      <a:pt x="619" y="125"/>
                    </a:lnTo>
                    <a:lnTo>
                      <a:pt x="629" y="125"/>
                    </a:lnTo>
                    <a:lnTo>
                      <a:pt x="638" y="125"/>
                    </a:lnTo>
                    <a:lnTo>
                      <a:pt x="648" y="125"/>
                    </a:lnTo>
                    <a:lnTo>
                      <a:pt x="657" y="115"/>
                    </a:lnTo>
                    <a:lnTo>
                      <a:pt x="676" y="125"/>
                    </a:lnTo>
                    <a:lnTo>
                      <a:pt x="686" y="144"/>
                    </a:lnTo>
                    <a:lnTo>
                      <a:pt x="676" y="144"/>
                    </a:lnTo>
                    <a:lnTo>
                      <a:pt x="667" y="144"/>
                    </a:lnTo>
                    <a:lnTo>
                      <a:pt x="657" y="144"/>
                    </a:lnTo>
                    <a:lnTo>
                      <a:pt x="657" y="153"/>
                    </a:lnTo>
                    <a:lnTo>
                      <a:pt x="648" y="153"/>
                    </a:lnTo>
                    <a:lnTo>
                      <a:pt x="648" y="144"/>
                    </a:lnTo>
                    <a:lnTo>
                      <a:pt x="638" y="153"/>
                    </a:lnTo>
                    <a:lnTo>
                      <a:pt x="629" y="172"/>
                    </a:lnTo>
                    <a:lnTo>
                      <a:pt x="619" y="172"/>
                    </a:lnTo>
                    <a:lnTo>
                      <a:pt x="610" y="163"/>
                    </a:lnTo>
                    <a:lnTo>
                      <a:pt x="591" y="182"/>
                    </a:lnTo>
                    <a:lnTo>
                      <a:pt x="572" y="172"/>
                    </a:lnTo>
                    <a:lnTo>
                      <a:pt x="562" y="191"/>
                    </a:lnTo>
                    <a:lnTo>
                      <a:pt x="572" y="201"/>
                    </a:lnTo>
                    <a:lnTo>
                      <a:pt x="572" y="210"/>
                    </a:lnTo>
                    <a:lnTo>
                      <a:pt x="553" y="210"/>
                    </a:lnTo>
                    <a:lnTo>
                      <a:pt x="543" y="220"/>
                    </a:lnTo>
                    <a:lnTo>
                      <a:pt x="524" y="230"/>
                    </a:lnTo>
                    <a:lnTo>
                      <a:pt x="514" y="230"/>
                    </a:lnTo>
                    <a:lnTo>
                      <a:pt x="495" y="230"/>
                    </a:lnTo>
                    <a:lnTo>
                      <a:pt x="476" y="239"/>
                    </a:lnTo>
                    <a:lnTo>
                      <a:pt x="467" y="239"/>
                    </a:lnTo>
                    <a:lnTo>
                      <a:pt x="448" y="239"/>
                    </a:lnTo>
                    <a:lnTo>
                      <a:pt x="438" y="230"/>
                    </a:lnTo>
                    <a:lnTo>
                      <a:pt x="419" y="220"/>
                    </a:lnTo>
                    <a:lnTo>
                      <a:pt x="390" y="220"/>
                    </a:lnTo>
                    <a:lnTo>
                      <a:pt x="371" y="220"/>
                    </a:lnTo>
                    <a:lnTo>
                      <a:pt x="362" y="220"/>
                    </a:lnTo>
                    <a:lnTo>
                      <a:pt x="362" y="230"/>
                    </a:lnTo>
                    <a:lnTo>
                      <a:pt x="343" y="230"/>
                    </a:lnTo>
                    <a:lnTo>
                      <a:pt x="333" y="210"/>
                    </a:lnTo>
                    <a:lnTo>
                      <a:pt x="333" y="201"/>
                    </a:lnTo>
                    <a:lnTo>
                      <a:pt x="286" y="182"/>
                    </a:lnTo>
                    <a:lnTo>
                      <a:pt x="267" y="172"/>
                    </a:lnTo>
                    <a:lnTo>
                      <a:pt x="257" y="163"/>
                    </a:lnTo>
                    <a:lnTo>
                      <a:pt x="267" y="153"/>
                    </a:lnTo>
                    <a:lnTo>
                      <a:pt x="238" y="125"/>
                    </a:lnTo>
                    <a:lnTo>
                      <a:pt x="228" y="125"/>
                    </a:lnTo>
                    <a:lnTo>
                      <a:pt x="209" y="96"/>
                    </a:lnTo>
                    <a:lnTo>
                      <a:pt x="200" y="96"/>
                    </a:lnTo>
                    <a:lnTo>
                      <a:pt x="171" y="115"/>
                    </a:lnTo>
                    <a:lnTo>
                      <a:pt x="181" y="134"/>
                    </a:lnTo>
                    <a:lnTo>
                      <a:pt x="171" y="144"/>
                    </a:lnTo>
                    <a:lnTo>
                      <a:pt x="162" y="144"/>
                    </a:lnTo>
                    <a:lnTo>
                      <a:pt x="143" y="144"/>
                    </a:lnTo>
                    <a:lnTo>
                      <a:pt x="133" y="163"/>
                    </a:lnTo>
                    <a:lnTo>
                      <a:pt x="133" y="172"/>
                    </a:lnTo>
                    <a:lnTo>
                      <a:pt x="124" y="182"/>
                    </a:lnTo>
                    <a:lnTo>
                      <a:pt x="124" y="172"/>
                    </a:lnTo>
                    <a:lnTo>
                      <a:pt x="95" y="182"/>
                    </a:lnTo>
                    <a:lnTo>
                      <a:pt x="105" y="191"/>
                    </a:lnTo>
                    <a:lnTo>
                      <a:pt x="105" y="201"/>
                    </a:lnTo>
                    <a:lnTo>
                      <a:pt x="105" y="210"/>
                    </a:lnTo>
                    <a:lnTo>
                      <a:pt x="95" y="230"/>
                    </a:lnTo>
                    <a:lnTo>
                      <a:pt x="85" y="239"/>
                    </a:lnTo>
                    <a:lnTo>
                      <a:pt x="66" y="239"/>
                    </a:lnTo>
                    <a:lnTo>
                      <a:pt x="57" y="249"/>
                    </a:lnTo>
                    <a:lnTo>
                      <a:pt x="47" y="249"/>
                    </a:lnTo>
                    <a:lnTo>
                      <a:pt x="47" y="268"/>
                    </a:lnTo>
                    <a:lnTo>
                      <a:pt x="38" y="268"/>
                    </a:lnTo>
                    <a:lnTo>
                      <a:pt x="28" y="258"/>
                    </a:lnTo>
                    <a:lnTo>
                      <a:pt x="9" y="268"/>
                    </a:lnTo>
                    <a:lnTo>
                      <a:pt x="0" y="277"/>
                    </a:lnTo>
                    <a:lnTo>
                      <a:pt x="9" y="296"/>
                    </a:lnTo>
                    <a:lnTo>
                      <a:pt x="19" y="296"/>
                    </a:lnTo>
                    <a:lnTo>
                      <a:pt x="19" y="306"/>
                    </a:lnTo>
                    <a:lnTo>
                      <a:pt x="19" y="315"/>
                    </a:lnTo>
                    <a:lnTo>
                      <a:pt x="19" y="325"/>
                    </a:lnTo>
                    <a:lnTo>
                      <a:pt x="28" y="325"/>
                    </a:lnTo>
                    <a:lnTo>
                      <a:pt x="28" y="334"/>
                    </a:lnTo>
                    <a:lnTo>
                      <a:pt x="38" y="344"/>
                    </a:lnTo>
                    <a:lnTo>
                      <a:pt x="47" y="354"/>
                    </a:lnTo>
                    <a:lnTo>
                      <a:pt x="57" y="363"/>
                    </a:lnTo>
                    <a:lnTo>
                      <a:pt x="66" y="354"/>
                    </a:lnTo>
                    <a:lnTo>
                      <a:pt x="76" y="354"/>
                    </a:lnTo>
                    <a:lnTo>
                      <a:pt x="85" y="354"/>
                    </a:lnTo>
                    <a:lnTo>
                      <a:pt x="85" y="363"/>
                    </a:lnTo>
                    <a:lnTo>
                      <a:pt x="76" y="373"/>
                    </a:lnTo>
                    <a:lnTo>
                      <a:pt x="85" y="382"/>
                    </a:lnTo>
                    <a:lnTo>
                      <a:pt x="85" y="392"/>
                    </a:lnTo>
                    <a:lnTo>
                      <a:pt x="76" y="392"/>
                    </a:lnTo>
                    <a:lnTo>
                      <a:pt x="66" y="401"/>
                    </a:lnTo>
                    <a:lnTo>
                      <a:pt x="76" y="401"/>
                    </a:lnTo>
                    <a:lnTo>
                      <a:pt x="76" y="420"/>
                    </a:lnTo>
                    <a:lnTo>
                      <a:pt x="85" y="420"/>
                    </a:lnTo>
                    <a:lnTo>
                      <a:pt x="95" y="420"/>
                    </a:lnTo>
                    <a:lnTo>
                      <a:pt x="105" y="430"/>
                    </a:lnTo>
                    <a:lnTo>
                      <a:pt x="124" y="430"/>
                    </a:lnTo>
                    <a:lnTo>
                      <a:pt x="143" y="439"/>
                    </a:lnTo>
                    <a:lnTo>
                      <a:pt x="162" y="449"/>
                    </a:lnTo>
                    <a:lnTo>
                      <a:pt x="181" y="459"/>
                    </a:lnTo>
                    <a:lnTo>
                      <a:pt x="209" y="468"/>
                    </a:lnTo>
                    <a:lnTo>
                      <a:pt x="219" y="468"/>
                    </a:lnTo>
                    <a:lnTo>
                      <a:pt x="228" y="468"/>
                    </a:lnTo>
                    <a:lnTo>
                      <a:pt x="238" y="459"/>
                    </a:lnTo>
                    <a:lnTo>
                      <a:pt x="247" y="459"/>
                    </a:lnTo>
                    <a:lnTo>
                      <a:pt x="257" y="468"/>
                    </a:lnTo>
                    <a:lnTo>
                      <a:pt x="267" y="468"/>
                    </a:lnTo>
                    <a:lnTo>
                      <a:pt x="276" y="468"/>
                    </a:lnTo>
                    <a:lnTo>
                      <a:pt x="305" y="449"/>
                    </a:lnTo>
                    <a:lnTo>
                      <a:pt x="333" y="439"/>
                    </a:lnTo>
                    <a:lnTo>
                      <a:pt x="343" y="449"/>
                    </a:lnTo>
                    <a:lnTo>
                      <a:pt x="352" y="459"/>
                    </a:lnTo>
                    <a:lnTo>
                      <a:pt x="362" y="459"/>
                    </a:lnTo>
                    <a:lnTo>
                      <a:pt x="371" y="478"/>
                    </a:lnTo>
                    <a:lnTo>
                      <a:pt x="371" y="497"/>
                    </a:lnTo>
                    <a:lnTo>
                      <a:pt x="362" y="506"/>
                    </a:lnTo>
                    <a:lnTo>
                      <a:pt x="362" y="525"/>
                    </a:lnTo>
                    <a:lnTo>
                      <a:pt x="371" y="525"/>
                    </a:lnTo>
                    <a:lnTo>
                      <a:pt x="381" y="544"/>
                    </a:lnTo>
                    <a:lnTo>
                      <a:pt x="381" y="554"/>
                    </a:lnTo>
                    <a:lnTo>
                      <a:pt x="390" y="554"/>
                    </a:lnTo>
                    <a:lnTo>
                      <a:pt x="400" y="554"/>
                    </a:lnTo>
                    <a:lnTo>
                      <a:pt x="410" y="564"/>
                    </a:lnTo>
                    <a:lnTo>
                      <a:pt x="419" y="573"/>
                    </a:lnTo>
                    <a:lnTo>
                      <a:pt x="419" y="554"/>
                    </a:lnTo>
                    <a:lnTo>
                      <a:pt x="419" y="544"/>
                    </a:lnTo>
                    <a:lnTo>
                      <a:pt x="429" y="544"/>
                    </a:lnTo>
                    <a:lnTo>
                      <a:pt x="438" y="544"/>
                    </a:lnTo>
                    <a:lnTo>
                      <a:pt x="448" y="544"/>
                    </a:lnTo>
                    <a:lnTo>
                      <a:pt x="467" y="544"/>
                    </a:lnTo>
                    <a:lnTo>
                      <a:pt x="467" y="535"/>
                    </a:lnTo>
                    <a:lnTo>
                      <a:pt x="476" y="544"/>
                    </a:lnTo>
                    <a:lnTo>
                      <a:pt x="495" y="544"/>
                    </a:lnTo>
                    <a:lnTo>
                      <a:pt x="495" y="554"/>
                    </a:lnTo>
                    <a:lnTo>
                      <a:pt x="505" y="564"/>
                    </a:lnTo>
                    <a:lnTo>
                      <a:pt x="514" y="564"/>
                    </a:lnTo>
                    <a:lnTo>
                      <a:pt x="533" y="564"/>
                    </a:lnTo>
                    <a:lnTo>
                      <a:pt x="533" y="573"/>
                    </a:lnTo>
                    <a:lnTo>
                      <a:pt x="543" y="583"/>
                    </a:lnTo>
                    <a:lnTo>
                      <a:pt x="543" y="573"/>
                    </a:lnTo>
                    <a:lnTo>
                      <a:pt x="553" y="573"/>
                    </a:lnTo>
                    <a:lnTo>
                      <a:pt x="562" y="564"/>
                    </a:lnTo>
                    <a:lnTo>
                      <a:pt x="572" y="564"/>
                    </a:lnTo>
                    <a:lnTo>
                      <a:pt x="581" y="564"/>
                    </a:lnTo>
                    <a:lnTo>
                      <a:pt x="591" y="554"/>
                    </a:lnTo>
                    <a:lnTo>
                      <a:pt x="591" y="544"/>
                    </a:lnTo>
                    <a:lnTo>
                      <a:pt x="600" y="544"/>
                    </a:lnTo>
                    <a:lnTo>
                      <a:pt x="600" y="554"/>
                    </a:lnTo>
                    <a:lnTo>
                      <a:pt x="610" y="554"/>
                    </a:lnTo>
                    <a:lnTo>
                      <a:pt x="619" y="544"/>
                    </a:lnTo>
                    <a:lnTo>
                      <a:pt x="629" y="544"/>
                    </a:lnTo>
                    <a:lnTo>
                      <a:pt x="638" y="544"/>
                    </a:lnTo>
                    <a:lnTo>
                      <a:pt x="648" y="535"/>
                    </a:lnTo>
                    <a:lnTo>
                      <a:pt x="657" y="525"/>
                    </a:lnTo>
                    <a:lnTo>
                      <a:pt x="657" y="516"/>
                    </a:lnTo>
                    <a:lnTo>
                      <a:pt x="667" y="516"/>
                    </a:lnTo>
                    <a:lnTo>
                      <a:pt x="676" y="516"/>
                    </a:lnTo>
                    <a:lnTo>
                      <a:pt x="676" y="506"/>
                    </a:lnTo>
                    <a:lnTo>
                      <a:pt x="686" y="506"/>
                    </a:lnTo>
                    <a:lnTo>
                      <a:pt x="686" y="487"/>
                    </a:lnTo>
                    <a:lnTo>
                      <a:pt x="695" y="487"/>
                    </a:lnTo>
                    <a:lnTo>
                      <a:pt x="695" y="478"/>
                    </a:lnTo>
                    <a:lnTo>
                      <a:pt x="705" y="468"/>
                    </a:lnTo>
                    <a:lnTo>
                      <a:pt x="705" y="459"/>
                    </a:lnTo>
                    <a:lnTo>
                      <a:pt x="715" y="459"/>
                    </a:lnTo>
                    <a:lnTo>
                      <a:pt x="715" y="449"/>
                    </a:lnTo>
                    <a:lnTo>
                      <a:pt x="715" y="430"/>
                    </a:lnTo>
                    <a:lnTo>
                      <a:pt x="705" y="430"/>
                    </a:lnTo>
                    <a:lnTo>
                      <a:pt x="715" y="420"/>
                    </a:lnTo>
                    <a:lnTo>
                      <a:pt x="715" y="411"/>
                    </a:lnTo>
                    <a:lnTo>
                      <a:pt x="705" y="411"/>
                    </a:lnTo>
                    <a:lnTo>
                      <a:pt x="715" y="411"/>
                    </a:lnTo>
                    <a:lnTo>
                      <a:pt x="715" y="401"/>
                    </a:lnTo>
                    <a:lnTo>
                      <a:pt x="705" y="392"/>
                    </a:lnTo>
                    <a:lnTo>
                      <a:pt x="705" y="382"/>
                    </a:lnTo>
                    <a:lnTo>
                      <a:pt x="695" y="373"/>
                    </a:lnTo>
                    <a:lnTo>
                      <a:pt x="695" y="363"/>
                    </a:lnTo>
                    <a:lnTo>
                      <a:pt x="686" y="363"/>
                    </a:lnTo>
                    <a:lnTo>
                      <a:pt x="676" y="354"/>
                    </a:lnTo>
                    <a:lnTo>
                      <a:pt x="676" y="344"/>
                    </a:lnTo>
                    <a:lnTo>
                      <a:pt x="686" y="344"/>
                    </a:lnTo>
                    <a:lnTo>
                      <a:pt x="695" y="334"/>
                    </a:lnTo>
                    <a:lnTo>
                      <a:pt x="705" y="334"/>
                    </a:lnTo>
                    <a:lnTo>
                      <a:pt x="715" y="334"/>
                    </a:lnTo>
                    <a:lnTo>
                      <a:pt x="715" y="325"/>
                    </a:lnTo>
                    <a:lnTo>
                      <a:pt x="724" y="325"/>
                    </a:lnTo>
                    <a:lnTo>
                      <a:pt x="724" y="315"/>
                    </a:lnTo>
                    <a:lnTo>
                      <a:pt x="705" y="315"/>
                    </a:lnTo>
                    <a:lnTo>
                      <a:pt x="695" y="315"/>
                    </a:lnTo>
                    <a:lnTo>
                      <a:pt x="686" y="315"/>
                    </a:lnTo>
                    <a:lnTo>
                      <a:pt x="676" y="315"/>
                    </a:lnTo>
                    <a:lnTo>
                      <a:pt x="676" y="306"/>
                    </a:lnTo>
                    <a:lnTo>
                      <a:pt x="657" y="306"/>
                    </a:lnTo>
                    <a:lnTo>
                      <a:pt x="657" y="296"/>
                    </a:lnTo>
                    <a:lnTo>
                      <a:pt x="657" y="287"/>
                    </a:lnTo>
                    <a:lnTo>
                      <a:pt x="667" y="287"/>
                    </a:lnTo>
                    <a:lnTo>
                      <a:pt x="676" y="287"/>
                    </a:lnTo>
                    <a:lnTo>
                      <a:pt x="676" y="277"/>
                    </a:lnTo>
                    <a:lnTo>
                      <a:pt x="686" y="268"/>
                    </a:lnTo>
                    <a:lnTo>
                      <a:pt x="695" y="268"/>
                    </a:lnTo>
                    <a:lnTo>
                      <a:pt x="705" y="258"/>
                    </a:lnTo>
                    <a:lnTo>
                      <a:pt x="715" y="258"/>
                    </a:lnTo>
                    <a:lnTo>
                      <a:pt x="715" y="268"/>
                    </a:lnTo>
                    <a:lnTo>
                      <a:pt x="705" y="277"/>
                    </a:lnTo>
                    <a:lnTo>
                      <a:pt x="715" y="287"/>
                    </a:lnTo>
                    <a:lnTo>
                      <a:pt x="724" y="287"/>
                    </a:lnTo>
                    <a:lnTo>
                      <a:pt x="743" y="277"/>
                    </a:lnTo>
                    <a:lnTo>
                      <a:pt x="753" y="27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27" name="Freeform 438">
                <a:extLst>
                  <a:ext uri="{FF2B5EF4-FFF2-40B4-BE49-F238E27FC236}">
                    <a16:creationId xmlns:a16="http://schemas.microsoft.com/office/drawing/2014/main" id="{A2C655F3-83AA-448F-BA08-CBF9CFF432F6}"/>
                  </a:ext>
                </a:extLst>
              </p:cNvPr>
              <p:cNvSpPr>
                <a:spLocks/>
              </p:cNvSpPr>
              <p:nvPr/>
            </p:nvSpPr>
            <p:spPr bwMode="gray">
              <a:xfrm>
                <a:off x="285" y="1555"/>
                <a:ext cx="563" cy="448"/>
              </a:xfrm>
              <a:custGeom>
                <a:avLst/>
                <a:gdLst>
                  <a:gd name="T0" fmla="*/ 362 w 563"/>
                  <a:gd name="T1" fmla="*/ 29 h 448"/>
                  <a:gd name="T2" fmla="*/ 286 w 563"/>
                  <a:gd name="T3" fmla="*/ 19 h 448"/>
                  <a:gd name="T4" fmla="*/ 229 w 563"/>
                  <a:gd name="T5" fmla="*/ 19 h 448"/>
                  <a:gd name="T6" fmla="*/ 200 w 563"/>
                  <a:gd name="T7" fmla="*/ 9 h 448"/>
                  <a:gd name="T8" fmla="*/ 172 w 563"/>
                  <a:gd name="T9" fmla="*/ 0 h 448"/>
                  <a:gd name="T10" fmla="*/ 134 w 563"/>
                  <a:gd name="T11" fmla="*/ 9 h 448"/>
                  <a:gd name="T12" fmla="*/ 77 w 563"/>
                  <a:gd name="T13" fmla="*/ 29 h 448"/>
                  <a:gd name="T14" fmla="*/ 19 w 563"/>
                  <a:gd name="T15" fmla="*/ 67 h 448"/>
                  <a:gd name="T16" fmla="*/ 57 w 563"/>
                  <a:gd name="T17" fmla="*/ 86 h 448"/>
                  <a:gd name="T18" fmla="*/ 86 w 563"/>
                  <a:gd name="T19" fmla="*/ 95 h 448"/>
                  <a:gd name="T20" fmla="*/ 105 w 563"/>
                  <a:gd name="T21" fmla="*/ 105 h 448"/>
                  <a:gd name="T22" fmla="*/ 105 w 563"/>
                  <a:gd name="T23" fmla="*/ 124 h 448"/>
                  <a:gd name="T24" fmla="*/ 57 w 563"/>
                  <a:gd name="T25" fmla="*/ 114 h 448"/>
                  <a:gd name="T26" fmla="*/ 19 w 563"/>
                  <a:gd name="T27" fmla="*/ 124 h 448"/>
                  <a:gd name="T28" fmla="*/ 10 w 563"/>
                  <a:gd name="T29" fmla="*/ 143 h 448"/>
                  <a:gd name="T30" fmla="*/ 29 w 563"/>
                  <a:gd name="T31" fmla="*/ 172 h 448"/>
                  <a:gd name="T32" fmla="*/ 77 w 563"/>
                  <a:gd name="T33" fmla="*/ 162 h 448"/>
                  <a:gd name="T34" fmla="*/ 96 w 563"/>
                  <a:gd name="T35" fmla="*/ 172 h 448"/>
                  <a:gd name="T36" fmla="*/ 86 w 563"/>
                  <a:gd name="T37" fmla="*/ 210 h 448"/>
                  <a:gd name="T38" fmla="*/ 48 w 563"/>
                  <a:gd name="T39" fmla="*/ 239 h 448"/>
                  <a:gd name="T40" fmla="*/ 38 w 563"/>
                  <a:gd name="T41" fmla="*/ 277 h 448"/>
                  <a:gd name="T42" fmla="*/ 57 w 563"/>
                  <a:gd name="T43" fmla="*/ 305 h 448"/>
                  <a:gd name="T44" fmla="*/ 86 w 563"/>
                  <a:gd name="T45" fmla="*/ 305 h 448"/>
                  <a:gd name="T46" fmla="*/ 115 w 563"/>
                  <a:gd name="T47" fmla="*/ 324 h 448"/>
                  <a:gd name="T48" fmla="*/ 134 w 563"/>
                  <a:gd name="T49" fmla="*/ 334 h 448"/>
                  <a:gd name="T50" fmla="*/ 162 w 563"/>
                  <a:gd name="T51" fmla="*/ 334 h 448"/>
                  <a:gd name="T52" fmla="*/ 115 w 563"/>
                  <a:gd name="T53" fmla="*/ 391 h 448"/>
                  <a:gd name="T54" fmla="*/ 86 w 563"/>
                  <a:gd name="T55" fmla="*/ 410 h 448"/>
                  <a:gd name="T56" fmla="*/ 48 w 563"/>
                  <a:gd name="T57" fmla="*/ 429 h 448"/>
                  <a:gd name="T58" fmla="*/ 67 w 563"/>
                  <a:gd name="T59" fmla="*/ 429 h 448"/>
                  <a:gd name="T60" fmla="*/ 96 w 563"/>
                  <a:gd name="T61" fmla="*/ 420 h 448"/>
                  <a:gd name="T62" fmla="*/ 143 w 563"/>
                  <a:gd name="T63" fmla="*/ 401 h 448"/>
                  <a:gd name="T64" fmla="*/ 191 w 563"/>
                  <a:gd name="T65" fmla="*/ 353 h 448"/>
                  <a:gd name="T66" fmla="*/ 200 w 563"/>
                  <a:gd name="T67" fmla="*/ 324 h 448"/>
                  <a:gd name="T68" fmla="*/ 219 w 563"/>
                  <a:gd name="T69" fmla="*/ 296 h 448"/>
                  <a:gd name="T70" fmla="*/ 267 w 563"/>
                  <a:gd name="T71" fmla="*/ 277 h 448"/>
                  <a:gd name="T72" fmla="*/ 239 w 563"/>
                  <a:gd name="T73" fmla="*/ 315 h 448"/>
                  <a:gd name="T74" fmla="*/ 239 w 563"/>
                  <a:gd name="T75" fmla="*/ 324 h 448"/>
                  <a:gd name="T76" fmla="*/ 296 w 563"/>
                  <a:gd name="T77" fmla="*/ 286 h 448"/>
                  <a:gd name="T78" fmla="*/ 296 w 563"/>
                  <a:gd name="T79" fmla="*/ 267 h 448"/>
                  <a:gd name="T80" fmla="*/ 334 w 563"/>
                  <a:gd name="T81" fmla="*/ 286 h 448"/>
                  <a:gd name="T82" fmla="*/ 372 w 563"/>
                  <a:gd name="T83" fmla="*/ 305 h 448"/>
                  <a:gd name="T84" fmla="*/ 420 w 563"/>
                  <a:gd name="T85" fmla="*/ 305 h 448"/>
                  <a:gd name="T86" fmla="*/ 467 w 563"/>
                  <a:gd name="T87" fmla="*/ 343 h 448"/>
                  <a:gd name="T88" fmla="*/ 486 w 563"/>
                  <a:gd name="T89" fmla="*/ 343 h 448"/>
                  <a:gd name="T90" fmla="*/ 515 w 563"/>
                  <a:gd name="T91" fmla="*/ 363 h 448"/>
                  <a:gd name="T92" fmla="*/ 534 w 563"/>
                  <a:gd name="T93" fmla="*/ 401 h 448"/>
                  <a:gd name="T94" fmla="*/ 553 w 563"/>
                  <a:gd name="T95" fmla="*/ 429 h 448"/>
                  <a:gd name="T96" fmla="*/ 563 w 563"/>
                  <a:gd name="T97" fmla="*/ 401 h 448"/>
                  <a:gd name="T98" fmla="*/ 496 w 563"/>
                  <a:gd name="T99" fmla="*/ 315 h 448"/>
                  <a:gd name="T100" fmla="*/ 429 w 563"/>
                  <a:gd name="T101" fmla="*/ 296 h 448"/>
                  <a:gd name="T102" fmla="*/ 401 w 563"/>
                  <a:gd name="T103" fmla="*/ 38 h 4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63"/>
                  <a:gd name="T157" fmla="*/ 0 h 448"/>
                  <a:gd name="T158" fmla="*/ 563 w 563"/>
                  <a:gd name="T159" fmla="*/ 448 h 4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63" h="448">
                    <a:moveTo>
                      <a:pt x="401" y="38"/>
                    </a:moveTo>
                    <a:lnTo>
                      <a:pt x="382" y="29"/>
                    </a:lnTo>
                    <a:lnTo>
                      <a:pt x="372" y="29"/>
                    </a:lnTo>
                    <a:lnTo>
                      <a:pt x="362" y="29"/>
                    </a:lnTo>
                    <a:lnTo>
                      <a:pt x="343" y="29"/>
                    </a:lnTo>
                    <a:lnTo>
                      <a:pt x="324" y="19"/>
                    </a:lnTo>
                    <a:lnTo>
                      <a:pt x="315" y="19"/>
                    </a:lnTo>
                    <a:lnTo>
                      <a:pt x="305" y="19"/>
                    </a:lnTo>
                    <a:lnTo>
                      <a:pt x="286" y="19"/>
                    </a:lnTo>
                    <a:lnTo>
                      <a:pt x="277" y="19"/>
                    </a:lnTo>
                    <a:lnTo>
                      <a:pt x="267" y="9"/>
                    </a:lnTo>
                    <a:lnTo>
                      <a:pt x="248" y="19"/>
                    </a:lnTo>
                    <a:lnTo>
                      <a:pt x="239" y="19"/>
                    </a:lnTo>
                    <a:lnTo>
                      <a:pt x="229" y="19"/>
                    </a:lnTo>
                    <a:lnTo>
                      <a:pt x="239" y="9"/>
                    </a:lnTo>
                    <a:lnTo>
                      <a:pt x="219" y="9"/>
                    </a:lnTo>
                    <a:lnTo>
                      <a:pt x="229" y="9"/>
                    </a:lnTo>
                    <a:lnTo>
                      <a:pt x="219" y="9"/>
                    </a:lnTo>
                    <a:lnTo>
                      <a:pt x="200" y="9"/>
                    </a:lnTo>
                    <a:lnTo>
                      <a:pt x="191" y="0"/>
                    </a:lnTo>
                    <a:lnTo>
                      <a:pt x="181" y="0"/>
                    </a:lnTo>
                    <a:lnTo>
                      <a:pt x="181" y="9"/>
                    </a:lnTo>
                    <a:lnTo>
                      <a:pt x="172" y="0"/>
                    </a:lnTo>
                    <a:lnTo>
                      <a:pt x="181" y="0"/>
                    </a:lnTo>
                    <a:lnTo>
                      <a:pt x="172" y="0"/>
                    </a:lnTo>
                    <a:lnTo>
                      <a:pt x="162" y="0"/>
                    </a:lnTo>
                    <a:lnTo>
                      <a:pt x="143" y="9"/>
                    </a:lnTo>
                    <a:lnTo>
                      <a:pt x="134" y="9"/>
                    </a:lnTo>
                    <a:lnTo>
                      <a:pt x="115" y="9"/>
                    </a:lnTo>
                    <a:lnTo>
                      <a:pt x="96" y="19"/>
                    </a:lnTo>
                    <a:lnTo>
                      <a:pt x="77" y="29"/>
                    </a:lnTo>
                    <a:lnTo>
                      <a:pt x="67" y="48"/>
                    </a:lnTo>
                    <a:lnTo>
                      <a:pt x="57" y="57"/>
                    </a:lnTo>
                    <a:lnTo>
                      <a:pt x="19" y="57"/>
                    </a:lnTo>
                    <a:lnTo>
                      <a:pt x="19" y="67"/>
                    </a:lnTo>
                    <a:lnTo>
                      <a:pt x="29" y="67"/>
                    </a:lnTo>
                    <a:lnTo>
                      <a:pt x="48" y="76"/>
                    </a:lnTo>
                    <a:lnTo>
                      <a:pt x="57" y="86"/>
                    </a:lnTo>
                    <a:lnTo>
                      <a:pt x="57" y="95"/>
                    </a:lnTo>
                    <a:lnTo>
                      <a:pt x="67" y="95"/>
                    </a:lnTo>
                    <a:lnTo>
                      <a:pt x="77" y="95"/>
                    </a:lnTo>
                    <a:lnTo>
                      <a:pt x="86" y="95"/>
                    </a:lnTo>
                    <a:lnTo>
                      <a:pt x="96" y="95"/>
                    </a:lnTo>
                    <a:lnTo>
                      <a:pt x="86" y="105"/>
                    </a:lnTo>
                    <a:lnTo>
                      <a:pt x="96" y="105"/>
                    </a:lnTo>
                    <a:lnTo>
                      <a:pt x="105" y="105"/>
                    </a:lnTo>
                    <a:lnTo>
                      <a:pt x="115" y="105"/>
                    </a:lnTo>
                    <a:lnTo>
                      <a:pt x="124" y="105"/>
                    </a:lnTo>
                    <a:lnTo>
                      <a:pt x="115" y="114"/>
                    </a:lnTo>
                    <a:lnTo>
                      <a:pt x="105" y="114"/>
                    </a:lnTo>
                    <a:lnTo>
                      <a:pt x="105" y="124"/>
                    </a:lnTo>
                    <a:lnTo>
                      <a:pt x="96" y="124"/>
                    </a:lnTo>
                    <a:lnTo>
                      <a:pt x="86" y="124"/>
                    </a:lnTo>
                    <a:lnTo>
                      <a:pt x="77" y="124"/>
                    </a:lnTo>
                    <a:lnTo>
                      <a:pt x="57" y="124"/>
                    </a:lnTo>
                    <a:lnTo>
                      <a:pt x="57" y="114"/>
                    </a:lnTo>
                    <a:lnTo>
                      <a:pt x="48" y="114"/>
                    </a:lnTo>
                    <a:lnTo>
                      <a:pt x="29" y="114"/>
                    </a:lnTo>
                    <a:lnTo>
                      <a:pt x="29" y="124"/>
                    </a:lnTo>
                    <a:lnTo>
                      <a:pt x="19" y="124"/>
                    </a:lnTo>
                    <a:lnTo>
                      <a:pt x="19" y="134"/>
                    </a:lnTo>
                    <a:lnTo>
                      <a:pt x="10" y="134"/>
                    </a:lnTo>
                    <a:lnTo>
                      <a:pt x="0" y="143"/>
                    </a:lnTo>
                    <a:lnTo>
                      <a:pt x="10" y="143"/>
                    </a:lnTo>
                    <a:lnTo>
                      <a:pt x="19" y="153"/>
                    </a:lnTo>
                    <a:lnTo>
                      <a:pt x="29" y="153"/>
                    </a:lnTo>
                    <a:lnTo>
                      <a:pt x="19" y="153"/>
                    </a:lnTo>
                    <a:lnTo>
                      <a:pt x="10" y="153"/>
                    </a:lnTo>
                    <a:lnTo>
                      <a:pt x="29" y="172"/>
                    </a:lnTo>
                    <a:lnTo>
                      <a:pt x="38" y="172"/>
                    </a:lnTo>
                    <a:lnTo>
                      <a:pt x="48" y="172"/>
                    </a:lnTo>
                    <a:lnTo>
                      <a:pt x="57" y="172"/>
                    </a:lnTo>
                    <a:lnTo>
                      <a:pt x="77" y="172"/>
                    </a:lnTo>
                    <a:lnTo>
                      <a:pt x="77" y="162"/>
                    </a:lnTo>
                    <a:lnTo>
                      <a:pt x="86" y="162"/>
                    </a:lnTo>
                    <a:lnTo>
                      <a:pt x="96" y="162"/>
                    </a:lnTo>
                    <a:lnTo>
                      <a:pt x="105" y="162"/>
                    </a:lnTo>
                    <a:lnTo>
                      <a:pt x="105" y="172"/>
                    </a:lnTo>
                    <a:lnTo>
                      <a:pt x="96" y="172"/>
                    </a:lnTo>
                    <a:lnTo>
                      <a:pt x="105" y="181"/>
                    </a:lnTo>
                    <a:lnTo>
                      <a:pt x="105" y="191"/>
                    </a:lnTo>
                    <a:lnTo>
                      <a:pt x="96" y="210"/>
                    </a:lnTo>
                    <a:lnTo>
                      <a:pt x="86" y="210"/>
                    </a:lnTo>
                    <a:lnTo>
                      <a:pt x="77" y="210"/>
                    </a:lnTo>
                    <a:lnTo>
                      <a:pt x="57" y="219"/>
                    </a:lnTo>
                    <a:lnTo>
                      <a:pt x="57" y="210"/>
                    </a:lnTo>
                    <a:lnTo>
                      <a:pt x="48" y="219"/>
                    </a:lnTo>
                    <a:lnTo>
                      <a:pt x="48" y="239"/>
                    </a:lnTo>
                    <a:lnTo>
                      <a:pt x="38" y="239"/>
                    </a:lnTo>
                    <a:lnTo>
                      <a:pt x="29" y="258"/>
                    </a:lnTo>
                    <a:lnTo>
                      <a:pt x="29" y="267"/>
                    </a:lnTo>
                    <a:lnTo>
                      <a:pt x="38" y="277"/>
                    </a:lnTo>
                    <a:lnTo>
                      <a:pt x="48" y="277"/>
                    </a:lnTo>
                    <a:lnTo>
                      <a:pt x="38" y="286"/>
                    </a:lnTo>
                    <a:lnTo>
                      <a:pt x="57" y="305"/>
                    </a:lnTo>
                    <a:lnTo>
                      <a:pt x="67" y="305"/>
                    </a:lnTo>
                    <a:lnTo>
                      <a:pt x="77" y="305"/>
                    </a:lnTo>
                    <a:lnTo>
                      <a:pt x="77" y="296"/>
                    </a:lnTo>
                    <a:lnTo>
                      <a:pt x="86" y="296"/>
                    </a:lnTo>
                    <a:lnTo>
                      <a:pt x="86" y="305"/>
                    </a:lnTo>
                    <a:lnTo>
                      <a:pt x="86" y="315"/>
                    </a:lnTo>
                    <a:lnTo>
                      <a:pt x="86" y="324"/>
                    </a:lnTo>
                    <a:lnTo>
                      <a:pt x="86" y="343"/>
                    </a:lnTo>
                    <a:lnTo>
                      <a:pt x="96" y="334"/>
                    </a:lnTo>
                    <a:lnTo>
                      <a:pt x="115" y="324"/>
                    </a:lnTo>
                    <a:lnTo>
                      <a:pt x="115" y="334"/>
                    </a:lnTo>
                    <a:lnTo>
                      <a:pt x="124" y="334"/>
                    </a:lnTo>
                    <a:lnTo>
                      <a:pt x="124" y="343"/>
                    </a:lnTo>
                    <a:lnTo>
                      <a:pt x="134" y="343"/>
                    </a:lnTo>
                    <a:lnTo>
                      <a:pt x="134" y="334"/>
                    </a:lnTo>
                    <a:lnTo>
                      <a:pt x="143" y="334"/>
                    </a:lnTo>
                    <a:lnTo>
                      <a:pt x="153" y="334"/>
                    </a:lnTo>
                    <a:lnTo>
                      <a:pt x="162" y="334"/>
                    </a:lnTo>
                    <a:lnTo>
                      <a:pt x="153" y="353"/>
                    </a:lnTo>
                    <a:lnTo>
                      <a:pt x="153" y="372"/>
                    </a:lnTo>
                    <a:lnTo>
                      <a:pt x="143" y="372"/>
                    </a:lnTo>
                    <a:lnTo>
                      <a:pt x="134" y="382"/>
                    </a:lnTo>
                    <a:lnTo>
                      <a:pt x="115" y="391"/>
                    </a:lnTo>
                    <a:lnTo>
                      <a:pt x="115" y="401"/>
                    </a:lnTo>
                    <a:lnTo>
                      <a:pt x="115" y="410"/>
                    </a:lnTo>
                    <a:lnTo>
                      <a:pt x="105" y="410"/>
                    </a:lnTo>
                    <a:lnTo>
                      <a:pt x="96" y="401"/>
                    </a:lnTo>
                    <a:lnTo>
                      <a:pt x="86" y="410"/>
                    </a:lnTo>
                    <a:lnTo>
                      <a:pt x="77" y="420"/>
                    </a:lnTo>
                    <a:lnTo>
                      <a:pt x="77" y="429"/>
                    </a:lnTo>
                    <a:lnTo>
                      <a:pt x="67" y="429"/>
                    </a:lnTo>
                    <a:lnTo>
                      <a:pt x="57" y="429"/>
                    </a:lnTo>
                    <a:lnTo>
                      <a:pt x="48" y="429"/>
                    </a:lnTo>
                    <a:lnTo>
                      <a:pt x="48" y="439"/>
                    </a:lnTo>
                    <a:lnTo>
                      <a:pt x="48" y="448"/>
                    </a:lnTo>
                    <a:lnTo>
                      <a:pt x="57" y="439"/>
                    </a:lnTo>
                    <a:lnTo>
                      <a:pt x="67" y="439"/>
                    </a:lnTo>
                    <a:lnTo>
                      <a:pt x="67" y="429"/>
                    </a:lnTo>
                    <a:lnTo>
                      <a:pt x="77" y="429"/>
                    </a:lnTo>
                    <a:lnTo>
                      <a:pt x="86" y="420"/>
                    </a:lnTo>
                    <a:lnTo>
                      <a:pt x="86" y="410"/>
                    </a:lnTo>
                    <a:lnTo>
                      <a:pt x="96" y="420"/>
                    </a:lnTo>
                    <a:lnTo>
                      <a:pt x="105" y="420"/>
                    </a:lnTo>
                    <a:lnTo>
                      <a:pt x="124" y="410"/>
                    </a:lnTo>
                    <a:lnTo>
                      <a:pt x="134" y="401"/>
                    </a:lnTo>
                    <a:lnTo>
                      <a:pt x="143" y="401"/>
                    </a:lnTo>
                    <a:lnTo>
                      <a:pt x="162" y="382"/>
                    </a:lnTo>
                    <a:lnTo>
                      <a:pt x="172" y="382"/>
                    </a:lnTo>
                    <a:lnTo>
                      <a:pt x="172" y="372"/>
                    </a:lnTo>
                    <a:lnTo>
                      <a:pt x="181" y="363"/>
                    </a:lnTo>
                    <a:lnTo>
                      <a:pt x="191" y="353"/>
                    </a:lnTo>
                    <a:lnTo>
                      <a:pt x="200" y="353"/>
                    </a:lnTo>
                    <a:lnTo>
                      <a:pt x="200" y="343"/>
                    </a:lnTo>
                    <a:lnTo>
                      <a:pt x="210" y="334"/>
                    </a:lnTo>
                    <a:lnTo>
                      <a:pt x="210" y="324"/>
                    </a:lnTo>
                    <a:lnTo>
                      <a:pt x="200" y="324"/>
                    </a:lnTo>
                    <a:lnTo>
                      <a:pt x="210" y="315"/>
                    </a:lnTo>
                    <a:lnTo>
                      <a:pt x="219" y="315"/>
                    </a:lnTo>
                    <a:lnTo>
                      <a:pt x="229" y="305"/>
                    </a:lnTo>
                    <a:lnTo>
                      <a:pt x="219" y="296"/>
                    </a:lnTo>
                    <a:lnTo>
                      <a:pt x="248" y="267"/>
                    </a:lnTo>
                    <a:lnTo>
                      <a:pt x="258" y="267"/>
                    </a:lnTo>
                    <a:lnTo>
                      <a:pt x="267" y="258"/>
                    </a:lnTo>
                    <a:lnTo>
                      <a:pt x="277" y="258"/>
                    </a:lnTo>
                    <a:lnTo>
                      <a:pt x="267" y="277"/>
                    </a:lnTo>
                    <a:lnTo>
                      <a:pt x="258" y="277"/>
                    </a:lnTo>
                    <a:lnTo>
                      <a:pt x="248" y="286"/>
                    </a:lnTo>
                    <a:lnTo>
                      <a:pt x="239" y="305"/>
                    </a:lnTo>
                    <a:lnTo>
                      <a:pt x="239" y="315"/>
                    </a:lnTo>
                    <a:lnTo>
                      <a:pt x="239" y="305"/>
                    </a:lnTo>
                    <a:lnTo>
                      <a:pt x="248" y="315"/>
                    </a:lnTo>
                    <a:lnTo>
                      <a:pt x="239" y="315"/>
                    </a:lnTo>
                    <a:lnTo>
                      <a:pt x="239" y="324"/>
                    </a:lnTo>
                    <a:lnTo>
                      <a:pt x="248" y="324"/>
                    </a:lnTo>
                    <a:lnTo>
                      <a:pt x="267" y="315"/>
                    </a:lnTo>
                    <a:lnTo>
                      <a:pt x="267" y="305"/>
                    </a:lnTo>
                    <a:lnTo>
                      <a:pt x="286" y="305"/>
                    </a:lnTo>
                    <a:lnTo>
                      <a:pt x="296" y="286"/>
                    </a:lnTo>
                    <a:lnTo>
                      <a:pt x="286" y="286"/>
                    </a:lnTo>
                    <a:lnTo>
                      <a:pt x="296" y="286"/>
                    </a:lnTo>
                    <a:lnTo>
                      <a:pt x="286" y="277"/>
                    </a:lnTo>
                    <a:lnTo>
                      <a:pt x="296" y="267"/>
                    </a:lnTo>
                    <a:lnTo>
                      <a:pt x="296" y="277"/>
                    </a:lnTo>
                    <a:lnTo>
                      <a:pt x="305" y="277"/>
                    </a:lnTo>
                    <a:lnTo>
                      <a:pt x="315" y="277"/>
                    </a:lnTo>
                    <a:lnTo>
                      <a:pt x="334" y="286"/>
                    </a:lnTo>
                    <a:lnTo>
                      <a:pt x="343" y="286"/>
                    </a:lnTo>
                    <a:lnTo>
                      <a:pt x="343" y="296"/>
                    </a:lnTo>
                    <a:lnTo>
                      <a:pt x="362" y="296"/>
                    </a:lnTo>
                    <a:lnTo>
                      <a:pt x="372" y="305"/>
                    </a:lnTo>
                    <a:lnTo>
                      <a:pt x="382" y="305"/>
                    </a:lnTo>
                    <a:lnTo>
                      <a:pt x="391" y="305"/>
                    </a:lnTo>
                    <a:lnTo>
                      <a:pt x="401" y="305"/>
                    </a:lnTo>
                    <a:lnTo>
                      <a:pt x="410" y="305"/>
                    </a:lnTo>
                    <a:lnTo>
                      <a:pt x="420" y="305"/>
                    </a:lnTo>
                    <a:lnTo>
                      <a:pt x="420" y="315"/>
                    </a:lnTo>
                    <a:lnTo>
                      <a:pt x="439" y="324"/>
                    </a:lnTo>
                    <a:lnTo>
                      <a:pt x="448" y="334"/>
                    </a:lnTo>
                    <a:lnTo>
                      <a:pt x="458" y="343"/>
                    </a:lnTo>
                    <a:lnTo>
                      <a:pt x="467" y="343"/>
                    </a:lnTo>
                    <a:lnTo>
                      <a:pt x="467" y="334"/>
                    </a:lnTo>
                    <a:lnTo>
                      <a:pt x="477" y="334"/>
                    </a:lnTo>
                    <a:lnTo>
                      <a:pt x="477" y="343"/>
                    </a:lnTo>
                    <a:lnTo>
                      <a:pt x="486" y="343"/>
                    </a:lnTo>
                    <a:lnTo>
                      <a:pt x="486" y="324"/>
                    </a:lnTo>
                    <a:lnTo>
                      <a:pt x="486" y="334"/>
                    </a:lnTo>
                    <a:lnTo>
                      <a:pt x="496" y="343"/>
                    </a:lnTo>
                    <a:lnTo>
                      <a:pt x="505" y="343"/>
                    </a:lnTo>
                    <a:lnTo>
                      <a:pt x="515" y="363"/>
                    </a:lnTo>
                    <a:lnTo>
                      <a:pt x="515" y="372"/>
                    </a:lnTo>
                    <a:lnTo>
                      <a:pt x="525" y="382"/>
                    </a:lnTo>
                    <a:lnTo>
                      <a:pt x="525" y="401"/>
                    </a:lnTo>
                    <a:lnTo>
                      <a:pt x="534" y="401"/>
                    </a:lnTo>
                    <a:lnTo>
                      <a:pt x="534" y="410"/>
                    </a:lnTo>
                    <a:lnTo>
                      <a:pt x="534" y="420"/>
                    </a:lnTo>
                    <a:lnTo>
                      <a:pt x="544" y="420"/>
                    </a:lnTo>
                    <a:lnTo>
                      <a:pt x="553" y="429"/>
                    </a:lnTo>
                    <a:lnTo>
                      <a:pt x="563" y="429"/>
                    </a:lnTo>
                    <a:lnTo>
                      <a:pt x="563" y="410"/>
                    </a:lnTo>
                    <a:lnTo>
                      <a:pt x="563" y="401"/>
                    </a:lnTo>
                    <a:lnTo>
                      <a:pt x="544" y="391"/>
                    </a:lnTo>
                    <a:lnTo>
                      <a:pt x="534" y="382"/>
                    </a:lnTo>
                    <a:lnTo>
                      <a:pt x="515" y="343"/>
                    </a:lnTo>
                    <a:lnTo>
                      <a:pt x="505" y="334"/>
                    </a:lnTo>
                    <a:lnTo>
                      <a:pt x="496" y="315"/>
                    </a:lnTo>
                    <a:lnTo>
                      <a:pt x="486" y="305"/>
                    </a:lnTo>
                    <a:lnTo>
                      <a:pt x="467" y="315"/>
                    </a:lnTo>
                    <a:lnTo>
                      <a:pt x="458" y="324"/>
                    </a:lnTo>
                    <a:lnTo>
                      <a:pt x="429" y="296"/>
                    </a:lnTo>
                    <a:lnTo>
                      <a:pt x="429" y="286"/>
                    </a:lnTo>
                    <a:lnTo>
                      <a:pt x="420" y="286"/>
                    </a:lnTo>
                    <a:lnTo>
                      <a:pt x="420" y="296"/>
                    </a:lnTo>
                    <a:lnTo>
                      <a:pt x="401" y="286"/>
                    </a:lnTo>
                    <a:lnTo>
                      <a:pt x="401"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28" name="Freeform 439">
                <a:extLst>
                  <a:ext uri="{FF2B5EF4-FFF2-40B4-BE49-F238E27FC236}">
                    <a16:creationId xmlns:a16="http://schemas.microsoft.com/office/drawing/2014/main" id="{6524E50B-6417-48F5-B95A-DB373E571A3B}"/>
                  </a:ext>
                </a:extLst>
              </p:cNvPr>
              <p:cNvSpPr>
                <a:spLocks/>
              </p:cNvSpPr>
              <p:nvPr/>
            </p:nvSpPr>
            <p:spPr bwMode="gray">
              <a:xfrm>
                <a:off x="924" y="2118"/>
                <a:ext cx="848" cy="410"/>
              </a:xfrm>
              <a:custGeom>
                <a:avLst/>
                <a:gdLst>
                  <a:gd name="T0" fmla="*/ 171 w 848"/>
                  <a:gd name="T1" fmla="*/ 296 h 410"/>
                  <a:gd name="T2" fmla="*/ 248 w 848"/>
                  <a:gd name="T3" fmla="*/ 305 h 410"/>
                  <a:gd name="T4" fmla="*/ 295 w 848"/>
                  <a:gd name="T5" fmla="*/ 315 h 410"/>
                  <a:gd name="T6" fmla="*/ 314 w 848"/>
                  <a:gd name="T7" fmla="*/ 344 h 410"/>
                  <a:gd name="T8" fmla="*/ 334 w 848"/>
                  <a:gd name="T9" fmla="*/ 324 h 410"/>
                  <a:gd name="T10" fmla="*/ 391 w 848"/>
                  <a:gd name="T11" fmla="*/ 391 h 410"/>
                  <a:gd name="T12" fmla="*/ 410 w 848"/>
                  <a:gd name="T13" fmla="*/ 372 h 410"/>
                  <a:gd name="T14" fmla="*/ 448 w 848"/>
                  <a:gd name="T15" fmla="*/ 344 h 410"/>
                  <a:gd name="T16" fmla="*/ 496 w 848"/>
                  <a:gd name="T17" fmla="*/ 334 h 410"/>
                  <a:gd name="T18" fmla="*/ 534 w 848"/>
                  <a:gd name="T19" fmla="*/ 344 h 410"/>
                  <a:gd name="T20" fmla="*/ 534 w 848"/>
                  <a:gd name="T21" fmla="*/ 324 h 410"/>
                  <a:gd name="T22" fmla="*/ 572 w 848"/>
                  <a:gd name="T23" fmla="*/ 324 h 410"/>
                  <a:gd name="T24" fmla="*/ 600 w 848"/>
                  <a:gd name="T25" fmla="*/ 334 h 410"/>
                  <a:gd name="T26" fmla="*/ 629 w 848"/>
                  <a:gd name="T27" fmla="*/ 353 h 410"/>
                  <a:gd name="T28" fmla="*/ 629 w 848"/>
                  <a:gd name="T29" fmla="*/ 372 h 410"/>
                  <a:gd name="T30" fmla="*/ 648 w 848"/>
                  <a:gd name="T31" fmla="*/ 410 h 410"/>
                  <a:gd name="T32" fmla="*/ 648 w 848"/>
                  <a:gd name="T33" fmla="*/ 344 h 410"/>
                  <a:gd name="T34" fmla="*/ 648 w 848"/>
                  <a:gd name="T35" fmla="*/ 296 h 410"/>
                  <a:gd name="T36" fmla="*/ 696 w 848"/>
                  <a:gd name="T37" fmla="*/ 258 h 410"/>
                  <a:gd name="T38" fmla="*/ 715 w 848"/>
                  <a:gd name="T39" fmla="*/ 239 h 410"/>
                  <a:gd name="T40" fmla="*/ 715 w 848"/>
                  <a:gd name="T41" fmla="*/ 219 h 410"/>
                  <a:gd name="T42" fmla="*/ 715 w 848"/>
                  <a:gd name="T43" fmla="*/ 172 h 410"/>
                  <a:gd name="T44" fmla="*/ 724 w 848"/>
                  <a:gd name="T45" fmla="*/ 210 h 410"/>
                  <a:gd name="T46" fmla="*/ 724 w 848"/>
                  <a:gd name="T47" fmla="*/ 181 h 410"/>
                  <a:gd name="T48" fmla="*/ 753 w 848"/>
                  <a:gd name="T49" fmla="*/ 162 h 410"/>
                  <a:gd name="T50" fmla="*/ 753 w 848"/>
                  <a:gd name="T51" fmla="*/ 143 h 410"/>
                  <a:gd name="T52" fmla="*/ 782 w 848"/>
                  <a:gd name="T53" fmla="*/ 134 h 410"/>
                  <a:gd name="T54" fmla="*/ 791 w 848"/>
                  <a:gd name="T55" fmla="*/ 134 h 410"/>
                  <a:gd name="T56" fmla="*/ 801 w 848"/>
                  <a:gd name="T57" fmla="*/ 105 h 410"/>
                  <a:gd name="T58" fmla="*/ 820 w 848"/>
                  <a:gd name="T59" fmla="*/ 95 h 410"/>
                  <a:gd name="T60" fmla="*/ 829 w 848"/>
                  <a:gd name="T61" fmla="*/ 86 h 410"/>
                  <a:gd name="T62" fmla="*/ 839 w 848"/>
                  <a:gd name="T63" fmla="*/ 38 h 410"/>
                  <a:gd name="T64" fmla="*/ 762 w 848"/>
                  <a:gd name="T65" fmla="*/ 67 h 410"/>
                  <a:gd name="T66" fmla="*/ 715 w 848"/>
                  <a:gd name="T67" fmla="*/ 86 h 410"/>
                  <a:gd name="T68" fmla="*/ 619 w 848"/>
                  <a:gd name="T69" fmla="*/ 124 h 410"/>
                  <a:gd name="T70" fmla="*/ 591 w 848"/>
                  <a:gd name="T71" fmla="*/ 38 h 410"/>
                  <a:gd name="T72" fmla="*/ 486 w 848"/>
                  <a:gd name="T73" fmla="*/ 10 h 410"/>
                  <a:gd name="T74" fmla="*/ 38 w 848"/>
                  <a:gd name="T75" fmla="*/ 0 h 410"/>
                  <a:gd name="T76" fmla="*/ 38 w 848"/>
                  <a:gd name="T77" fmla="*/ 29 h 410"/>
                  <a:gd name="T78" fmla="*/ 9 w 848"/>
                  <a:gd name="T79" fmla="*/ 10 h 410"/>
                  <a:gd name="T80" fmla="*/ 19 w 848"/>
                  <a:gd name="T81" fmla="*/ 48 h 410"/>
                  <a:gd name="T82" fmla="*/ 9 w 848"/>
                  <a:gd name="T83" fmla="*/ 124 h 410"/>
                  <a:gd name="T84" fmla="*/ 19 w 848"/>
                  <a:gd name="T85" fmla="*/ 172 h 410"/>
                  <a:gd name="T86" fmla="*/ 38 w 848"/>
                  <a:gd name="T87" fmla="*/ 200 h 410"/>
                  <a:gd name="T88" fmla="*/ 48 w 848"/>
                  <a:gd name="T89" fmla="*/ 219 h 410"/>
                  <a:gd name="T90" fmla="*/ 67 w 848"/>
                  <a:gd name="T91" fmla="*/ 258 h 410"/>
                  <a:gd name="T92" fmla="*/ 95 w 848"/>
                  <a:gd name="T93" fmla="*/ 267 h 410"/>
                  <a:gd name="T94" fmla="*/ 114 w 848"/>
                  <a:gd name="T95" fmla="*/ 286 h 41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48"/>
                  <a:gd name="T145" fmla="*/ 0 h 410"/>
                  <a:gd name="T146" fmla="*/ 848 w 848"/>
                  <a:gd name="T147" fmla="*/ 410 h 41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48" h="410">
                    <a:moveTo>
                      <a:pt x="114" y="286"/>
                    </a:moveTo>
                    <a:lnTo>
                      <a:pt x="124" y="286"/>
                    </a:lnTo>
                    <a:lnTo>
                      <a:pt x="152" y="286"/>
                    </a:lnTo>
                    <a:lnTo>
                      <a:pt x="171" y="296"/>
                    </a:lnTo>
                    <a:lnTo>
                      <a:pt x="191" y="305"/>
                    </a:lnTo>
                    <a:lnTo>
                      <a:pt x="200" y="305"/>
                    </a:lnTo>
                    <a:lnTo>
                      <a:pt x="229" y="315"/>
                    </a:lnTo>
                    <a:lnTo>
                      <a:pt x="248" y="305"/>
                    </a:lnTo>
                    <a:lnTo>
                      <a:pt x="248" y="296"/>
                    </a:lnTo>
                    <a:lnTo>
                      <a:pt x="267" y="296"/>
                    </a:lnTo>
                    <a:lnTo>
                      <a:pt x="276" y="305"/>
                    </a:lnTo>
                    <a:lnTo>
                      <a:pt x="295" y="315"/>
                    </a:lnTo>
                    <a:lnTo>
                      <a:pt x="305" y="315"/>
                    </a:lnTo>
                    <a:lnTo>
                      <a:pt x="305" y="334"/>
                    </a:lnTo>
                    <a:lnTo>
                      <a:pt x="314" y="344"/>
                    </a:lnTo>
                    <a:lnTo>
                      <a:pt x="324" y="344"/>
                    </a:lnTo>
                    <a:lnTo>
                      <a:pt x="324" y="334"/>
                    </a:lnTo>
                    <a:lnTo>
                      <a:pt x="334" y="324"/>
                    </a:lnTo>
                    <a:lnTo>
                      <a:pt x="353" y="344"/>
                    </a:lnTo>
                    <a:lnTo>
                      <a:pt x="372" y="372"/>
                    </a:lnTo>
                    <a:lnTo>
                      <a:pt x="381" y="382"/>
                    </a:lnTo>
                    <a:lnTo>
                      <a:pt x="391" y="391"/>
                    </a:lnTo>
                    <a:lnTo>
                      <a:pt x="410" y="391"/>
                    </a:lnTo>
                    <a:lnTo>
                      <a:pt x="410" y="382"/>
                    </a:lnTo>
                    <a:lnTo>
                      <a:pt x="410" y="372"/>
                    </a:lnTo>
                    <a:lnTo>
                      <a:pt x="410" y="363"/>
                    </a:lnTo>
                    <a:lnTo>
                      <a:pt x="429" y="344"/>
                    </a:lnTo>
                    <a:lnTo>
                      <a:pt x="448" y="344"/>
                    </a:lnTo>
                    <a:lnTo>
                      <a:pt x="457" y="334"/>
                    </a:lnTo>
                    <a:lnTo>
                      <a:pt x="467" y="334"/>
                    </a:lnTo>
                    <a:lnTo>
                      <a:pt x="486" y="334"/>
                    </a:lnTo>
                    <a:lnTo>
                      <a:pt x="496" y="334"/>
                    </a:lnTo>
                    <a:lnTo>
                      <a:pt x="505" y="344"/>
                    </a:lnTo>
                    <a:lnTo>
                      <a:pt x="515" y="344"/>
                    </a:lnTo>
                    <a:lnTo>
                      <a:pt x="524" y="344"/>
                    </a:lnTo>
                    <a:lnTo>
                      <a:pt x="534" y="344"/>
                    </a:lnTo>
                    <a:lnTo>
                      <a:pt x="524" y="334"/>
                    </a:lnTo>
                    <a:lnTo>
                      <a:pt x="524" y="324"/>
                    </a:lnTo>
                    <a:lnTo>
                      <a:pt x="534" y="324"/>
                    </a:lnTo>
                    <a:lnTo>
                      <a:pt x="553" y="324"/>
                    </a:lnTo>
                    <a:lnTo>
                      <a:pt x="562" y="324"/>
                    </a:lnTo>
                    <a:lnTo>
                      <a:pt x="572" y="324"/>
                    </a:lnTo>
                    <a:lnTo>
                      <a:pt x="581" y="324"/>
                    </a:lnTo>
                    <a:lnTo>
                      <a:pt x="591" y="334"/>
                    </a:lnTo>
                    <a:lnTo>
                      <a:pt x="600" y="334"/>
                    </a:lnTo>
                    <a:lnTo>
                      <a:pt x="600" y="324"/>
                    </a:lnTo>
                    <a:lnTo>
                      <a:pt x="610" y="334"/>
                    </a:lnTo>
                    <a:lnTo>
                      <a:pt x="619" y="344"/>
                    </a:lnTo>
                    <a:lnTo>
                      <a:pt x="629" y="353"/>
                    </a:lnTo>
                    <a:lnTo>
                      <a:pt x="619" y="353"/>
                    </a:lnTo>
                    <a:lnTo>
                      <a:pt x="619" y="372"/>
                    </a:lnTo>
                    <a:lnTo>
                      <a:pt x="629" y="372"/>
                    </a:lnTo>
                    <a:lnTo>
                      <a:pt x="629" y="382"/>
                    </a:lnTo>
                    <a:lnTo>
                      <a:pt x="639" y="391"/>
                    </a:lnTo>
                    <a:lnTo>
                      <a:pt x="648" y="401"/>
                    </a:lnTo>
                    <a:lnTo>
                      <a:pt x="648" y="410"/>
                    </a:lnTo>
                    <a:lnTo>
                      <a:pt x="658" y="401"/>
                    </a:lnTo>
                    <a:lnTo>
                      <a:pt x="658" y="382"/>
                    </a:lnTo>
                    <a:lnTo>
                      <a:pt x="658" y="363"/>
                    </a:lnTo>
                    <a:lnTo>
                      <a:pt x="648" y="344"/>
                    </a:lnTo>
                    <a:lnTo>
                      <a:pt x="639" y="324"/>
                    </a:lnTo>
                    <a:lnTo>
                      <a:pt x="639" y="315"/>
                    </a:lnTo>
                    <a:lnTo>
                      <a:pt x="648" y="296"/>
                    </a:lnTo>
                    <a:lnTo>
                      <a:pt x="658" y="296"/>
                    </a:lnTo>
                    <a:lnTo>
                      <a:pt x="677" y="267"/>
                    </a:lnTo>
                    <a:lnTo>
                      <a:pt x="696" y="267"/>
                    </a:lnTo>
                    <a:lnTo>
                      <a:pt x="696" y="258"/>
                    </a:lnTo>
                    <a:lnTo>
                      <a:pt x="705" y="258"/>
                    </a:lnTo>
                    <a:lnTo>
                      <a:pt x="705" y="248"/>
                    </a:lnTo>
                    <a:lnTo>
                      <a:pt x="715" y="239"/>
                    </a:lnTo>
                    <a:lnTo>
                      <a:pt x="715" y="229"/>
                    </a:lnTo>
                    <a:lnTo>
                      <a:pt x="715" y="219"/>
                    </a:lnTo>
                    <a:lnTo>
                      <a:pt x="715" y="200"/>
                    </a:lnTo>
                    <a:lnTo>
                      <a:pt x="705" y="181"/>
                    </a:lnTo>
                    <a:lnTo>
                      <a:pt x="705" y="172"/>
                    </a:lnTo>
                    <a:lnTo>
                      <a:pt x="715" y="172"/>
                    </a:lnTo>
                    <a:lnTo>
                      <a:pt x="715" y="181"/>
                    </a:lnTo>
                    <a:lnTo>
                      <a:pt x="715" y="200"/>
                    </a:lnTo>
                    <a:lnTo>
                      <a:pt x="724" y="210"/>
                    </a:lnTo>
                    <a:lnTo>
                      <a:pt x="734" y="200"/>
                    </a:lnTo>
                    <a:lnTo>
                      <a:pt x="734" y="191"/>
                    </a:lnTo>
                    <a:lnTo>
                      <a:pt x="724" y="181"/>
                    </a:lnTo>
                    <a:lnTo>
                      <a:pt x="734" y="181"/>
                    </a:lnTo>
                    <a:lnTo>
                      <a:pt x="743" y="172"/>
                    </a:lnTo>
                    <a:lnTo>
                      <a:pt x="753" y="162"/>
                    </a:lnTo>
                    <a:lnTo>
                      <a:pt x="753" y="153"/>
                    </a:lnTo>
                    <a:lnTo>
                      <a:pt x="743" y="153"/>
                    </a:lnTo>
                    <a:lnTo>
                      <a:pt x="753" y="153"/>
                    </a:lnTo>
                    <a:lnTo>
                      <a:pt x="753" y="143"/>
                    </a:lnTo>
                    <a:lnTo>
                      <a:pt x="762" y="143"/>
                    </a:lnTo>
                    <a:lnTo>
                      <a:pt x="772" y="143"/>
                    </a:lnTo>
                    <a:lnTo>
                      <a:pt x="782" y="134"/>
                    </a:lnTo>
                    <a:lnTo>
                      <a:pt x="791" y="143"/>
                    </a:lnTo>
                    <a:lnTo>
                      <a:pt x="801" y="143"/>
                    </a:lnTo>
                    <a:lnTo>
                      <a:pt x="801" y="134"/>
                    </a:lnTo>
                    <a:lnTo>
                      <a:pt x="791" y="134"/>
                    </a:lnTo>
                    <a:lnTo>
                      <a:pt x="791" y="124"/>
                    </a:lnTo>
                    <a:lnTo>
                      <a:pt x="801" y="115"/>
                    </a:lnTo>
                    <a:lnTo>
                      <a:pt x="801" y="105"/>
                    </a:lnTo>
                    <a:lnTo>
                      <a:pt x="801" y="95"/>
                    </a:lnTo>
                    <a:lnTo>
                      <a:pt x="820" y="95"/>
                    </a:lnTo>
                    <a:lnTo>
                      <a:pt x="820" y="86"/>
                    </a:lnTo>
                    <a:lnTo>
                      <a:pt x="829" y="86"/>
                    </a:lnTo>
                    <a:lnTo>
                      <a:pt x="848" y="76"/>
                    </a:lnTo>
                    <a:lnTo>
                      <a:pt x="848" y="67"/>
                    </a:lnTo>
                    <a:lnTo>
                      <a:pt x="839" y="48"/>
                    </a:lnTo>
                    <a:lnTo>
                      <a:pt x="839" y="38"/>
                    </a:lnTo>
                    <a:lnTo>
                      <a:pt x="820" y="29"/>
                    </a:lnTo>
                    <a:lnTo>
                      <a:pt x="810" y="29"/>
                    </a:lnTo>
                    <a:lnTo>
                      <a:pt x="791" y="67"/>
                    </a:lnTo>
                    <a:lnTo>
                      <a:pt x="762" y="67"/>
                    </a:lnTo>
                    <a:lnTo>
                      <a:pt x="753" y="67"/>
                    </a:lnTo>
                    <a:lnTo>
                      <a:pt x="743" y="67"/>
                    </a:lnTo>
                    <a:lnTo>
                      <a:pt x="734" y="76"/>
                    </a:lnTo>
                    <a:lnTo>
                      <a:pt x="715" y="86"/>
                    </a:lnTo>
                    <a:lnTo>
                      <a:pt x="677" y="105"/>
                    </a:lnTo>
                    <a:lnTo>
                      <a:pt x="667" y="115"/>
                    </a:lnTo>
                    <a:lnTo>
                      <a:pt x="629" y="134"/>
                    </a:lnTo>
                    <a:lnTo>
                      <a:pt x="619" y="124"/>
                    </a:lnTo>
                    <a:lnTo>
                      <a:pt x="629" y="95"/>
                    </a:lnTo>
                    <a:lnTo>
                      <a:pt x="629" y="76"/>
                    </a:lnTo>
                    <a:lnTo>
                      <a:pt x="600" y="57"/>
                    </a:lnTo>
                    <a:lnTo>
                      <a:pt x="591" y="38"/>
                    </a:lnTo>
                    <a:lnTo>
                      <a:pt x="543" y="10"/>
                    </a:lnTo>
                    <a:lnTo>
                      <a:pt x="515" y="19"/>
                    </a:lnTo>
                    <a:lnTo>
                      <a:pt x="505" y="10"/>
                    </a:lnTo>
                    <a:lnTo>
                      <a:pt x="486" y="10"/>
                    </a:lnTo>
                    <a:lnTo>
                      <a:pt x="476" y="10"/>
                    </a:lnTo>
                    <a:lnTo>
                      <a:pt x="457" y="0"/>
                    </a:lnTo>
                    <a:lnTo>
                      <a:pt x="448" y="0"/>
                    </a:lnTo>
                    <a:lnTo>
                      <a:pt x="38" y="0"/>
                    </a:lnTo>
                    <a:lnTo>
                      <a:pt x="38" y="10"/>
                    </a:lnTo>
                    <a:lnTo>
                      <a:pt x="38" y="19"/>
                    </a:lnTo>
                    <a:lnTo>
                      <a:pt x="38" y="29"/>
                    </a:lnTo>
                    <a:lnTo>
                      <a:pt x="38" y="10"/>
                    </a:lnTo>
                    <a:lnTo>
                      <a:pt x="19" y="10"/>
                    </a:lnTo>
                    <a:lnTo>
                      <a:pt x="9" y="10"/>
                    </a:lnTo>
                    <a:lnTo>
                      <a:pt x="0" y="10"/>
                    </a:lnTo>
                    <a:lnTo>
                      <a:pt x="9" y="29"/>
                    </a:lnTo>
                    <a:lnTo>
                      <a:pt x="19" y="48"/>
                    </a:lnTo>
                    <a:lnTo>
                      <a:pt x="9" y="67"/>
                    </a:lnTo>
                    <a:lnTo>
                      <a:pt x="9" y="86"/>
                    </a:lnTo>
                    <a:lnTo>
                      <a:pt x="0" y="105"/>
                    </a:lnTo>
                    <a:lnTo>
                      <a:pt x="9" y="124"/>
                    </a:lnTo>
                    <a:lnTo>
                      <a:pt x="9" y="143"/>
                    </a:lnTo>
                    <a:lnTo>
                      <a:pt x="9" y="153"/>
                    </a:lnTo>
                    <a:lnTo>
                      <a:pt x="9" y="162"/>
                    </a:lnTo>
                    <a:lnTo>
                      <a:pt x="19" y="172"/>
                    </a:lnTo>
                    <a:lnTo>
                      <a:pt x="19" y="181"/>
                    </a:lnTo>
                    <a:lnTo>
                      <a:pt x="28" y="191"/>
                    </a:lnTo>
                    <a:lnTo>
                      <a:pt x="28" y="200"/>
                    </a:lnTo>
                    <a:lnTo>
                      <a:pt x="38" y="200"/>
                    </a:lnTo>
                    <a:lnTo>
                      <a:pt x="38" y="210"/>
                    </a:lnTo>
                    <a:lnTo>
                      <a:pt x="38" y="219"/>
                    </a:lnTo>
                    <a:lnTo>
                      <a:pt x="48" y="219"/>
                    </a:lnTo>
                    <a:lnTo>
                      <a:pt x="48" y="229"/>
                    </a:lnTo>
                    <a:lnTo>
                      <a:pt x="48" y="239"/>
                    </a:lnTo>
                    <a:lnTo>
                      <a:pt x="57" y="248"/>
                    </a:lnTo>
                    <a:lnTo>
                      <a:pt x="67" y="258"/>
                    </a:lnTo>
                    <a:lnTo>
                      <a:pt x="76" y="258"/>
                    </a:lnTo>
                    <a:lnTo>
                      <a:pt x="86" y="267"/>
                    </a:lnTo>
                    <a:lnTo>
                      <a:pt x="95" y="267"/>
                    </a:lnTo>
                    <a:lnTo>
                      <a:pt x="105" y="277"/>
                    </a:lnTo>
                    <a:lnTo>
                      <a:pt x="114" y="286"/>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grpSp>
        <p:sp>
          <p:nvSpPr>
            <p:cNvPr id="448" name="Freeform 440">
              <a:extLst>
                <a:ext uri="{FF2B5EF4-FFF2-40B4-BE49-F238E27FC236}">
                  <a16:creationId xmlns:a16="http://schemas.microsoft.com/office/drawing/2014/main" id="{2F0F82B5-9BD4-4348-A57D-06A65C21430E}"/>
                </a:ext>
              </a:extLst>
            </p:cNvPr>
            <p:cNvSpPr>
              <a:spLocks/>
            </p:cNvSpPr>
            <p:nvPr/>
          </p:nvSpPr>
          <p:spPr bwMode="gray">
            <a:xfrm>
              <a:off x="1038" y="2404"/>
              <a:ext cx="448" cy="268"/>
            </a:xfrm>
            <a:custGeom>
              <a:avLst/>
              <a:gdLst>
                <a:gd name="T0" fmla="*/ 429 w 448"/>
                <a:gd name="T1" fmla="*/ 220 h 268"/>
                <a:gd name="T2" fmla="*/ 439 w 448"/>
                <a:gd name="T3" fmla="*/ 191 h 268"/>
                <a:gd name="T4" fmla="*/ 439 w 448"/>
                <a:gd name="T5" fmla="*/ 172 h 268"/>
                <a:gd name="T6" fmla="*/ 420 w 448"/>
                <a:gd name="T7" fmla="*/ 172 h 268"/>
                <a:gd name="T8" fmla="*/ 391 w 448"/>
                <a:gd name="T9" fmla="*/ 182 h 268"/>
                <a:gd name="T10" fmla="*/ 382 w 448"/>
                <a:gd name="T11" fmla="*/ 210 h 268"/>
                <a:gd name="T12" fmla="*/ 343 w 448"/>
                <a:gd name="T13" fmla="*/ 220 h 268"/>
                <a:gd name="T14" fmla="*/ 324 w 448"/>
                <a:gd name="T15" fmla="*/ 210 h 268"/>
                <a:gd name="T16" fmla="*/ 305 w 448"/>
                <a:gd name="T17" fmla="*/ 191 h 268"/>
                <a:gd name="T18" fmla="*/ 286 w 448"/>
                <a:gd name="T19" fmla="*/ 153 h 268"/>
                <a:gd name="T20" fmla="*/ 296 w 448"/>
                <a:gd name="T21" fmla="*/ 115 h 268"/>
                <a:gd name="T22" fmla="*/ 267 w 448"/>
                <a:gd name="T23" fmla="*/ 96 h 268"/>
                <a:gd name="T24" fmla="*/ 220 w 448"/>
                <a:gd name="T25" fmla="*/ 48 h 268"/>
                <a:gd name="T26" fmla="*/ 210 w 448"/>
                <a:gd name="T27" fmla="*/ 58 h 268"/>
                <a:gd name="T28" fmla="*/ 191 w 448"/>
                <a:gd name="T29" fmla="*/ 29 h 268"/>
                <a:gd name="T30" fmla="*/ 162 w 448"/>
                <a:gd name="T31" fmla="*/ 19 h 268"/>
                <a:gd name="T32" fmla="*/ 134 w 448"/>
                <a:gd name="T33" fmla="*/ 19 h 268"/>
                <a:gd name="T34" fmla="*/ 77 w 448"/>
                <a:gd name="T35" fmla="*/ 19 h 268"/>
                <a:gd name="T36" fmla="*/ 10 w 448"/>
                <a:gd name="T37" fmla="*/ 0 h 268"/>
                <a:gd name="T38" fmla="*/ 10 w 448"/>
                <a:gd name="T39" fmla="*/ 19 h 268"/>
                <a:gd name="T40" fmla="*/ 29 w 448"/>
                <a:gd name="T41" fmla="*/ 48 h 268"/>
                <a:gd name="T42" fmla="*/ 48 w 448"/>
                <a:gd name="T43" fmla="*/ 67 h 268"/>
                <a:gd name="T44" fmla="*/ 38 w 448"/>
                <a:gd name="T45" fmla="*/ 77 h 268"/>
                <a:gd name="T46" fmla="*/ 38 w 448"/>
                <a:gd name="T47" fmla="*/ 86 h 268"/>
                <a:gd name="T48" fmla="*/ 57 w 448"/>
                <a:gd name="T49" fmla="*/ 96 h 268"/>
                <a:gd name="T50" fmla="*/ 77 w 448"/>
                <a:gd name="T51" fmla="*/ 124 h 268"/>
                <a:gd name="T52" fmla="*/ 105 w 448"/>
                <a:gd name="T53" fmla="*/ 143 h 268"/>
                <a:gd name="T54" fmla="*/ 115 w 448"/>
                <a:gd name="T55" fmla="*/ 143 h 268"/>
                <a:gd name="T56" fmla="*/ 96 w 448"/>
                <a:gd name="T57" fmla="*/ 124 h 268"/>
                <a:gd name="T58" fmla="*/ 86 w 448"/>
                <a:gd name="T59" fmla="*/ 105 h 268"/>
                <a:gd name="T60" fmla="*/ 67 w 448"/>
                <a:gd name="T61" fmla="*/ 77 h 268"/>
                <a:gd name="T62" fmla="*/ 38 w 448"/>
                <a:gd name="T63" fmla="*/ 48 h 268"/>
                <a:gd name="T64" fmla="*/ 38 w 448"/>
                <a:gd name="T65" fmla="*/ 19 h 268"/>
                <a:gd name="T66" fmla="*/ 48 w 448"/>
                <a:gd name="T67" fmla="*/ 19 h 268"/>
                <a:gd name="T68" fmla="*/ 57 w 448"/>
                <a:gd name="T69" fmla="*/ 29 h 268"/>
                <a:gd name="T70" fmla="*/ 67 w 448"/>
                <a:gd name="T71" fmla="*/ 48 h 268"/>
                <a:gd name="T72" fmla="*/ 86 w 448"/>
                <a:gd name="T73" fmla="*/ 77 h 268"/>
                <a:gd name="T74" fmla="*/ 105 w 448"/>
                <a:gd name="T75" fmla="*/ 96 h 268"/>
                <a:gd name="T76" fmla="*/ 115 w 448"/>
                <a:gd name="T77" fmla="*/ 105 h 268"/>
                <a:gd name="T78" fmla="*/ 134 w 448"/>
                <a:gd name="T79" fmla="*/ 115 h 268"/>
                <a:gd name="T80" fmla="*/ 143 w 448"/>
                <a:gd name="T81" fmla="*/ 134 h 268"/>
                <a:gd name="T82" fmla="*/ 162 w 448"/>
                <a:gd name="T83" fmla="*/ 153 h 268"/>
                <a:gd name="T84" fmla="*/ 172 w 448"/>
                <a:gd name="T85" fmla="*/ 182 h 268"/>
                <a:gd name="T86" fmla="*/ 172 w 448"/>
                <a:gd name="T87" fmla="*/ 191 h 268"/>
                <a:gd name="T88" fmla="*/ 191 w 448"/>
                <a:gd name="T89" fmla="*/ 210 h 268"/>
                <a:gd name="T90" fmla="*/ 220 w 448"/>
                <a:gd name="T91" fmla="*/ 220 h 268"/>
                <a:gd name="T92" fmla="*/ 239 w 448"/>
                <a:gd name="T93" fmla="*/ 229 h 268"/>
                <a:gd name="T94" fmla="*/ 258 w 448"/>
                <a:gd name="T95" fmla="*/ 239 h 268"/>
                <a:gd name="T96" fmla="*/ 277 w 448"/>
                <a:gd name="T97" fmla="*/ 248 h 268"/>
                <a:gd name="T98" fmla="*/ 296 w 448"/>
                <a:gd name="T99" fmla="*/ 248 h 268"/>
                <a:gd name="T100" fmla="*/ 334 w 448"/>
                <a:gd name="T101" fmla="*/ 239 h 268"/>
                <a:gd name="T102" fmla="*/ 353 w 448"/>
                <a:gd name="T103" fmla="*/ 258 h 268"/>
                <a:gd name="T104" fmla="*/ 391 w 448"/>
                <a:gd name="T105" fmla="*/ 248 h 268"/>
                <a:gd name="T106" fmla="*/ 382 w 448"/>
                <a:gd name="T107" fmla="*/ 229 h 268"/>
                <a:gd name="T108" fmla="*/ 401 w 448"/>
                <a:gd name="T109" fmla="*/ 220 h 2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8"/>
                <a:gd name="T166" fmla="*/ 0 h 268"/>
                <a:gd name="T167" fmla="*/ 448 w 448"/>
                <a:gd name="T168" fmla="*/ 268 h 26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8" h="268">
                  <a:moveTo>
                    <a:pt x="410" y="220"/>
                  </a:moveTo>
                  <a:lnTo>
                    <a:pt x="420" y="210"/>
                  </a:lnTo>
                  <a:lnTo>
                    <a:pt x="429" y="220"/>
                  </a:lnTo>
                  <a:lnTo>
                    <a:pt x="439" y="210"/>
                  </a:lnTo>
                  <a:lnTo>
                    <a:pt x="439" y="191"/>
                  </a:lnTo>
                  <a:lnTo>
                    <a:pt x="439" y="182"/>
                  </a:lnTo>
                  <a:lnTo>
                    <a:pt x="448" y="172"/>
                  </a:lnTo>
                  <a:lnTo>
                    <a:pt x="439" y="172"/>
                  </a:lnTo>
                  <a:lnTo>
                    <a:pt x="429" y="172"/>
                  </a:lnTo>
                  <a:lnTo>
                    <a:pt x="420" y="172"/>
                  </a:lnTo>
                  <a:lnTo>
                    <a:pt x="410" y="172"/>
                  </a:lnTo>
                  <a:lnTo>
                    <a:pt x="401" y="172"/>
                  </a:lnTo>
                  <a:lnTo>
                    <a:pt x="391" y="182"/>
                  </a:lnTo>
                  <a:lnTo>
                    <a:pt x="391" y="191"/>
                  </a:lnTo>
                  <a:lnTo>
                    <a:pt x="382" y="210"/>
                  </a:lnTo>
                  <a:lnTo>
                    <a:pt x="353" y="220"/>
                  </a:lnTo>
                  <a:lnTo>
                    <a:pt x="343" y="210"/>
                  </a:lnTo>
                  <a:lnTo>
                    <a:pt x="343" y="220"/>
                  </a:lnTo>
                  <a:lnTo>
                    <a:pt x="324" y="210"/>
                  </a:lnTo>
                  <a:lnTo>
                    <a:pt x="315" y="201"/>
                  </a:lnTo>
                  <a:lnTo>
                    <a:pt x="305" y="201"/>
                  </a:lnTo>
                  <a:lnTo>
                    <a:pt x="305" y="191"/>
                  </a:lnTo>
                  <a:lnTo>
                    <a:pt x="296" y="182"/>
                  </a:lnTo>
                  <a:lnTo>
                    <a:pt x="286" y="172"/>
                  </a:lnTo>
                  <a:lnTo>
                    <a:pt x="286" y="153"/>
                  </a:lnTo>
                  <a:lnTo>
                    <a:pt x="286" y="143"/>
                  </a:lnTo>
                  <a:lnTo>
                    <a:pt x="286" y="124"/>
                  </a:lnTo>
                  <a:lnTo>
                    <a:pt x="296" y="115"/>
                  </a:lnTo>
                  <a:lnTo>
                    <a:pt x="296" y="105"/>
                  </a:lnTo>
                  <a:lnTo>
                    <a:pt x="277" y="105"/>
                  </a:lnTo>
                  <a:lnTo>
                    <a:pt x="267" y="96"/>
                  </a:lnTo>
                  <a:lnTo>
                    <a:pt x="258" y="86"/>
                  </a:lnTo>
                  <a:lnTo>
                    <a:pt x="239" y="58"/>
                  </a:lnTo>
                  <a:lnTo>
                    <a:pt x="220" y="48"/>
                  </a:lnTo>
                  <a:lnTo>
                    <a:pt x="210" y="48"/>
                  </a:lnTo>
                  <a:lnTo>
                    <a:pt x="210" y="58"/>
                  </a:lnTo>
                  <a:lnTo>
                    <a:pt x="200" y="58"/>
                  </a:lnTo>
                  <a:lnTo>
                    <a:pt x="191" y="48"/>
                  </a:lnTo>
                  <a:lnTo>
                    <a:pt x="191" y="29"/>
                  </a:lnTo>
                  <a:lnTo>
                    <a:pt x="181" y="29"/>
                  </a:lnTo>
                  <a:lnTo>
                    <a:pt x="172" y="29"/>
                  </a:lnTo>
                  <a:lnTo>
                    <a:pt x="162" y="19"/>
                  </a:lnTo>
                  <a:lnTo>
                    <a:pt x="153" y="10"/>
                  </a:lnTo>
                  <a:lnTo>
                    <a:pt x="134" y="10"/>
                  </a:lnTo>
                  <a:lnTo>
                    <a:pt x="134" y="19"/>
                  </a:lnTo>
                  <a:lnTo>
                    <a:pt x="115" y="29"/>
                  </a:lnTo>
                  <a:lnTo>
                    <a:pt x="86" y="19"/>
                  </a:lnTo>
                  <a:lnTo>
                    <a:pt x="77" y="19"/>
                  </a:lnTo>
                  <a:lnTo>
                    <a:pt x="57" y="10"/>
                  </a:lnTo>
                  <a:lnTo>
                    <a:pt x="38" y="0"/>
                  </a:lnTo>
                  <a:lnTo>
                    <a:pt x="10" y="0"/>
                  </a:lnTo>
                  <a:lnTo>
                    <a:pt x="0" y="10"/>
                  </a:lnTo>
                  <a:lnTo>
                    <a:pt x="10" y="19"/>
                  </a:lnTo>
                  <a:lnTo>
                    <a:pt x="19" y="38"/>
                  </a:lnTo>
                  <a:lnTo>
                    <a:pt x="29" y="48"/>
                  </a:lnTo>
                  <a:lnTo>
                    <a:pt x="48" y="67"/>
                  </a:lnTo>
                  <a:lnTo>
                    <a:pt x="48" y="77"/>
                  </a:lnTo>
                  <a:lnTo>
                    <a:pt x="38" y="77"/>
                  </a:lnTo>
                  <a:lnTo>
                    <a:pt x="38" y="86"/>
                  </a:lnTo>
                  <a:lnTo>
                    <a:pt x="48" y="96"/>
                  </a:lnTo>
                  <a:lnTo>
                    <a:pt x="57" y="96"/>
                  </a:lnTo>
                  <a:lnTo>
                    <a:pt x="67" y="105"/>
                  </a:lnTo>
                  <a:lnTo>
                    <a:pt x="77" y="105"/>
                  </a:lnTo>
                  <a:lnTo>
                    <a:pt x="77" y="124"/>
                  </a:lnTo>
                  <a:lnTo>
                    <a:pt x="86" y="134"/>
                  </a:lnTo>
                  <a:lnTo>
                    <a:pt x="105" y="143"/>
                  </a:lnTo>
                  <a:lnTo>
                    <a:pt x="105" y="153"/>
                  </a:lnTo>
                  <a:lnTo>
                    <a:pt x="115" y="153"/>
                  </a:lnTo>
                  <a:lnTo>
                    <a:pt x="115" y="143"/>
                  </a:lnTo>
                  <a:lnTo>
                    <a:pt x="105" y="134"/>
                  </a:lnTo>
                  <a:lnTo>
                    <a:pt x="96" y="124"/>
                  </a:lnTo>
                  <a:lnTo>
                    <a:pt x="96" y="115"/>
                  </a:lnTo>
                  <a:lnTo>
                    <a:pt x="86" y="115"/>
                  </a:lnTo>
                  <a:lnTo>
                    <a:pt x="86" y="105"/>
                  </a:lnTo>
                  <a:lnTo>
                    <a:pt x="86" y="96"/>
                  </a:lnTo>
                  <a:lnTo>
                    <a:pt x="67" y="77"/>
                  </a:lnTo>
                  <a:lnTo>
                    <a:pt x="57" y="67"/>
                  </a:lnTo>
                  <a:lnTo>
                    <a:pt x="38" y="48"/>
                  </a:lnTo>
                  <a:lnTo>
                    <a:pt x="38" y="38"/>
                  </a:lnTo>
                  <a:lnTo>
                    <a:pt x="38" y="19"/>
                  </a:lnTo>
                  <a:lnTo>
                    <a:pt x="48" y="19"/>
                  </a:lnTo>
                  <a:lnTo>
                    <a:pt x="57" y="19"/>
                  </a:lnTo>
                  <a:lnTo>
                    <a:pt x="57" y="29"/>
                  </a:lnTo>
                  <a:lnTo>
                    <a:pt x="57" y="38"/>
                  </a:lnTo>
                  <a:lnTo>
                    <a:pt x="67" y="38"/>
                  </a:lnTo>
                  <a:lnTo>
                    <a:pt x="67" y="48"/>
                  </a:lnTo>
                  <a:lnTo>
                    <a:pt x="77" y="58"/>
                  </a:lnTo>
                  <a:lnTo>
                    <a:pt x="77" y="67"/>
                  </a:lnTo>
                  <a:lnTo>
                    <a:pt x="86" y="77"/>
                  </a:lnTo>
                  <a:lnTo>
                    <a:pt x="96" y="77"/>
                  </a:lnTo>
                  <a:lnTo>
                    <a:pt x="96" y="86"/>
                  </a:lnTo>
                  <a:lnTo>
                    <a:pt x="105" y="96"/>
                  </a:lnTo>
                  <a:lnTo>
                    <a:pt x="115" y="96"/>
                  </a:lnTo>
                  <a:lnTo>
                    <a:pt x="115" y="105"/>
                  </a:lnTo>
                  <a:lnTo>
                    <a:pt x="124" y="115"/>
                  </a:lnTo>
                  <a:lnTo>
                    <a:pt x="134" y="115"/>
                  </a:lnTo>
                  <a:lnTo>
                    <a:pt x="134" y="124"/>
                  </a:lnTo>
                  <a:lnTo>
                    <a:pt x="143" y="134"/>
                  </a:lnTo>
                  <a:lnTo>
                    <a:pt x="153" y="143"/>
                  </a:lnTo>
                  <a:lnTo>
                    <a:pt x="162" y="153"/>
                  </a:lnTo>
                  <a:lnTo>
                    <a:pt x="172" y="163"/>
                  </a:lnTo>
                  <a:lnTo>
                    <a:pt x="172" y="172"/>
                  </a:lnTo>
                  <a:lnTo>
                    <a:pt x="172" y="182"/>
                  </a:lnTo>
                  <a:lnTo>
                    <a:pt x="172" y="191"/>
                  </a:lnTo>
                  <a:lnTo>
                    <a:pt x="181" y="201"/>
                  </a:lnTo>
                  <a:lnTo>
                    <a:pt x="191" y="201"/>
                  </a:lnTo>
                  <a:lnTo>
                    <a:pt x="191" y="210"/>
                  </a:lnTo>
                  <a:lnTo>
                    <a:pt x="200" y="210"/>
                  </a:lnTo>
                  <a:lnTo>
                    <a:pt x="210" y="210"/>
                  </a:lnTo>
                  <a:lnTo>
                    <a:pt x="220" y="220"/>
                  </a:lnTo>
                  <a:lnTo>
                    <a:pt x="229" y="220"/>
                  </a:lnTo>
                  <a:lnTo>
                    <a:pt x="239" y="229"/>
                  </a:lnTo>
                  <a:lnTo>
                    <a:pt x="248" y="229"/>
                  </a:lnTo>
                  <a:lnTo>
                    <a:pt x="248" y="239"/>
                  </a:lnTo>
                  <a:lnTo>
                    <a:pt x="258" y="239"/>
                  </a:lnTo>
                  <a:lnTo>
                    <a:pt x="267" y="239"/>
                  </a:lnTo>
                  <a:lnTo>
                    <a:pt x="277" y="248"/>
                  </a:lnTo>
                  <a:lnTo>
                    <a:pt x="286" y="248"/>
                  </a:lnTo>
                  <a:lnTo>
                    <a:pt x="296" y="248"/>
                  </a:lnTo>
                  <a:lnTo>
                    <a:pt x="315" y="248"/>
                  </a:lnTo>
                  <a:lnTo>
                    <a:pt x="334" y="239"/>
                  </a:lnTo>
                  <a:lnTo>
                    <a:pt x="334" y="248"/>
                  </a:lnTo>
                  <a:lnTo>
                    <a:pt x="343" y="248"/>
                  </a:lnTo>
                  <a:lnTo>
                    <a:pt x="353" y="258"/>
                  </a:lnTo>
                  <a:lnTo>
                    <a:pt x="362" y="268"/>
                  </a:lnTo>
                  <a:lnTo>
                    <a:pt x="372" y="248"/>
                  </a:lnTo>
                  <a:lnTo>
                    <a:pt x="391" y="248"/>
                  </a:lnTo>
                  <a:lnTo>
                    <a:pt x="401" y="248"/>
                  </a:lnTo>
                  <a:lnTo>
                    <a:pt x="401" y="239"/>
                  </a:lnTo>
                  <a:lnTo>
                    <a:pt x="382" y="229"/>
                  </a:lnTo>
                  <a:lnTo>
                    <a:pt x="391" y="229"/>
                  </a:lnTo>
                  <a:lnTo>
                    <a:pt x="391" y="220"/>
                  </a:lnTo>
                  <a:lnTo>
                    <a:pt x="401" y="220"/>
                  </a:lnTo>
                  <a:lnTo>
                    <a:pt x="410" y="22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49" name="Freeform 441">
              <a:extLst>
                <a:ext uri="{FF2B5EF4-FFF2-40B4-BE49-F238E27FC236}">
                  <a16:creationId xmlns:a16="http://schemas.microsoft.com/office/drawing/2014/main" id="{5AE78095-A4A7-495C-8977-FF28BB6D221F}"/>
                </a:ext>
              </a:extLst>
            </p:cNvPr>
            <p:cNvSpPr>
              <a:spLocks/>
            </p:cNvSpPr>
            <p:nvPr/>
          </p:nvSpPr>
          <p:spPr bwMode="gray">
            <a:xfrm>
              <a:off x="1038" y="2404"/>
              <a:ext cx="448" cy="268"/>
            </a:xfrm>
            <a:custGeom>
              <a:avLst/>
              <a:gdLst>
                <a:gd name="T0" fmla="*/ 429 w 448"/>
                <a:gd name="T1" fmla="*/ 220 h 268"/>
                <a:gd name="T2" fmla="*/ 439 w 448"/>
                <a:gd name="T3" fmla="*/ 191 h 268"/>
                <a:gd name="T4" fmla="*/ 439 w 448"/>
                <a:gd name="T5" fmla="*/ 172 h 268"/>
                <a:gd name="T6" fmla="*/ 420 w 448"/>
                <a:gd name="T7" fmla="*/ 172 h 268"/>
                <a:gd name="T8" fmla="*/ 391 w 448"/>
                <a:gd name="T9" fmla="*/ 182 h 268"/>
                <a:gd name="T10" fmla="*/ 382 w 448"/>
                <a:gd name="T11" fmla="*/ 210 h 268"/>
                <a:gd name="T12" fmla="*/ 343 w 448"/>
                <a:gd name="T13" fmla="*/ 220 h 268"/>
                <a:gd name="T14" fmla="*/ 324 w 448"/>
                <a:gd name="T15" fmla="*/ 210 h 268"/>
                <a:gd name="T16" fmla="*/ 305 w 448"/>
                <a:gd name="T17" fmla="*/ 191 h 268"/>
                <a:gd name="T18" fmla="*/ 286 w 448"/>
                <a:gd name="T19" fmla="*/ 153 h 268"/>
                <a:gd name="T20" fmla="*/ 296 w 448"/>
                <a:gd name="T21" fmla="*/ 115 h 268"/>
                <a:gd name="T22" fmla="*/ 267 w 448"/>
                <a:gd name="T23" fmla="*/ 96 h 268"/>
                <a:gd name="T24" fmla="*/ 220 w 448"/>
                <a:gd name="T25" fmla="*/ 48 h 268"/>
                <a:gd name="T26" fmla="*/ 210 w 448"/>
                <a:gd name="T27" fmla="*/ 58 h 268"/>
                <a:gd name="T28" fmla="*/ 191 w 448"/>
                <a:gd name="T29" fmla="*/ 29 h 268"/>
                <a:gd name="T30" fmla="*/ 162 w 448"/>
                <a:gd name="T31" fmla="*/ 19 h 268"/>
                <a:gd name="T32" fmla="*/ 134 w 448"/>
                <a:gd name="T33" fmla="*/ 19 h 268"/>
                <a:gd name="T34" fmla="*/ 77 w 448"/>
                <a:gd name="T35" fmla="*/ 19 h 268"/>
                <a:gd name="T36" fmla="*/ 10 w 448"/>
                <a:gd name="T37" fmla="*/ 0 h 268"/>
                <a:gd name="T38" fmla="*/ 10 w 448"/>
                <a:gd name="T39" fmla="*/ 19 h 268"/>
                <a:gd name="T40" fmla="*/ 29 w 448"/>
                <a:gd name="T41" fmla="*/ 48 h 268"/>
                <a:gd name="T42" fmla="*/ 48 w 448"/>
                <a:gd name="T43" fmla="*/ 67 h 268"/>
                <a:gd name="T44" fmla="*/ 38 w 448"/>
                <a:gd name="T45" fmla="*/ 77 h 268"/>
                <a:gd name="T46" fmla="*/ 48 w 448"/>
                <a:gd name="T47" fmla="*/ 96 h 268"/>
                <a:gd name="T48" fmla="*/ 77 w 448"/>
                <a:gd name="T49" fmla="*/ 105 h 268"/>
                <a:gd name="T50" fmla="*/ 86 w 448"/>
                <a:gd name="T51" fmla="*/ 134 h 268"/>
                <a:gd name="T52" fmla="*/ 115 w 448"/>
                <a:gd name="T53" fmla="*/ 153 h 268"/>
                <a:gd name="T54" fmla="*/ 105 w 448"/>
                <a:gd name="T55" fmla="*/ 134 h 268"/>
                <a:gd name="T56" fmla="*/ 86 w 448"/>
                <a:gd name="T57" fmla="*/ 115 h 268"/>
                <a:gd name="T58" fmla="*/ 67 w 448"/>
                <a:gd name="T59" fmla="*/ 77 h 268"/>
                <a:gd name="T60" fmla="*/ 57 w 448"/>
                <a:gd name="T61" fmla="*/ 67 h 268"/>
                <a:gd name="T62" fmla="*/ 38 w 448"/>
                <a:gd name="T63" fmla="*/ 19 h 268"/>
                <a:gd name="T64" fmla="*/ 48 w 448"/>
                <a:gd name="T65" fmla="*/ 19 h 268"/>
                <a:gd name="T66" fmla="*/ 57 w 448"/>
                <a:gd name="T67" fmla="*/ 19 h 268"/>
                <a:gd name="T68" fmla="*/ 67 w 448"/>
                <a:gd name="T69" fmla="*/ 38 h 268"/>
                <a:gd name="T70" fmla="*/ 77 w 448"/>
                <a:gd name="T71" fmla="*/ 67 h 268"/>
                <a:gd name="T72" fmla="*/ 96 w 448"/>
                <a:gd name="T73" fmla="*/ 86 h 268"/>
                <a:gd name="T74" fmla="*/ 115 w 448"/>
                <a:gd name="T75" fmla="*/ 96 h 268"/>
                <a:gd name="T76" fmla="*/ 124 w 448"/>
                <a:gd name="T77" fmla="*/ 115 h 268"/>
                <a:gd name="T78" fmla="*/ 134 w 448"/>
                <a:gd name="T79" fmla="*/ 124 h 268"/>
                <a:gd name="T80" fmla="*/ 153 w 448"/>
                <a:gd name="T81" fmla="*/ 143 h 268"/>
                <a:gd name="T82" fmla="*/ 172 w 448"/>
                <a:gd name="T83" fmla="*/ 172 h 268"/>
                <a:gd name="T84" fmla="*/ 172 w 448"/>
                <a:gd name="T85" fmla="*/ 191 h 268"/>
                <a:gd name="T86" fmla="*/ 191 w 448"/>
                <a:gd name="T87" fmla="*/ 201 h 268"/>
                <a:gd name="T88" fmla="*/ 210 w 448"/>
                <a:gd name="T89" fmla="*/ 210 h 268"/>
                <a:gd name="T90" fmla="*/ 229 w 448"/>
                <a:gd name="T91" fmla="*/ 220 h 268"/>
                <a:gd name="T92" fmla="*/ 248 w 448"/>
                <a:gd name="T93" fmla="*/ 239 h 268"/>
                <a:gd name="T94" fmla="*/ 277 w 448"/>
                <a:gd name="T95" fmla="*/ 248 h 268"/>
                <a:gd name="T96" fmla="*/ 296 w 448"/>
                <a:gd name="T97" fmla="*/ 248 h 268"/>
                <a:gd name="T98" fmla="*/ 334 w 448"/>
                <a:gd name="T99" fmla="*/ 239 h 268"/>
                <a:gd name="T100" fmla="*/ 343 w 448"/>
                <a:gd name="T101" fmla="*/ 248 h 268"/>
                <a:gd name="T102" fmla="*/ 372 w 448"/>
                <a:gd name="T103" fmla="*/ 248 h 268"/>
                <a:gd name="T104" fmla="*/ 401 w 448"/>
                <a:gd name="T105" fmla="*/ 239 h 268"/>
                <a:gd name="T106" fmla="*/ 391 w 448"/>
                <a:gd name="T107" fmla="*/ 220 h 26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48"/>
                <a:gd name="T163" fmla="*/ 0 h 268"/>
                <a:gd name="T164" fmla="*/ 448 w 448"/>
                <a:gd name="T165" fmla="*/ 268 h 26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48" h="268">
                  <a:moveTo>
                    <a:pt x="410" y="220"/>
                  </a:moveTo>
                  <a:lnTo>
                    <a:pt x="420" y="210"/>
                  </a:lnTo>
                  <a:lnTo>
                    <a:pt x="429" y="220"/>
                  </a:lnTo>
                  <a:lnTo>
                    <a:pt x="439" y="210"/>
                  </a:lnTo>
                  <a:lnTo>
                    <a:pt x="439" y="191"/>
                  </a:lnTo>
                  <a:lnTo>
                    <a:pt x="439" y="182"/>
                  </a:lnTo>
                  <a:lnTo>
                    <a:pt x="448" y="172"/>
                  </a:lnTo>
                  <a:lnTo>
                    <a:pt x="439" y="172"/>
                  </a:lnTo>
                  <a:lnTo>
                    <a:pt x="429" y="172"/>
                  </a:lnTo>
                  <a:lnTo>
                    <a:pt x="420" y="172"/>
                  </a:lnTo>
                  <a:lnTo>
                    <a:pt x="410" y="172"/>
                  </a:lnTo>
                  <a:lnTo>
                    <a:pt x="401" y="172"/>
                  </a:lnTo>
                  <a:lnTo>
                    <a:pt x="391" y="182"/>
                  </a:lnTo>
                  <a:lnTo>
                    <a:pt x="391" y="191"/>
                  </a:lnTo>
                  <a:lnTo>
                    <a:pt x="382" y="210"/>
                  </a:lnTo>
                  <a:lnTo>
                    <a:pt x="353" y="220"/>
                  </a:lnTo>
                  <a:lnTo>
                    <a:pt x="343" y="210"/>
                  </a:lnTo>
                  <a:lnTo>
                    <a:pt x="343" y="220"/>
                  </a:lnTo>
                  <a:lnTo>
                    <a:pt x="324" y="210"/>
                  </a:lnTo>
                  <a:lnTo>
                    <a:pt x="315" y="201"/>
                  </a:lnTo>
                  <a:lnTo>
                    <a:pt x="305" y="201"/>
                  </a:lnTo>
                  <a:lnTo>
                    <a:pt x="305" y="191"/>
                  </a:lnTo>
                  <a:lnTo>
                    <a:pt x="296" y="182"/>
                  </a:lnTo>
                  <a:lnTo>
                    <a:pt x="286" y="172"/>
                  </a:lnTo>
                  <a:lnTo>
                    <a:pt x="286" y="153"/>
                  </a:lnTo>
                  <a:lnTo>
                    <a:pt x="286" y="143"/>
                  </a:lnTo>
                  <a:lnTo>
                    <a:pt x="286" y="124"/>
                  </a:lnTo>
                  <a:lnTo>
                    <a:pt x="296" y="115"/>
                  </a:lnTo>
                  <a:lnTo>
                    <a:pt x="296" y="105"/>
                  </a:lnTo>
                  <a:lnTo>
                    <a:pt x="277" y="105"/>
                  </a:lnTo>
                  <a:lnTo>
                    <a:pt x="267" y="96"/>
                  </a:lnTo>
                  <a:lnTo>
                    <a:pt x="258" y="86"/>
                  </a:lnTo>
                  <a:lnTo>
                    <a:pt x="239" y="58"/>
                  </a:lnTo>
                  <a:lnTo>
                    <a:pt x="220" y="48"/>
                  </a:lnTo>
                  <a:lnTo>
                    <a:pt x="210" y="48"/>
                  </a:lnTo>
                  <a:lnTo>
                    <a:pt x="210" y="58"/>
                  </a:lnTo>
                  <a:lnTo>
                    <a:pt x="200" y="58"/>
                  </a:lnTo>
                  <a:lnTo>
                    <a:pt x="191" y="48"/>
                  </a:lnTo>
                  <a:lnTo>
                    <a:pt x="191" y="29"/>
                  </a:lnTo>
                  <a:lnTo>
                    <a:pt x="181" y="29"/>
                  </a:lnTo>
                  <a:lnTo>
                    <a:pt x="172" y="29"/>
                  </a:lnTo>
                  <a:lnTo>
                    <a:pt x="162" y="19"/>
                  </a:lnTo>
                  <a:lnTo>
                    <a:pt x="153" y="10"/>
                  </a:lnTo>
                  <a:lnTo>
                    <a:pt x="134" y="10"/>
                  </a:lnTo>
                  <a:lnTo>
                    <a:pt x="134" y="19"/>
                  </a:lnTo>
                  <a:lnTo>
                    <a:pt x="115" y="29"/>
                  </a:lnTo>
                  <a:lnTo>
                    <a:pt x="86" y="19"/>
                  </a:lnTo>
                  <a:lnTo>
                    <a:pt x="77" y="19"/>
                  </a:lnTo>
                  <a:lnTo>
                    <a:pt x="57" y="10"/>
                  </a:lnTo>
                  <a:lnTo>
                    <a:pt x="38" y="0"/>
                  </a:lnTo>
                  <a:lnTo>
                    <a:pt x="10" y="0"/>
                  </a:lnTo>
                  <a:lnTo>
                    <a:pt x="0" y="10"/>
                  </a:lnTo>
                  <a:lnTo>
                    <a:pt x="10" y="19"/>
                  </a:lnTo>
                  <a:lnTo>
                    <a:pt x="19" y="38"/>
                  </a:lnTo>
                  <a:lnTo>
                    <a:pt x="29" y="48"/>
                  </a:lnTo>
                  <a:lnTo>
                    <a:pt x="48" y="67"/>
                  </a:lnTo>
                  <a:lnTo>
                    <a:pt x="48" y="77"/>
                  </a:lnTo>
                  <a:lnTo>
                    <a:pt x="38" y="77"/>
                  </a:lnTo>
                  <a:lnTo>
                    <a:pt x="38" y="86"/>
                  </a:lnTo>
                  <a:lnTo>
                    <a:pt x="48" y="96"/>
                  </a:lnTo>
                  <a:lnTo>
                    <a:pt x="57" y="96"/>
                  </a:lnTo>
                  <a:lnTo>
                    <a:pt x="67" y="105"/>
                  </a:lnTo>
                  <a:lnTo>
                    <a:pt x="77" y="105"/>
                  </a:lnTo>
                  <a:lnTo>
                    <a:pt x="77" y="124"/>
                  </a:lnTo>
                  <a:lnTo>
                    <a:pt x="86" y="134"/>
                  </a:lnTo>
                  <a:lnTo>
                    <a:pt x="105" y="143"/>
                  </a:lnTo>
                  <a:lnTo>
                    <a:pt x="105" y="153"/>
                  </a:lnTo>
                  <a:lnTo>
                    <a:pt x="115" y="153"/>
                  </a:lnTo>
                  <a:lnTo>
                    <a:pt x="115" y="143"/>
                  </a:lnTo>
                  <a:lnTo>
                    <a:pt x="105" y="134"/>
                  </a:lnTo>
                  <a:lnTo>
                    <a:pt x="96" y="124"/>
                  </a:lnTo>
                  <a:lnTo>
                    <a:pt x="96" y="115"/>
                  </a:lnTo>
                  <a:lnTo>
                    <a:pt x="86" y="115"/>
                  </a:lnTo>
                  <a:lnTo>
                    <a:pt x="86" y="105"/>
                  </a:lnTo>
                  <a:lnTo>
                    <a:pt x="86" y="96"/>
                  </a:lnTo>
                  <a:lnTo>
                    <a:pt x="67" y="77"/>
                  </a:lnTo>
                  <a:lnTo>
                    <a:pt x="57" y="67"/>
                  </a:lnTo>
                  <a:lnTo>
                    <a:pt x="38" y="48"/>
                  </a:lnTo>
                  <a:lnTo>
                    <a:pt x="38" y="38"/>
                  </a:lnTo>
                  <a:lnTo>
                    <a:pt x="38" y="19"/>
                  </a:lnTo>
                  <a:lnTo>
                    <a:pt x="48" y="19"/>
                  </a:lnTo>
                  <a:lnTo>
                    <a:pt x="57" y="19"/>
                  </a:lnTo>
                  <a:lnTo>
                    <a:pt x="57" y="29"/>
                  </a:lnTo>
                  <a:lnTo>
                    <a:pt x="57" y="38"/>
                  </a:lnTo>
                  <a:lnTo>
                    <a:pt x="67" y="38"/>
                  </a:lnTo>
                  <a:lnTo>
                    <a:pt x="67" y="48"/>
                  </a:lnTo>
                  <a:lnTo>
                    <a:pt x="77" y="58"/>
                  </a:lnTo>
                  <a:lnTo>
                    <a:pt x="77" y="67"/>
                  </a:lnTo>
                  <a:lnTo>
                    <a:pt x="86" y="77"/>
                  </a:lnTo>
                  <a:lnTo>
                    <a:pt x="96" y="77"/>
                  </a:lnTo>
                  <a:lnTo>
                    <a:pt x="96" y="86"/>
                  </a:lnTo>
                  <a:lnTo>
                    <a:pt x="105" y="96"/>
                  </a:lnTo>
                  <a:lnTo>
                    <a:pt x="115" y="96"/>
                  </a:lnTo>
                  <a:lnTo>
                    <a:pt x="115" y="105"/>
                  </a:lnTo>
                  <a:lnTo>
                    <a:pt x="124" y="115"/>
                  </a:lnTo>
                  <a:lnTo>
                    <a:pt x="134" y="115"/>
                  </a:lnTo>
                  <a:lnTo>
                    <a:pt x="134" y="124"/>
                  </a:lnTo>
                  <a:lnTo>
                    <a:pt x="143" y="134"/>
                  </a:lnTo>
                  <a:lnTo>
                    <a:pt x="153" y="143"/>
                  </a:lnTo>
                  <a:lnTo>
                    <a:pt x="162" y="153"/>
                  </a:lnTo>
                  <a:lnTo>
                    <a:pt x="172" y="163"/>
                  </a:lnTo>
                  <a:lnTo>
                    <a:pt x="172" y="172"/>
                  </a:lnTo>
                  <a:lnTo>
                    <a:pt x="172" y="182"/>
                  </a:lnTo>
                  <a:lnTo>
                    <a:pt x="172" y="191"/>
                  </a:lnTo>
                  <a:lnTo>
                    <a:pt x="181" y="201"/>
                  </a:lnTo>
                  <a:lnTo>
                    <a:pt x="191" y="201"/>
                  </a:lnTo>
                  <a:lnTo>
                    <a:pt x="191" y="210"/>
                  </a:lnTo>
                  <a:lnTo>
                    <a:pt x="200" y="210"/>
                  </a:lnTo>
                  <a:lnTo>
                    <a:pt x="210" y="210"/>
                  </a:lnTo>
                  <a:lnTo>
                    <a:pt x="220" y="220"/>
                  </a:lnTo>
                  <a:lnTo>
                    <a:pt x="229" y="220"/>
                  </a:lnTo>
                  <a:lnTo>
                    <a:pt x="239" y="229"/>
                  </a:lnTo>
                  <a:lnTo>
                    <a:pt x="248" y="229"/>
                  </a:lnTo>
                  <a:lnTo>
                    <a:pt x="248" y="239"/>
                  </a:lnTo>
                  <a:lnTo>
                    <a:pt x="258" y="239"/>
                  </a:lnTo>
                  <a:lnTo>
                    <a:pt x="267" y="239"/>
                  </a:lnTo>
                  <a:lnTo>
                    <a:pt x="277" y="248"/>
                  </a:lnTo>
                  <a:lnTo>
                    <a:pt x="286" y="248"/>
                  </a:lnTo>
                  <a:lnTo>
                    <a:pt x="296" y="248"/>
                  </a:lnTo>
                  <a:lnTo>
                    <a:pt x="315" y="248"/>
                  </a:lnTo>
                  <a:lnTo>
                    <a:pt x="334" y="239"/>
                  </a:lnTo>
                  <a:lnTo>
                    <a:pt x="334" y="248"/>
                  </a:lnTo>
                  <a:lnTo>
                    <a:pt x="343" y="248"/>
                  </a:lnTo>
                  <a:lnTo>
                    <a:pt x="353" y="258"/>
                  </a:lnTo>
                  <a:lnTo>
                    <a:pt x="362" y="268"/>
                  </a:lnTo>
                  <a:lnTo>
                    <a:pt x="372" y="248"/>
                  </a:lnTo>
                  <a:lnTo>
                    <a:pt x="391" y="248"/>
                  </a:lnTo>
                  <a:lnTo>
                    <a:pt x="401" y="248"/>
                  </a:lnTo>
                  <a:lnTo>
                    <a:pt x="401" y="239"/>
                  </a:lnTo>
                  <a:lnTo>
                    <a:pt x="382" y="229"/>
                  </a:lnTo>
                  <a:lnTo>
                    <a:pt x="391" y="229"/>
                  </a:lnTo>
                  <a:lnTo>
                    <a:pt x="391" y="220"/>
                  </a:lnTo>
                  <a:lnTo>
                    <a:pt x="401" y="220"/>
                  </a:lnTo>
                  <a:lnTo>
                    <a:pt x="410" y="22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50" name="Freeform 442">
              <a:extLst>
                <a:ext uri="{FF2B5EF4-FFF2-40B4-BE49-F238E27FC236}">
                  <a16:creationId xmlns:a16="http://schemas.microsoft.com/office/drawing/2014/main" id="{F18F6C73-607C-4EA2-B5EE-B3BA68E2938F}"/>
                </a:ext>
              </a:extLst>
            </p:cNvPr>
            <p:cNvSpPr>
              <a:spLocks/>
            </p:cNvSpPr>
            <p:nvPr/>
          </p:nvSpPr>
          <p:spPr bwMode="gray">
            <a:xfrm>
              <a:off x="1448" y="2614"/>
              <a:ext cx="19" cy="38"/>
            </a:xfrm>
            <a:custGeom>
              <a:avLst/>
              <a:gdLst>
                <a:gd name="T0" fmla="*/ 10 w 19"/>
                <a:gd name="T1" fmla="*/ 38 h 38"/>
                <a:gd name="T2" fmla="*/ 0 w 19"/>
                <a:gd name="T3" fmla="*/ 29 h 38"/>
                <a:gd name="T4" fmla="*/ 0 w 19"/>
                <a:gd name="T5" fmla="*/ 10 h 38"/>
                <a:gd name="T6" fmla="*/ 10 w 19"/>
                <a:gd name="T7" fmla="*/ 0 h 38"/>
                <a:gd name="T8" fmla="*/ 19 w 19"/>
                <a:gd name="T9" fmla="*/ 0 h 38"/>
                <a:gd name="T10" fmla="*/ 19 w 19"/>
                <a:gd name="T11" fmla="*/ 10 h 38"/>
                <a:gd name="T12" fmla="*/ 19 w 19"/>
                <a:gd name="T13" fmla="*/ 19 h 38"/>
                <a:gd name="T14" fmla="*/ 10 w 19"/>
                <a:gd name="T15" fmla="*/ 38 h 38"/>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38"/>
                <a:gd name="T26" fmla="*/ 19 w 19"/>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38">
                  <a:moveTo>
                    <a:pt x="10" y="38"/>
                  </a:moveTo>
                  <a:lnTo>
                    <a:pt x="0" y="29"/>
                  </a:lnTo>
                  <a:lnTo>
                    <a:pt x="0" y="10"/>
                  </a:lnTo>
                  <a:lnTo>
                    <a:pt x="10" y="0"/>
                  </a:lnTo>
                  <a:lnTo>
                    <a:pt x="19" y="0"/>
                  </a:lnTo>
                  <a:lnTo>
                    <a:pt x="19" y="10"/>
                  </a:lnTo>
                  <a:lnTo>
                    <a:pt x="19" y="19"/>
                  </a:lnTo>
                  <a:lnTo>
                    <a:pt x="10"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51" name="Freeform 443">
              <a:extLst>
                <a:ext uri="{FF2B5EF4-FFF2-40B4-BE49-F238E27FC236}">
                  <a16:creationId xmlns:a16="http://schemas.microsoft.com/office/drawing/2014/main" id="{7DBA964C-8AA4-482F-845D-A3C34738E1D0}"/>
                </a:ext>
              </a:extLst>
            </p:cNvPr>
            <p:cNvSpPr>
              <a:spLocks/>
            </p:cNvSpPr>
            <p:nvPr/>
          </p:nvSpPr>
          <p:spPr bwMode="gray">
            <a:xfrm>
              <a:off x="1906" y="2786"/>
              <a:ext cx="57" cy="57"/>
            </a:xfrm>
            <a:custGeom>
              <a:avLst/>
              <a:gdLst>
                <a:gd name="T0" fmla="*/ 9 w 57"/>
                <a:gd name="T1" fmla="*/ 57 h 57"/>
                <a:gd name="T2" fmla="*/ 9 w 57"/>
                <a:gd name="T3" fmla="*/ 38 h 57"/>
                <a:gd name="T4" fmla="*/ 0 w 57"/>
                <a:gd name="T5" fmla="*/ 38 h 57"/>
                <a:gd name="T6" fmla="*/ 0 w 57"/>
                <a:gd name="T7" fmla="*/ 29 h 57"/>
                <a:gd name="T8" fmla="*/ 9 w 57"/>
                <a:gd name="T9" fmla="*/ 19 h 57"/>
                <a:gd name="T10" fmla="*/ 9 w 57"/>
                <a:gd name="T11" fmla="*/ 0 h 57"/>
                <a:gd name="T12" fmla="*/ 19 w 57"/>
                <a:gd name="T13" fmla="*/ 0 h 57"/>
                <a:gd name="T14" fmla="*/ 47 w 57"/>
                <a:gd name="T15" fmla="*/ 0 h 57"/>
                <a:gd name="T16" fmla="*/ 57 w 57"/>
                <a:gd name="T17" fmla="*/ 10 h 57"/>
                <a:gd name="T18" fmla="*/ 57 w 57"/>
                <a:gd name="T19" fmla="*/ 10 h 57"/>
                <a:gd name="T20" fmla="*/ 47 w 57"/>
                <a:gd name="T21" fmla="*/ 10 h 57"/>
                <a:gd name="T22" fmla="*/ 47 w 57"/>
                <a:gd name="T23" fmla="*/ 29 h 57"/>
                <a:gd name="T24" fmla="*/ 57 w 57"/>
                <a:gd name="T25" fmla="*/ 38 h 57"/>
                <a:gd name="T26" fmla="*/ 47 w 57"/>
                <a:gd name="T27" fmla="*/ 57 h 57"/>
                <a:gd name="T28" fmla="*/ 38 w 57"/>
                <a:gd name="T29" fmla="*/ 57 h 57"/>
                <a:gd name="T30" fmla="*/ 28 w 57"/>
                <a:gd name="T31" fmla="*/ 48 h 57"/>
                <a:gd name="T32" fmla="*/ 28 w 57"/>
                <a:gd name="T33" fmla="*/ 48 h 57"/>
                <a:gd name="T34" fmla="*/ 28 w 57"/>
                <a:gd name="T35" fmla="*/ 57 h 57"/>
                <a:gd name="T36" fmla="*/ 9 w 57"/>
                <a:gd name="T37" fmla="*/ 57 h 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57"/>
                <a:gd name="T59" fmla="*/ 57 w 57"/>
                <a:gd name="T60" fmla="*/ 57 h 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57">
                  <a:moveTo>
                    <a:pt x="9" y="57"/>
                  </a:moveTo>
                  <a:lnTo>
                    <a:pt x="9" y="38"/>
                  </a:lnTo>
                  <a:lnTo>
                    <a:pt x="0" y="38"/>
                  </a:lnTo>
                  <a:lnTo>
                    <a:pt x="0" y="29"/>
                  </a:lnTo>
                  <a:lnTo>
                    <a:pt x="9" y="19"/>
                  </a:lnTo>
                  <a:lnTo>
                    <a:pt x="9" y="0"/>
                  </a:lnTo>
                  <a:lnTo>
                    <a:pt x="19" y="0"/>
                  </a:lnTo>
                  <a:lnTo>
                    <a:pt x="47" y="0"/>
                  </a:lnTo>
                  <a:lnTo>
                    <a:pt x="57" y="10"/>
                  </a:lnTo>
                  <a:lnTo>
                    <a:pt x="47" y="10"/>
                  </a:lnTo>
                  <a:lnTo>
                    <a:pt x="47" y="29"/>
                  </a:lnTo>
                  <a:lnTo>
                    <a:pt x="57" y="38"/>
                  </a:lnTo>
                  <a:lnTo>
                    <a:pt x="47" y="57"/>
                  </a:lnTo>
                  <a:lnTo>
                    <a:pt x="38" y="57"/>
                  </a:lnTo>
                  <a:lnTo>
                    <a:pt x="28" y="48"/>
                  </a:lnTo>
                  <a:lnTo>
                    <a:pt x="28" y="57"/>
                  </a:lnTo>
                  <a:lnTo>
                    <a:pt x="9" y="5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52" name="Freeform 444">
              <a:extLst>
                <a:ext uri="{FF2B5EF4-FFF2-40B4-BE49-F238E27FC236}">
                  <a16:creationId xmlns:a16="http://schemas.microsoft.com/office/drawing/2014/main" id="{47E9D9D0-8EE4-4BA5-982F-8856B5432000}"/>
                </a:ext>
              </a:extLst>
            </p:cNvPr>
            <p:cNvSpPr>
              <a:spLocks/>
            </p:cNvSpPr>
            <p:nvPr/>
          </p:nvSpPr>
          <p:spPr bwMode="gray">
            <a:xfrm>
              <a:off x="1953" y="2796"/>
              <a:ext cx="48" cy="47"/>
            </a:xfrm>
            <a:custGeom>
              <a:avLst/>
              <a:gdLst>
                <a:gd name="T0" fmla="*/ 0 w 48"/>
                <a:gd name="T1" fmla="*/ 38 h 47"/>
                <a:gd name="T2" fmla="*/ 10 w 48"/>
                <a:gd name="T3" fmla="*/ 28 h 47"/>
                <a:gd name="T4" fmla="*/ 0 w 48"/>
                <a:gd name="T5" fmla="*/ 19 h 47"/>
                <a:gd name="T6" fmla="*/ 10 w 48"/>
                <a:gd name="T7" fmla="*/ 0 h 47"/>
                <a:gd name="T8" fmla="*/ 10 w 48"/>
                <a:gd name="T9" fmla="*/ 0 h 47"/>
                <a:gd name="T10" fmla="*/ 10 w 48"/>
                <a:gd name="T11" fmla="*/ 0 h 47"/>
                <a:gd name="T12" fmla="*/ 19 w 48"/>
                <a:gd name="T13" fmla="*/ 0 h 47"/>
                <a:gd name="T14" fmla="*/ 29 w 48"/>
                <a:gd name="T15" fmla="*/ 0 h 47"/>
                <a:gd name="T16" fmla="*/ 48 w 48"/>
                <a:gd name="T17" fmla="*/ 9 h 47"/>
                <a:gd name="T18" fmla="*/ 38 w 48"/>
                <a:gd name="T19" fmla="*/ 28 h 47"/>
                <a:gd name="T20" fmla="*/ 38 w 48"/>
                <a:gd name="T21" fmla="*/ 38 h 47"/>
                <a:gd name="T22" fmla="*/ 29 w 48"/>
                <a:gd name="T23" fmla="*/ 47 h 47"/>
                <a:gd name="T24" fmla="*/ 10 w 48"/>
                <a:gd name="T25" fmla="*/ 47 h 47"/>
                <a:gd name="T26" fmla="*/ 0 w 48"/>
                <a:gd name="T27" fmla="*/ 38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8"/>
                <a:gd name="T43" fmla="*/ 0 h 47"/>
                <a:gd name="T44" fmla="*/ 48 w 48"/>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8" h="47">
                  <a:moveTo>
                    <a:pt x="0" y="38"/>
                  </a:moveTo>
                  <a:lnTo>
                    <a:pt x="10" y="28"/>
                  </a:lnTo>
                  <a:lnTo>
                    <a:pt x="0" y="19"/>
                  </a:lnTo>
                  <a:lnTo>
                    <a:pt x="10" y="0"/>
                  </a:lnTo>
                  <a:lnTo>
                    <a:pt x="19" y="0"/>
                  </a:lnTo>
                  <a:lnTo>
                    <a:pt x="29" y="0"/>
                  </a:lnTo>
                  <a:lnTo>
                    <a:pt x="48" y="9"/>
                  </a:lnTo>
                  <a:lnTo>
                    <a:pt x="38" y="28"/>
                  </a:lnTo>
                  <a:lnTo>
                    <a:pt x="38" y="38"/>
                  </a:lnTo>
                  <a:lnTo>
                    <a:pt x="29" y="47"/>
                  </a:lnTo>
                  <a:lnTo>
                    <a:pt x="10" y="47"/>
                  </a:lnTo>
                  <a:lnTo>
                    <a:pt x="0"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53" name="Freeform 445">
              <a:extLst>
                <a:ext uri="{FF2B5EF4-FFF2-40B4-BE49-F238E27FC236}">
                  <a16:creationId xmlns:a16="http://schemas.microsoft.com/office/drawing/2014/main" id="{222C4EBC-B7DA-47B7-8E14-6A654FEF4F9C}"/>
                </a:ext>
              </a:extLst>
            </p:cNvPr>
            <p:cNvSpPr>
              <a:spLocks/>
            </p:cNvSpPr>
            <p:nvPr/>
          </p:nvSpPr>
          <p:spPr bwMode="gray">
            <a:xfrm>
              <a:off x="1639" y="3111"/>
              <a:ext cx="124" cy="591"/>
            </a:xfrm>
            <a:custGeom>
              <a:avLst/>
              <a:gdLst>
                <a:gd name="T0" fmla="*/ 86 w 124"/>
                <a:gd name="T1" fmla="*/ 572 h 591"/>
                <a:gd name="T2" fmla="*/ 76 w 124"/>
                <a:gd name="T3" fmla="*/ 582 h 591"/>
                <a:gd name="T4" fmla="*/ 57 w 124"/>
                <a:gd name="T5" fmla="*/ 591 h 591"/>
                <a:gd name="T6" fmla="*/ 57 w 124"/>
                <a:gd name="T7" fmla="*/ 582 h 591"/>
                <a:gd name="T8" fmla="*/ 57 w 124"/>
                <a:gd name="T9" fmla="*/ 572 h 591"/>
                <a:gd name="T10" fmla="*/ 28 w 124"/>
                <a:gd name="T11" fmla="*/ 582 h 591"/>
                <a:gd name="T12" fmla="*/ 47 w 124"/>
                <a:gd name="T13" fmla="*/ 563 h 591"/>
                <a:gd name="T14" fmla="*/ 38 w 124"/>
                <a:gd name="T15" fmla="*/ 563 h 591"/>
                <a:gd name="T16" fmla="*/ 19 w 124"/>
                <a:gd name="T17" fmla="*/ 543 h 591"/>
                <a:gd name="T18" fmla="*/ 19 w 124"/>
                <a:gd name="T19" fmla="*/ 534 h 591"/>
                <a:gd name="T20" fmla="*/ 19 w 124"/>
                <a:gd name="T21" fmla="*/ 505 h 591"/>
                <a:gd name="T22" fmla="*/ 19 w 124"/>
                <a:gd name="T23" fmla="*/ 486 h 591"/>
                <a:gd name="T24" fmla="*/ 19 w 124"/>
                <a:gd name="T25" fmla="*/ 486 h 591"/>
                <a:gd name="T26" fmla="*/ 28 w 124"/>
                <a:gd name="T27" fmla="*/ 496 h 591"/>
                <a:gd name="T28" fmla="*/ 19 w 124"/>
                <a:gd name="T29" fmla="*/ 486 h 591"/>
                <a:gd name="T30" fmla="*/ 19 w 124"/>
                <a:gd name="T31" fmla="*/ 477 h 591"/>
                <a:gd name="T32" fmla="*/ 9 w 124"/>
                <a:gd name="T33" fmla="*/ 467 h 591"/>
                <a:gd name="T34" fmla="*/ 0 w 124"/>
                <a:gd name="T35" fmla="*/ 467 h 591"/>
                <a:gd name="T36" fmla="*/ 19 w 124"/>
                <a:gd name="T37" fmla="*/ 458 h 591"/>
                <a:gd name="T38" fmla="*/ 28 w 124"/>
                <a:gd name="T39" fmla="*/ 467 h 591"/>
                <a:gd name="T40" fmla="*/ 38 w 124"/>
                <a:gd name="T41" fmla="*/ 448 h 591"/>
                <a:gd name="T42" fmla="*/ 47 w 124"/>
                <a:gd name="T43" fmla="*/ 439 h 591"/>
                <a:gd name="T44" fmla="*/ 38 w 124"/>
                <a:gd name="T45" fmla="*/ 419 h 591"/>
                <a:gd name="T46" fmla="*/ 47 w 124"/>
                <a:gd name="T47" fmla="*/ 391 h 591"/>
                <a:gd name="T48" fmla="*/ 38 w 124"/>
                <a:gd name="T49" fmla="*/ 372 h 591"/>
                <a:gd name="T50" fmla="*/ 28 w 124"/>
                <a:gd name="T51" fmla="*/ 362 h 591"/>
                <a:gd name="T52" fmla="*/ 38 w 124"/>
                <a:gd name="T53" fmla="*/ 324 h 591"/>
                <a:gd name="T54" fmla="*/ 38 w 124"/>
                <a:gd name="T55" fmla="*/ 295 h 591"/>
                <a:gd name="T56" fmla="*/ 47 w 124"/>
                <a:gd name="T57" fmla="*/ 267 h 591"/>
                <a:gd name="T58" fmla="*/ 67 w 124"/>
                <a:gd name="T59" fmla="*/ 229 h 591"/>
                <a:gd name="T60" fmla="*/ 67 w 124"/>
                <a:gd name="T61" fmla="*/ 181 h 591"/>
                <a:gd name="T62" fmla="*/ 76 w 124"/>
                <a:gd name="T63" fmla="*/ 124 h 591"/>
                <a:gd name="T64" fmla="*/ 76 w 124"/>
                <a:gd name="T65" fmla="*/ 76 h 591"/>
                <a:gd name="T66" fmla="*/ 76 w 124"/>
                <a:gd name="T67" fmla="*/ 19 h 591"/>
                <a:gd name="T68" fmla="*/ 105 w 124"/>
                <a:gd name="T69" fmla="*/ 19 h 591"/>
                <a:gd name="T70" fmla="*/ 124 w 124"/>
                <a:gd name="T71" fmla="*/ 76 h 591"/>
                <a:gd name="T72" fmla="*/ 114 w 124"/>
                <a:gd name="T73" fmla="*/ 95 h 591"/>
                <a:gd name="T74" fmla="*/ 114 w 124"/>
                <a:gd name="T75" fmla="*/ 133 h 591"/>
                <a:gd name="T76" fmla="*/ 86 w 124"/>
                <a:gd name="T77" fmla="*/ 181 h 591"/>
                <a:gd name="T78" fmla="*/ 86 w 124"/>
                <a:gd name="T79" fmla="*/ 257 h 591"/>
                <a:gd name="T80" fmla="*/ 67 w 124"/>
                <a:gd name="T81" fmla="*/ 295 h 591"/>
                <a:gd name="T82" fmla="*/ 57 w 124"/>
                <a:gd name="T83" fmla="*/ 362 h 591"/>
                <a:gd name="T84" fmla="*/ 57 w 124"/>
                <a:gd name="T85" fmla="*/ 410 h 591"/>
                <a:gd name="T86" fmla="*/ 57 w 124"/>
                <a:gd name="T87" fmla="*/ 439 h 591"/>
                <a:gd name="T88" fmla="*/ 57 w 124"/>
                <a:gd name="T89" fmla="*/ 477 h 591"/>
                <a:gd name="T90" fmla="*/ 47 w 124"/>
                <a:gd name="T91" fmla="*/ 496 h 591"/>
                <a:gd name="T92" fmla="*/ 38 w 124"/>
                <a:gd name="T93" fmla="*/ 534 h 591"/>
                <a:gd name="T94" fmla="*/ 47 w 124"/>
                <a:gd name="T95" fmla="*/ 553 h 591"/>
                <a:gd name="T96" fmla="*/ 95 w 124"/>
                <a:gd name="T97" fmla="*/ 563 h 59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4"/>
                <a:gd name="T148" fmla="*/ 0 h 591"/>
                <a:gd name="T149" fmla="*/ 124 w 124"/>
                <a:gd name="T150" fmla="*/ 591 h 59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4" h="591">
                  <a:moveTo>
                    <a:pt x="95" y="563"/>
                  </a:moveTo>
                  <a:lnTo>
                    <a:pt x="86" y="572"/>
                  </a:lnTo>
                  <a:lnTo>
                    <a:pt x="76" y="572"/>
                  </a:lnTo>
                  <a:lnTo>
                    <a:pt x="67" y="572"/>
                  </a:lnTo>
                  <a:lnTo>
                    <a:pt x="76" y="582"/>
                  </a:lnTo>
                  <a:lnTo>
                    <a:pt x="67" y="582"/>
                  </a:lnTo>
                  <a:lnTo>
                    <a:pt x="67" y="591"/>
                  </a:lnTo>
                  <a:lnTo>
                    <a:pt x="57" y="591"/>
                  </a:lnTo>
                  <a:lnTo>
                    <a:pt x="47" y="591"/>
                  </a:lnTo>
                  <a:lnTo>
                    <a:pt x="47" y="582"/>
                  </a:lnTo>
                  <a:lnTo>
                    <a:pt x="57" y="582"/>
                  </a:lnTo>
                  <a:lnTo>
                    <a:pt x="67" y="582"/>
                  </a:lnTo>
                  <a:lnTo>
                    <a:pt x="67" y="572"/>
                  </a:lnTo>
                  <a:lnTo>
                    <a:pt x="57" y="572"/>
                  </a:lnTo>
                  <a:lnTo>
                    <a:pt x="47" y="572"/>
                  </a:lnTo>
                  <a:lnTo>
                    <a:pt x="38" y="582"/>
                  </a:lnTo>
                  <a:lnTo>
                    <a:pt x="28" y="582"/>
                  </a:lnTo>
                  <a:lnTo>
                    <a:pt x="28" y="563"/>
                  </a:lnTo>
                  <a:lnTo>
                    <a:pt x="38" y="563"/>
                  </a:lnTo>
                  <a:lnTo>
                    <a:pt x="47" y="563"/>
                  </a:lnTo>
                  <a:lnTo>
                    <a:pt x="38" y="563"/>
                  </a:lnTo>
                  <a:lnTo>
                    <a:pt x="28" y="563"/>
                  </a:lnTo>
                  <a:lnTo>
                    <a:pt x="28" y="543"/>
                  </a:lnTo>
                  <a:lnTo>
                    <a:pt x="19" y="543"/>
                  </a:lnTo>
                  <a:lnTo>
                    <a:pt x="28" y="543"/>
                  </a:lnTo>
                  <a:lnTo>
                    <a:pt x="28" y="534"/>
                  </a:lnTo>
                  <a:lnTo>
                    <a:pt x="19" y="534"/>
                  </a:lnTo>
                  <a:lnTo>
                    <a:pt x="19" y="524"/>
                  </a:lnTo>
                  <a:lnTo>
                    <a:pt x="19" y="515"/>
                  </a:lnTo>
                  <a:lnTo>
                    <a:pt x="19" y="505"/>
                  </a:lnTo>
                  <a:lnTo>
                    <a:pt x="19" y="496"/>
                  </a:lnTo>
                  <a:lnTo>
                    <a:pt x="19" y="486"/>
                  </a:lnTo>
                  <a:lnTo>
                    <a:pt x="28" y="496"/>
                  </a:lnTo>
                  <a:lnTo>
                    <a:pt x="28" y="486"/>
                  </a:lnTo>
                  <a:lnTo>
                    <a:pt x="19" y="486"/>
                  </a:lnTo>
                  <a:lnTo>
                    <a:pt x="19" y="477"/>
                  </a:lnTo>
                  <a:lnTo>
                    <a:pt x="19" y="467"/>
                  </a:lnTo>
                  <a:lnTo>
                    <a:pt x="9" y="467"/>
                  </a:lnTo>
                  <a:lnTo>
                    <a:pt x="0" y="467"/>
                  </a:lnTo>
                  <a:lnTo>
                    <a:pt x="9" y="458"/>
                  </a:lnTo>
                  <a:lnTo>
                    <a:pt x="9" y="448"/>
                  </a:lnTo>
                  <a:lnTo>
                    <a:pt x="19" y="458"/>
                  </a:lnTo>
                  <a:lnTo>
                    <a:pt x="19" y="467"/>
                  </a:lnTo>
                  <a:lnTo>
                    <a:pt x="28" y="467"/>
                  </a:lnTo>
                  <a:lnTo>
                    <a:pt x="28" y="458"/>
                  </a:lnTo>
                  <a:lnTo>
                    <a:pt x="28" y="448"/>
                  </a:lnTo>
                  <a:lnTo>
                    <a:pt x="38" y="448"/>
                  </a:lnTo>
                  <a:lnTo>
                    <a:pt x="38" y="439"/>
                  </a:lnTo>
                  <a:lnTo>
                    <a:pt x="47" y="439"/>
                  </a:lnTo>
                  <a:lnTo>
                    <a:pt x="47" y="429"/>
                  </a:lnTo>
                  <a:lnTo>
                    <a:pt x="38" y="429"/>
                  </a:lnTo>
                  <a:lnTo>
                    <a:pt x="38" y="419"/>
                  </a:lnTo>
                  <a:lnTo>
                    <a:pt x="47" y="410"/>
                  </a:lnTo>
                  <a:lnTo>
                    <a:pt x="38" y="391"/>
                  </a:lnTo>
                  <a:lnTo>
                    <a:pt x="47" y="391"/>
                  </a:lnTo>
                  <a:lnTo>
                    <a:pt x="47" y="381"/>
                  </a:lnTo>
                  <a:lnTo>
                    <a:pt x="38" y="372"/>
                  </a:lnTo>
                  <a:lnTo>
                    <a:pt x="38" y="381"/>
                  </a:lnTo>
                  <a:lnTo>
                    <a:pt x="28" y="372"/>
                  </a:lnTo>
                  <a:lnTo>
                    <a:pt x="28" y="362"/>
                  </a:lnTo>
                  <a:lnTo>
                    <a:pt x="28" y="343"/>
                  </a:lnTo>
                  <a:lnTo>
                    <a:pt x="38" y="343"/>
                  </a:lnTo>
                  <a:lnTo>
                    <a:pt x="38" y="324"/>
                  </a:lnTo>
                  <a:lnTo>
                    <a:pt x="28" y="314"/>
                  </a:lnTo>
                  <a:lnTo>
                    <a:pt x="28" y="295"/>
                  </a:lnTo>
                  <a:lnTo>
                    <a:pt x="38" y="295"/>
                  </a:lnTo>
                  <a:lnTo>
                    <a:pt x="38" y="286"/>
                  </a:lnTo>
                  <a:lnTo>
                    <a:pt x="47" y="276"/>
                  </a:lnTo>
                  <a:lnTo>
                    <a:pt x="47" y="267"/>
                  </a:lnTo>
                  <a:lnTo>
                    <a:pt x="47" y="257"/>
                  </a:lnTo>
                  <a:lnTo>
                    <a:pt x="57" y="238"/>
                  </a:lnTo>
                  <a:lnTo>
                    <a:pt x="67" y="229"/>
                  </a:lnTo>
                  <a:lnTo>
                    <a:pt x="67" y="209"/>
                  </a:lnTo>
                  <a:lnTo>
                    <a:pt x="57" y="190"/>
                  </a:lnTo>
                  <a:lnTo>
                    <a:pt x="67" y="181"/>
                  </a:lnTo>
                  <a:lnTo>
                    <a:pt x="67" y="171"/>
                  </a:lnTo>
                  <a:lnTo>
                    <a:pt x="67" y="162"/>
                  </a:lnTo>
                  <a:lnTo>
                    <a:pt x="76" y="124"/>
                  </a:lnTo>
                  <a:lnTo>
                    <a:pt x="76" y="114"/>
                  </a:lnTo>
                  <a:lnTo>
                    <a:pt x="76" y="76"/>
                  </a:lnTo>
                  <a:lnTo>
                    <a:pt x="86" y="38"/>
                  </a:lnTo>
                  <a:lnTo>
                    <a:pt x="76" y="38"/>
                  </a:lnTo>
                  <a:lnTo>
                    <a:pt x="76" y="19"/>
                  </a:lnTo>
                  <a:lnTo>
                    <a:pt x="95" y="0"/>
                  </a:lnTo>
                  <a:lnTo>
                    <a:pt x="95" y="9"/>
                  </a:lnTo>
                  <a:lnTo>
                    <a:pt x="105" y="19"/>
                  </a:lnTo>
                  <a:lnTo>
                    <a:pt x="105" y="38"/>
                  </a:lnTo>
                  <a:lnTo>
                    <a:pt x="114" y="76"/>
                  </a:lnTo>
                  <a:lnTo>
                    <a:pt x="124" y="76"/>
                  </a:lnTo>
                  <a:lnTo>
                    <a:pt x="124" y="85"/>
                  </a:lnTo>
                  <a:lnTo>
                    <a:pt x="124" y="95"/>
                  </a:lnTo>
                  <a:lnTo>
                    <a:pt x="114" y="95"/>
                  </a:lnTo>
                  <a:lnTo>
                    <a:pt x="105" y="104"/>
                  </a:lnTo>
                  <a:lnTo>
                    <a:pt x="105" y="133"/>
                  </a:lnTo>
                  <a:lnTo>
                    <a:pt x="114" y="133"/>
                  </a:lnTo>
                  <a:lnTo>
                    <a:pt x="95" y="152"/>
                  </a:lnTo>
                  <a:lnTo>
                    <a:pt x="86" y="171"/>
                  </a:lnTo>
                  <a:lnTo>
                    <a:pt x="86" y="181"/>
                  </a:lnTo>
                  <a:lnTo>
                    <a:pt x="76" y="209"/>
                  </a:lnTo>
                  <a:lnTo>
                    <a:pt x="86" y="238"/>
                  </a:lnTo>
                  <a:lnTo>
                    <a:pt x="86" y="257"/>
                  </a:lnTo>
                  <a:lnTo>
                    <a:pt x="76" y="267"/>
                  </a:lnTo>
                  <a:lnTo>
                    <a:pt x="76" y="276"/>
                  </a:lnTo>
                  <a:lnTo>
                    <a:pt x="67" y="295"/>
                  </a:lnTo>
                  <a:lnTo>
                    <a:pt x="67" y="324"/>
                  </a:lnTo>
                  <a:lnTo>
                    <a:pt x="67" y="334"/>
                  </a:lnTo>
                  <a:lnTo>
                    <a:pt x="57" y="362"/>
                  </a:lnTo>
                  <a:lnTo>
                    <a:pt x="57" y="391"/>
                  </a:lnTo>
                  <a:lnTo>
                    <a:pt x="57" y="410"/>
                  </a:lnTo>
                  <a:lnTo>
                    <a:pt x="67" y="429"/>
                  </a:lnTo>
                  <a:lnTo>
                    <a:pt x="57" y="439"/>
                  </a:lnTo>
                  <a:lnTo>
                    <a:pt x="67" y="467"/>
                  </a:lnTo>
                  <a:lnTo>
                    <a:pt x="57" y="477"/>
                  </a:lnTo>
                  <a:lnTo>
                    <a:pt x="47" y="486"/>
                  </a:lnTo>
                  <a:lnTo>
                    <a:pt x="47" y="496"/>
                  </a:lnTo>
                  <a:lnTo>
                    <a:pt x="28" y="515"/>
                  </a:lnTo>
                  <a:lnTo>
                    <a:pt x="28" y="524"/>
                  </a:lnTo>
                  <a:lnTo>
                    <a:pt x="38" y="534"/>
                  </a:lnTo>
                  <a:lnTo>
                    <a:pt x="47" y="534"/>
                  </a:lnTo>
                  <a:lnTo>
                    <a:pt x="47" y="553"/>
                  </a:lnTo>
                  <a:lnTo>
                    <a:pt x="57" y="563"/>
                  </a:lnTo>
                  <a:lnTo>
                    <a:pt x="86" y="563"/>
                  </a:lnTo>
                  <a:lnTo>
                    <a:pt x="95" y="563"/>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54" name="Freeform 446">
              <a:extLst>
                <a:ext uri="{FF2B5EF4-FFF2-40B4-BE49-F238E27FC236}">
                  <a16:creationId xmlns:a16="http://schemas.microsoft.com/office/drawing/2014/main" id="{F5D29D8B-A13A-4073-BC3D-4D4879CC8D48}"/>
                </a:ext>
              </a:extLst>
            </p:cNvPr>
            <p:cNvSpPr>
              <a:spLocks/>
            </p:cNvSpPr>
            <p:nvPr/>
          </p:nvSpPr>
          <p:spPr bwMode="gray">
            <a:xfrm>
              <a:off x="1563" y="2872"/>
              <a:ext cx="181" cy="248"/>
            </a:xfrm>
            <a:custGeom>
              <a:avLst/>
              <a:gdLst>
                <a:gd name="T0" fmla="*/ 0 w 181"/>
                <a:gd name="T1" fmla="*/ 57 h 248"/>
                <a:gd name="T2" fmla="*/ 0 w 181"/>
                <a:gd name="T3" fmla="*/ 67 h 248"/>
                <a:gd name="T4" fmla="*/ 9 w 181"/>
                <a:gd name="T5" fmla="*/ 76 h 248"/>
                <a:gd name="T6" fmla="*/ 9 w 181"/>
                <a:gd name="T7" fmla="*/ 86 h 248"/>
                <a:gd name="T8" fmla="*/ 28 w 181"/>
                <a:gd name="T9" fmla="*/ 105 h 248"/>
                <a:gd name="T10" fmla="*/ 38 w 181"/>
                <a:gd name="T11" fmla="*/ 134 h 248"/>
                <a:gd name="T12" fmla="*/ 47 w 181"/>
                <a:gd name="T13" fmla="*/ 153 h 248"/>
                <a:gd name="T14" fmla="*/ 57 w 181"/>
                <a:gd name="T15" fmla="*/ 172 h 248"/>
                <a:gd name="T16" fmla="*/ 66 w 181"/>
                <a:gd name="T17" fmla="*/ 181 h 248"/>
                <a:gd name="T18" fmla="*/ 85 w 181"/>
                <a:gd name="T19" fmla="*/ 200 h 248"/>
                <a:gd name="T20" fmla="*/ 95 w 181"/>
                <a:gd name="T21" fmla="*/ 219 h 248"/>
                <a:gd name="T22" fmla="*/ 123 w 181"/>
                <a:gd name="T23" fmla="*/ 229 h 248"/>
                <a:gd name="T24" fmla="*/ 162 w 181"/>
                <a:gd name="T25" fmla="*/ 248 h 248"/>
                <a:gd name="T26" fmla="*/ 181 w 181"/>
                <a:gd name="T27" fmla="*/ 219 h 248"/>
                <a:gd name="T28" fmla="*/ 181 w 181"/>
                <a:gd name="T29" fmla="*/ 191 h 248"/>
                <a:gd name="T30" fmla="*/ 181 w 181"/>
                <a:gd name="T31" fmla="*/ 172 h 248"/>
                <a:gd name="T32" fmla="*/ 171 w 181"/>
                <a:gd name="T33" fmla="*/ 153 h 248"/>
                <a:gd name="T34" fmla="*/ 152 w 181"/>
                <a:gd name="T35" fmla="*/ 134 h 248"/>
                <a:gd name="T36" fmla="*/ 123 w 181"/>
                <a:gd name="T37" fmla="*/ 134 h 248"/>
                <a:gd name="T38" fmla="*/ 114 w 181"/>
                <a:gd name="T39" fmla="*/ 114 h 248"/>
                <a:gd name="T40" fmla="*/ 114 w 181"/>
                <a:gd name="T41" fmla="*/ 86 h 248"/>
                <a:gd name="T42" fmla="*/ 133 w 181"/>
                <a:gd name="T43" fmla="*/ 57 h 248"/>
                <a:gd name="T44" fmla="*/ 162 w 181"/>
                <a:gd name="T45" fmla="*/ 57 h 248"/>
                <a:gd name="T46" fmla="*/ 152 w 181"/>
                <a:gd name="T47" fmla="*/ 48 h 248"/>
                <a:gd name="T48" fmla="*/ 143 w 181"/>
                <a:gd name="T49" fmla="*/ 29 h 248"/>
                <a:gd name="T50" fmla="*/ 95 w 181"/>
                <a:gd name="T51" fmla="*/ 0 h 248"/>
                <a:gd name="T52" fmla="*/ 76 w 181"/>
                <a:gd name="T53" fmla="*/ 0 h 248"/>
                <a:gd name="T54" fmla="*/ 85 w 181"/>
                <a:gd name="T55" fmla="*/ 19 h 248"/>
                <a:gd name="T56" fmla="*/ 57 w 181"/>
                <a:gd name="T57" fmla="*/ 38 h 248"/>
                <a:gd name="T58" fmla="*/ 38 w 181"/>
                <a:gd name="T59" fmla="*/ 57 h 248"/>
                <a:gd name="T60" fmla="*/ 19 w 181"/>
                <a:gd name="T61" fmla="*/ 57 h 248"/>
                <a:gd name="T62" fmla="*/ 9 w 181"/>
                <a:gd name="T63" fmla="*/ 48 h 2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1"/>
                <a:gd name="T97" fmla="*/ 0 h 248"/>
                <a:gd name="T98" fmla="*/ 181 w 181"/>
                <a:gd name="T99" fmla="*/ 248 h 2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1" h="248">
                  <a:moveTo>
                    <a:pt x="9" y="48"/>
                  </a:moveTo>
                  <a:lnTo>
                    <a:pt x="0" y="57"/>
                  </a:lnTo>
                  <a:lnTo>
                    <a:pt x="0" y="67"/>
                  </a:lnTo>
                  <a:lnTo>
                    <a:pt x="9" y="76"/>
                  </a:lnTo>
                  <a:lnTo>
                    <a:pt x="0" y="76"/>
                  </a:lnTo>
                  <a:lnTo>
                    <a:pt x="9" y="86"/>
                  </a:lnTo>
                  <a:lnTo>
                    <a:pt x="19" y="86"/>
                  </a:lnTo>
                  <a:lnTo>
                    <a:pt x="28" y="105"/>
                  </a:lnTo>
                  <a:lnTo>
                    <a:pt x="38" y="114"/>
                  </a:lnTo>
                  <a:lnTo>
                    <a:pt x="38" y="134"/>
                  </a:lnTo>
                  <a:lnTo>
                    <a:pt x="47" y="153"/>
                  </a:lnTo>
                  <a:lnTo>
                    <a:pt x="57" y="162"/>
                  </a:lnTo>
                  <a:lnTo>
                    <a:pt x="57" y="172"/>
                  </a:lnTo>
                  <a:lnTo>
                    <a:pt x="66" y="181"/>
                  </a:lnTo>
                  <a:lnTo>
                    <a:pt x="76" y="200"/>
                  </a:lnTo>
                  <a:lnTo>
                    <a:pt x="85" y="200"/>
                  </a:lnTo>
                  <a:lnTo>
                    <a:pt x="85" y="210"/>
                  </a:lnTo>
                  <a:lnTo>
                    <a:pt x="95" y="219"/>
                  </a:lnTo>
                  <a:lnTo>
                    <a:pt x="114" y="219"/>
                  </a:lnTo>
                  <a:lnTo>
                    <a:pt x="123" y="229"/>
                  </a:lnTo>
                  <a:lnTo>
                    <a:pt x="133" y="229"/>
                  </a:lnTo>
                  <a:lnTo>
                    <a:pt x="162" y="248"/>
                  </a:lnTo>
                  <a:lnTo>
                    <a:pt x="171" y="239"/>
                  </a:lnTo>
                  <a:lnTo>
                    <a:pt x="181" y="219"/>
                  </a:lnTo>
                  <a:lnTo>
                    <a:pt x="171" y="200"/>
                  </a:lnTo>
                  <a:lnTo>
                    <a:pt x="181" y="191"/>
                  </a:lnTo>
                  <a:lnTo>
                    <a:pt x="181" y="172"/>
                  </a:lnTo>
                  <a:lnTo>
                    <a:pt x="171" y="153"/>
                  </a:lnTo>
                  <a:lnTo>
                    <a:pt x="152" y="143"/>
                  </a:lnTo>
                  <a:lnTo>
                    <a:pt x="152" y="134"/>
                  </a:lnTo>
                  <a:lnTo>
                    <a:pt x="152" y="124"/>
                  </a:lnTo>
                  <a:lnTo>
                    <a:pt x="123" y="134"/>
                  </a:lnTo>
                  <a:lnTo>
                    <a:pt x="114" y="124"/>
                  </a:lnTo>
                  <a:lnTo>
                    <a:pt x="114" y="114"/>
                  </a:lnTo>
                  <a:lnTo>
                    <a:pt x="104" y="95"/>
                  </a:lnTo>
                  <a:lnTo>
                    <a:pt x="114" y="86"/>
                  </a:lnTo>
                  <a:lnTo>
                    <a:pt x="114" y="76"/>
                  </a:lnTo>
                  <a:lnTo>
                    <a:pt x="133" y="57"/>
                  </a:lnTo>
                  <a:lnTo>
                    <a:pt x="152" y="57"/>
                  </a:lnTo>
                  <a:lnTo>
                    <a:pt x="162" y="57"/>
                  </a:lnTo>
                  <a:lnTo>
                    <a:pt x="162" y="48"/>
                  </a:lnTo>
                  <a:lnTo>
                    <a:pt x="152" y="48"/>
                  </a:lnTo>
                  <a:lnTo>
                    <a:pt x="162" y="29"/>
                  </a:lnTo>
                  <a:lnTo>
                    <a:pt x="143" y="29"/>
                  </a:lnTo>
                  <a:lnTo>
                    <a:pt x="114" y="29"/>
                  </a:lnTo>
                  <a:lnTo>
                    <a:pt x="95" y="0"/>
                  </a:lnTo>
                  <a:lnTo>
                    <a:pt x="76" y="0"/>
                  </a:lnTo>
                  <a:lnTo>
                    <a:pt x="85" y="9"/>
                  </a:lnTo>
                  <a:lnTo>
                    <a:pt x="85" y="19"/>
                  </a:lnTo>
                  <a:lnTo>
                    <a:pt x="66" y="29"/>
                  </a:lnTo>
                  <a:lnTo>
                    <a:pt x="57" y="38"/>
                  </a:lnTo>
                  <a:lnTo>
                    <a:pt x="38" y="57"/>
                  </a:lnTo>
                  <a:lnTo>
                    <a:pt x="28" y="67"/>
                  </a:lnTo>
                  <a:lnTo>
                    <a:pt x="19" y="57"/>
                  </a:lnTo>
                  <a:lnTo>
                    <a:pt x="9" y="57"/>
                  </a:lnTo>
                  <a:lnTo>
                    <a:pt x="9" y="4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55" name="Freeform 447">
              <a:extLst>
                <a:ext uri="{FF2B5EF4-FFF2-40B4-BE49-F238E27FC236}">
                  <a16:creationId xmlns:a16="http://schemas.microsoft.com/office/drawing/2014/main" id="{01413FB9-ED28-43FC-A22A-D033ED34271A}"/>
                </a:ext>
              </a:extLst>
            </p:cNvPr>
            <p:cNvSpPr>
              <a:spLocks/>
            </p:cNvSpPr>
            <p:nvPr/>
          </p:nvSpPr>
          <p:spPr bwMode="gray">
            <a:xfrm>
              <a:off x="1563" y="2872"/>
              <a:ext cx="181" cy="248"/>
            </a:xfrm>
            <a:custGeom>
              <a:avLst/>
              <a:gdLst>
                <a:gd name="T0" fmla="*/ 0 w 181"/>
                <a:gd name="T1" fmla="*/ 57 h 248"/>
                <a:gd name="T2" fmla="*/ 0 w 181"/>
                <a:gd name="T3" fmla="*/ 67 h 248"/>
                <a:gd name="T4" fmla="*/ 9 w 181"/>
                <a:gd name="T5" fmla="*/ 76 h 248"/>
                <a:gd name="T6" fmla="*/ 9 w 181"/>
                <a:gd name="T7" fmla="*/ 86 h 248"/>
                <a:gd name="T8" fmla="*/ 28 w 181"/>
                <a:gd name="T9" fmla="*/ 105 h 248"/>
                <a:gd name="T10" fmla="*/ 38 w 181"/>
                <a:gd name="T11" fmla="*/ 134 h 248"/>
                <a:gd name="T12" fmla="*/ 47 w 181"/>
                <a:gd name="T13" fmla="*/ 153 h 248"/>
                <a:gd name="T14" fmla="*/ 57 w 181"/>
                <a:gd name="T15" fmla="*/ 172 h 248"/>
                <a:gd name="T16" fmla="*/ 66 w 181"/>
                <a:gd name="T17" fmla="*/ 181 h 248"/>
                <a:gd name="T18" fmla="*/ 85 w 181"/>
                <a:gd name="T19" fmla="*/ 200 h 248"/>
                <a:gd name="T20" fmla="*/ 95 w 181"/>
                <a:gd name="T21" fmla="*/ 219 h 248"/>
                <a:gd name="T22" fmla="*/ 123 w 181"/>
                <a:gd name="T23" fmla="*/ 229 h 248"/>
                <a:gd name="T24" fmla="*/ 162 w 181"/>
                <a:gd name="T25" fmla="*/ 248 h 248"/>
                <a:gd name="T26" fmla="*/ 181 w 181"/>
                <a:gd name="T27" fmla="*/ 219 h 248"/>
                <a:gd name="T28" fmla="*/ 181 w 181"/>
                <a:gd name="T29" fmla="*/ 191 h 248"/>
                <a:gd name="T30" fmla="*/ 181 w 181"/>
                <a:gd name="T31" fmla="*/ 172 h 248"/>
                <a:gd name="T32" fmla="*/ 171 w 181"/>
                <a:gd name="T33" fmla="*/ 153 h 248"/>
                <a:gd name="T34" fmla="*/ 152 w 181"/>
                <a:gd name="T35" fmla="*/ 134 h 248"/>
                <a:gd name="T36" fmla="*/ 123 w 181"/>
                <a:gd name="T37" fmla="*/ 134 h 248"/>
                <a:gd name="T38" fmla="*/ 114 w 181"/>
                <a:gd name="T39" fmla="*/ 114 h 248"/>
                <a:gd name="T40" fmla="*/ 114 w 181"/>
                <a:gd name="T41" fmla="*/ 86 h 248"/>
                <a:gd name="T42" fmla="*/ 133 w 181"/>
                <a:gd name="T43" fmla="*/ 57 h 248"/>
                <a:gd name="T44" fmla="*/ 162 w 181"/>
                <a:gd name="T45" fmla="*/ 57 h 248"/>
                <a:gd name="T46" fmla="*/ 152 w 181"/>
                <a:gd name="T47" fmla="*/ 48 h 248"/>
                <a:gd name="T48" fmla="*/ 143 w 181"/>
                <a:gd name="T49" fmla="*/ 29 h 248"/>
                <a:gd name="T50" fmla="*/ 95 w 181"/>
                <a:gd name="T51" fmla="*/ 0 h 248"/>
                <a:gd name="T52" fmla="*/ 76 w 181"/>
                <a:gd name="T53" fmla="*/ 0 h 248"/>
                <a:gd name="T54" fmla="*/ 85 w 181"/>
                <a:gd name="T55" fmla="*/ 19 h 248"/>
                <a:gd name="T56" fmla="*/ 57 w 181"/>
                <a:gd name="T57" fmla="*/ 38 h 248"/>
                <a:gd name="T58" fmla="*/ 38 w 181"/>
                <a:gd name="T59" fmla="*/ 57 h 248"/>
                <a:gd name="T60" fmla="*/ 19 w 181"/>
                <a:gd name="T61" fmla="*/ 57 h 248"/>
                <a:gd name="T62" fmla="*/ 9 w 181"/>
                <a:gd name="T63" fmla="*/ 48 h 2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1"/>
                <a:gd name="T97" fmla="*/ 0 h 248"/>
                <a:gd name="T98" fmla="*/ 181 w 181"/>
                <a:gd name="T99" fmla="*/ 248 h 2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1" h="248">
                  <a:moveTo>
                    <a:pt x="9" y="48"/>
                  </a:moveTo>
                  <a:lnTo>
                    <a:pt x="0" y="57"/>
                  </a:lnTo>
                  <a:lnTo>
                    <a:pt x="0" y="67"/>
                  </a:lnTo>
                  <a:lnTo>
                    <a:pt x="9" y="76"/>
                  </a:lnTo>
                  <a:lnTo>
                    <a:pt x="0" y="76"/>
                  </a:lnTo>
                  <a:lnTo>
                    <a:pt x="9" y="86"/>
                  </a:lnTo>
                  <a:lnTo>
                    <a:pt x="19" y="86"/>
                  </a:lnTo>
                  <a:lnTo>
                    <a:pt x="28" y="105"/>
                  </a:lnTo>
                  <a:lnTo>
                    <a:pt x="38" y="114"/>
                  </a:lnTo>
                  <a:lnTo>
                    <a:pt x="38" y="134"/>
                  </a:lnTo>
                  <a:lnTo>
                    <a:pt x="47" y="153"/>
                  </a:lnTo>
                  <a:lnTo>
                    <a:pt x="57" y="162"/>
                  </a:lnTo>
                  <a:lnTo>
                    <a:pt x="57" y="172"/>
                  </a:lnTo>
                  <a:lnTo>
                    <a:pt x="66" y="181"/>
                  </a:lnTo>
                  <a:lnTo>
                    <a:pt x="76" y="200"/>
                  </a:lnTo>
                  <a:lnTo>
                    <a:pt x="85" y="200"/>
                  </a:lnTo>
                  <a:lnTo>
                    <a:pt x="85" y="210"/>
                  </a:lnTo>
                  <a:lnTo>
                    <a:pt x="95" y="219"/>
                  </a:lnTo>
                  <a:lnTo>
                    <a:pt x="114" y="219"/>
                  </a:lnTo>
                  <a:lnTo>
                    <a:pt x="123" y="229"/>
                  </a:lnTo>
                  <a:lnTo>
                    <a:pt x="133" y="229"/>
                  </a:lnTo>
                  <a:lnTo>
                    <a:pt x="162" y="248"/>
                  </a:lnTo>
                  <a:lnTo>
                    <a:pt x="171" y="239"/>
                  </a:lnTo>
                  <a:lnTo>
                    <a:pt x="181" y="219"/>
                  </a:lnTo>
                  <a:lnTo>
                    <a:pt x="171" y="200"/>
                  </a:lnTo>
                  <a:lnTo>
                    <a:pt x="181" y="191"/>
                  </a:lnTo>
                  <a:lnTo>
                    <a:pt x="181" y="172"/>
                  </a:lnTo>
                  <a:lnTo>
                    <a:pt x="171" y="153"/>
                  </a:lnTo>
                  <a:lnTo>
                    <a:pt x="152" y="143"/>
                  </a:lnTo>
                  <a:lnTo>
                    <a:pt x="152" y="134"/>
                  </a:lnTo>
                  <a:lnTo>
                    <a:pt x="152" y="124"/>
                  </a:lnTo>
                  <a:lnTo>
                    <a:pt x="123" y="134"/>
                  </a:lnTo>
                  <a:lnTo>
                    <a:pt x="114" y="124"/>
                  </a:lnTo>
                  <a:lnTo>
                    <a:pt x="114" y="114"/>
                  </a:lnTo>
                  <a:lnTo>
                    <a:pt x="104" y="95"/>
                  </a:lnTo>
                  <a:lnTo>
                    <a:pt x="114" y="86"/>
                  </a:lnTo>
                  <a:lnTo>
                    <a:pt x="114" y="76"/>
                  </a:lnTo>
                  <a:lnTo>
                    <a:pt x="133" y="57"/>
                  </a:lnTo>
                  <a:lnTo>
                    <a:pt x="152" y="57"/>
                  </a:lnTo>
                  <a:lnTo>
                    <a:pt x="162" y="57"/>
                  </a:lnTo>
                  <a:lnTo>
                    <a:pt x="162" y="48"/>
                  </a:lnTo>
                  <a:lnTo>
                    <a:pt x="152" y="48"/>
                  </a:lnTo>
                  <a:lnTo>
                    <a:pt x="162" y="29"/>
                  </a:lnTo>
                  <a:lnTo>
                    <a:pt x="143" y="29"/>
                  </a:lnTo>
                  <a:lnTo>
                    <a:pt x="114" y="29"/>
                  </a:lnTo>
                  <a:lnTo>
                    <a:pt x="95" y="0"/>
                  </a:lnTo>
                  <a:lnTo>
                    <a:pt x="76" y="0"/>
                  </a:lnTo>
                  <a:lnTo>
                    <a:pt x="85" y="9"/>
                  </a:lnTo>
                  <a:lnTo>
                    <a:pt x="85" y="19"/>
                  </a:lnTo>
                  <a:lnTo>
                    <a:pt x="66" y="29"/>
                  </a:lnTo>
                  <a:lnTo>
                    <a:pt x="57" y="38"/>
                  </a:lnTo>
                  <a:lnTo>
                    <a:pt x="38" y="57"/>
                  </a:lnTo>
                  <a:lnTo>
                    <a:pt x="28" y="67"/>
                  </a:lnTo>
                  <a:lnTo>
                    <a:pt x="19" y="57"/>
                  </a:lnTo>
                  <a:lnTo>
                    <a:pt x="9" y="57"/>
                  </a:lnTo>
                  <a:lnTo>
                    <a:pt x="9" y="4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56" name="Freeform 448">
              <a:extLst>
                <a:ext uri="{FF2B5EF4-FFF2-40B4-BE49-F238E27FC236}">
                  <a16:creationId xmlns:a16="http://schemas.microsoft.com/office/drawing/2014/main" id="{27B108E4-2150-461E-8D70-C7C169EDF782}"/>
                </a:ext>
              </a:extLst>
            </p:cNvPr>
            <p:cNvSpPr>
              <a:spLocks/>
            </p:cNvSpPr>
            <p:nvPr/>
          </p:nvSpPr>
          <p:spPr bwMode="gray">
            <a:xfrm>
              <a:off x="1572" y="2853"/>
              <a:ext cx="76" cy="86"/>
            </a:xfrm>
            <a:custGeom>
              <a:avLst/>
              <a:gdLst>
                <a:gd name="T0" fmla="*/ 67 w 76"/>
                <a:gd name="T1" fmla="*/ 19 h 86"/>
                <a:gd name="T2" fmla="*/ 76 w 76"/>
                <a:gd name="T3" fmla="*/ 28 h 86"/>
                <a:gd name="T4" fmla="*/ 76 w 76"/>
                <a:gd name="T5" fmla="*/ 38 h 86"/>
                <a:gd name="T6" fmla="*/ 57 w 76"/>
                <a:gd name="T7" fmla="*/ 48 h 86"/>
                <a:gd name="T8" fmla="*/ 48 w 76"/>
                <a:gd name="T9" fmla="*/ 57 h 86"/>
                <a:gd name="T10" fmla="*/ 29 w 76"/>
                <a:gd name="T11" fmla="*/ 76 h 86"/>
                <a:gd name="T12" fmla="*/ 29 w 76"/>
                <a:gd name="T13" fmla="*/ 76 h 86"/>
                <a:gd name="T14" fmla="*/ 19 w 76"/>
                <a:gd name="T15" fmla="*/ 86 h 86"/>
                <a:gd name="T16" fmla="*/ 10 w 76"/>
                <a:gd name="T17" fmla="*/ 76 h 86"/>
                <a:gd name="T18" fmla="*/ 0 w 76"/>
                <a:gd name="T19" fmla="*/ 76 h 86"/>
                <a:gd name="T20" fmla="*/ 0 w 76"/>
                <a:gd name="T21" fmla="*/ 67 h 86"/>
                <a:gd name="T22" fmla="*/ 0 w 76"/>
                <a:gd name="T23" fmla="*/ 67 h 86"/>
                <a:gd name="T24" fmla="*/ 10 w 76"/>
                <a:gd name="T25" fmla="*/ 67 h 86"/>
                <a:gd name="T26" fmla="*/ 10 w 76"/>
                <a:gd name="T27" fmla="*/ 57 h 86"/>
                <a:gd name="T28" fmla="*/ 19 w 76"/>
                <a:gd name="T29" fmla="*/ 57 h 86"/>
                <a:gd name="T30" fmla="*/ 10 w 76"/>
                <a:gd name="T31" fmla="*/ 48 h 86"/>
                <a:gd name="T32" fmla="*/ 10 w 76"/>
                <a:gd name="T33" fmla="*/ 48 h 86"/>
                <a:gd name="T34" fmla="*/ 0 w 76"/>
                <a:gd name="T35" fmla="*/ 48 h 86"/>
                <a:gd name="T36" fmla="*/ 0 w 76"/>
                <a:gd name="T37" fmla="*/ 48 h 86"/>
                <a:gd name="T38" fmla="*/ 0 w 76"/>
                <a:gd name="T39" fmla="*/ 28 h 86"/>
                <a:gd name="T40" fmla="*/ 10 w 76"/>
                <a:gd name="T41" fmla="*/ 19 h 86"/>
                <a:gd name="T42" fmla="*/ 10 w 76"/>
                <a:gd name="T43" fmla="*/ 9 h 86"/>
                <a:gd name="T44" fmla="*/ 10 w 76"/>
                <a:gd name="T45" fmla="*/ 0 h 86"/>
                <a:gd name="T46" fmla="*/ 19 w 76"/>
                <a:gd name="T47" fmla="*/ 0 h 86"/>
                <a:gd name="T48" fmla="*/ 29 w 76"/>
                <a:gd name="T49" fmla="*/ 0 h 86"/>
                <a:gd name="T50" fmla="*/ 38 w 76"/>
                <a:gd name="T51" fmla="*/ 9 h 86"/>
                <a:gd name="T52" fmla="*/ 38 w 76"/>
                <a:gd name="T53" fmla="*/ 19 h 86"/>
                <a:gd name="T54" fmla="*/ 38 w 76"/>
                <a:gd name="T55" fmla="*/ 19 h 86"/>
                <a:gd name="T56" fmla="*/ 48 w 76"/>
                <a:gd name="T57" fmla="*/ 19 h 86"/>
                <a:gd name="T58" fmla="*/ 57 w 76"/>
                <a:gd name="T59" fmla="*/ 19 h 86"/>
                <a:gd name="T60" fmla="*/ 67 w 76"/>
                <a:gd name="T61" fmla="*/ 19 h 8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6"/>
                <a:gd name="T94" fmla="*/ 0 h 86"/>
                <a:gd name="T95" fmla="*/ 76 w 76"/>
                <a:gd name="T96" fmla="*/ 86 h 8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6" h="86">
                  <a:moveTo>
                    <a:pt x="67" y="19"/>
                  </a:moveTo>
                  <a:lnTo>
                    <a:pt x="76" y="28"/>
                  </a:lnTo>
                  <a:lnTo>
                    <a:pt x="76" y="38"/>
                  </a:lnTo>
                  <a:lnTo>
                    <a:pt x="57" y="48"/>
                  </a:lnTo>
                  <a:lnTo>
                    <a:pt x="48" y="57"/>
                  </a:lnTo>
                  <a:lnTo>
                    <a:pt x="29" y="76"/>
                  </a:lnTo>
                  <a:lnTo>
                    <a:pt x="19" y="86"/>
                  </a:lnTo>
                  <a:lnTo>
                    <a:pt x="10" y="76"/>
                  </a:lnTo>
                  <a:lnTo>
                    <a:pt x="0" y="76"/>
                  </a:lnTo>
                  <a:lnTo>
                    <a:pt x="0" y="67"/>
                  </a:lnTo>
                  <a:lnTo>
                    <a:pt x="10" y="67"/>
                  </a:lnTo>
                  <a:lnTo>
                    <a:pt x="10" y="57"/>
                  </a:lnTo>
                  <a:lnTo>
                    <a:pt x="19" y="57"/>
                  </a:lnTo>
                  <a:lnTo>
                    <a:pt x="10" y="48"/>
                  </a:lnTo>
                  <a:lnTo>
                    <a:pt x="0" y="48"/>
                  </a:lnTo>
                  <a:lnTo>
                    <a:pt x="0" y="28"/>
                  </a:lnTo>
                  <a:lnTo>
                    <a:pt x="10" y="19"/>
                  </a:lnTo>
                  <a:lnTo>
                    <a:pt x="10" y="9"/>
                  </a:lnTo>
                  <a:lnTo>
                    <a:pt x="10" y="0"/>
                  </a:lnTo>
                  <a:lnTo>
                    <a:pt x="19" y="0"/>
                  </a:lnTo>
                  <a:lnTo>
                    <a:pt x="29" y="0"/>
                  </a:lnTo>
                  <a:lnTo>
                    <a:pt x="38" y="9"/>
                  </a:lnTo>
                  <a:lnTo>
                    <a:pt x="38" y="19"/>
                  </a:lnTo>
                  <a:lnTo>
                    <a:pt x="48" y="19"/>
                  </a:lnTo>
                  <a:lnTo>
                    <a:pt x="57" y="19"/>
                  </a:lnTo>
                  <a:lnTo>
                    <a:pt x="67"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57" name="Freeform 449">
              <a:extLst>
                <a:ext uri="{FF2B5EF4-FFF2-40B4-BE49-F238E27FC236}">
                  <a16:creationId xmlns:a16="http://schemas.microsoft.com/office/drawing/2014/main" id="{18E06B71-9818-4F0F-AD2E-D91E3FA779EE}"/>
                </a:ext>
              </a:extLst>
            </p:cNvPr>
            <p:cNvSpPr>
              <a:spLocks/>
            </p:cNvSpPr>
            <p:nvPr/>
          </p:nvSpPr>
          <p:spPr bwMode="gray">
            <a:xfrm>
              <a:off x="1572" y="2853"/>
              <a:ext cx="76" cy="86"/>
            </a:xfrm>
            <a:custGeom>
              <a:avLst/>
              <a:gdLst>
                <a:gd name="T0" fmla="*/ 67 w 76"/>
                <a:gd name="T1" fmla="*/ 19 h 86"/>
                <a:gd name="T2" fmla="*/ 76 w 76"/>
                <a:gd name="T3" fmla="*/ 28 h 86"/>
                <a:gd name="T4" fmla="*/ 76 w 76"/>
                <a:gd name="T5" fmla="*/ 38 h 86"/>
                <a:gd name="T6" fmla="*/ 57 w 76"/>
                <a:gd name="T7" fmla="*/ 48 h 86"/>
                <a:gd name="T8" fmla="*/ 48 w 76"/>
                <a:gd name="T9" fmla="*/ 57 h 86"/>
                <a:gd name="T10" fmla="*/ 29 w 76"/>
                <a:gd name="T11" fmla="*/ 76 h 86"/>
                <a:gd name="T12" fmla="*/ 29 w 76"/>
                <a:gd name="T13" fmla="*/ 76 h 86"/>
                <a:gd name="T14" fmla="*/ 19 w 76"/>
                <a:gd name="T15" fmla="*/ 86 h 86"/>
                <a:gd name="T16" fmla="*/ 10 w 76"/>
                <a:gd name="T17" fmla="*/ 76 h 86"/>
                <a:gd name="T18" fmla="*/ 0 w 76"/>
                <a:gd name="T19" fmla="*/ 76 h 86"/>
                <a:gd name="T20" fmla="*/ 0 w 76"/>
                <a:gd name="T21" fmla="*/ 67 h 86"/>
                <a:gd name="T22" fmla="*/ 0 w 76"/>
                <a:gd name="T23" fmla="*/ 67 h 86"/>
                <a:gd name="T24" fmla="*/ 10 w 76"/>
                <a:gd name="T25" fmla="*/ 67 h 86"/>
                <a:gd name="T26" fmla="*/ 10 w 76"/>
                <a:gd name="T27" fmla="*/ 57 h 86"/>
                <a:gd name="T28" fmla="*/ 19 w 76"/>
                <a:gd name="T29" fmla="*/ 57 h 86"/>
                <a:gd name="T30" fmla="*/ 10 w 76"/>
                <a:gd name="T31" fmla="*/ 48 h 86"/>
                <a:gd name="T32" fmla="*/ 10 w 76"/>
                <a:gd name="T33" fmla="*/ 48 h 86"/>
                <a:gd name="T34" fmla="*/ 0 w 76"/>
                <a:gd name="T35" fmla="*/ 48 h 86"/>
                <a:gd name="T36" fmla="*/ 0 w 76"/>
                <a:gd name="T37" fmla="*/ 48 h 86"/>
                <a:gd name="T38" fmla="*/ 0 w 76"/>
                <a:gd name="T39" fmla="*/ 28 h 86"/>
                <a:gd name="T40" fmla="*/ 10 w 76"/>
                <a:gd name="T41" fmla="*/ 19 h 86"/>
                <a:gd name="T42" fmla="*/ 10 w 76"/>
                <a:gd name="T43" fmla="*/ 9 h 86"/>
                <a:gd name="T44" fmla="*/ 10 w 76"/>
                <a:gd name="T45" fmla="*/ 0 h 86"/>
                <a:gd name="T46" fmla="*/ 19 w 76"/>
                <a:gd name="T47" fmla="*/ 0 h 86"/>
                <a:gd name="T48" fmla="*/ 29 w 76"/>
                <a:gd name="T49" fmla="*/ 0 h 86"/>
                <a:gd name="T50" fmla="*/ 38 w 76"/>
                <a:gd name="T51" fmla="*/ 9 h 86"/>
                <a:gd name="T52" fmla="*/ 38 w 76"/>
                <a:gd name="T53" fmla="*/ 19 h 86"/>
                <a:gd name="T54" fmla="*/ 38 w 76"/>
                <a:gd name="T55" fmla="*/ 19 h 86"/>
                <a:gd name="T56" fmla="*/ 48 w 76"/>
                <a:gd name="T57" fmla="*/ 19 h 86"/>
                <a:gd name="T58" fmla="*/ 57 w 76"/>
                <a:gd name="T59" fmla="*/ 19 h 86"/>
                <a:gd name="T60" fmla="*/ 67 w 76"/>
                <a:gd name="T61" fmla="*/ 19 h 8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6"/>
                <a:gd name="T94" fmla="*/ 0 h 86"/>
                <a:gd name="T95" fmla="*/ 76 w 76"/>
                <a:gd name="T96" fmla="*/ 86 h 8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6" h="86">
                  <a:moveTo>
                    <a:pt x="67" y="19"/>
                  </a:moveTo>
                  <a:lnTo>
                    <a:pt x="76" y="28"/>
                  </a:lnTo>
                  <a:lnTo>
                    <a:pt x="76" y="38"/>
                  </a:lnTo>
                  <a:lnTo>
                    <a:pt x="57" y="48"/>
                  </a:lnTo>
                  <a:lnTo>
                    <a:pt x="48" y="57"/>
                  </a:lnTo>
                  <a:lnTo>
                    <a:pt x="29" y="76"/>
                  </a:lnTo>
                  <a:lnTo>
                    <a:pt x="19" y="86"/>
                  </a:lnTo>
                  <a:lnTo>
                    <a:pt x="10" y="76"/>
                  </a:lnTo>
                  <a:lnTo>
                    <a:pt x="0" y="76"/>
                  </a:lnTo>
                  <a:lnTo>
                    <a:pt x="0" y="67"/>
                  </a:lnTo>
                  <a:lnTo>
                    <a:pt x="10" y="67"/>
                  </a:lnTo>
                  <a:lnTo>
                    <a:pt x="10" y="57"/>
                  </a:lnTo>
                  <a:lnTo>
                    <a:pt x="19" y="57"/>
                  </a:lnTo>
                  <a:lnTo>
                    <a:pt x="10" y="48"/>
                  </a:lnTo>
                  <a:lnTo>
                    <a:pt x="0" y="48"/>
                  </a:lnTo>
                  <a:lnTo>
                    <a:pt x="0" y="28"/>
                  </a:lnTo>
                  <a:lnTo>
                    <a:pt x="10" y="19"/>
                  </a:lnTo>
                  <a:lnTo>
                    <a:pt x="10" y="9"/>
                  </a:lnTo>
                  <a:lnTo>
                    <a:pt x="10" y="0"/>
                  </a:lnTo>
                  <a:lnTo>
                    <a:pt x="19" y="0"/>
                  </a:lnTo>
                  <a:lnTo>
                    <a:pt x="29" y="0"/>
                  </a:lnTo>
                  <a:lnTo>
                    <a:pt x="38" y="9"/>
                  </a:lnTo>
                  <a:lnTo>
                    <a:pt x="38" y="19"/>
                  </a:lnTo>
                  <a:lnTo>
                    <a:pt x="48" y="19"/>
                  </a:lnTo>
                  <a:lnTo>
                    <a:pt x="57" y="19"/>
                  </a:lnTo>
                  <a:lnTo>
                    <a:pt x="67"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58" name="Freeform 450">
              <a:extLst>
                <a:ext uri="{FF2B5EF4-FFF2-40B4-BE49-F238E27FC236}">
                  <a16:creationId xmlns:a16="http://schemas.microsoft.com/office/drawing/2014/main" id="{66A63566-2D95-4021-BC1B-69ADE4D899B8}"/>
                </a:ext>
              </a:extLst>
            </p:cNvPr>
            <p:cNvSpPr>
              <a:spLocks/>
            </p:cNvSpPr>
            <p:nvPr/>
          </p:nvSpPr>
          <p:spPr bwMode="gray">
            <a:xfrm>
              <a:off x="1400" y="2624"/>
              <a:ext cx="67" cy="57"/>
            </a:xfrm>
            <a:custGeom>
              <a:avLst/>
              <a:gdLst>
                <a:gd name="T0" fmla="*/ 39 w 67"/>
                <a:gd name="T1" fmla="*/ 57 h 57"/>
                <a:gd name="T2" fmla="*/ 10 w 67"/>
                <a:gd name="T3" fmla="*/ 48 h 57"/>
                <a:gd name="T4" fmla="*/ 0 w 67"/>
                <a:gd name="T5" fmla="*/ 48 h 57"/>
                <a:gd name="T6" fmla="*/ 10 w 67"/>
                <a:gd name="T7" fmla="*/ 28 h 57"/>
                <a:gd name="T8" fmla="*/ 29 w 67"/>
                <a:gd name="T9" fmla="*/ 28 h 57"/>
                <a:gd name="T10" fmla="*/ 39 w 67"/>
                <a:gd name="T11" fmla="*/ 28 h 57"/>
                <a:gd name="T12" fmla="*/ 39 w 67"/>
                <a:gd name="T13" fmla="*/ 19 h 57"/>
                <a:gd name="T14" fmla="*/ 20 w 67"/>
                <a:gd name="T15" fmla="*/ 9 h 57"/>
                <a:gd name="T16" fmla="*/ 29 w 67"/>
                <a:gd name="T17" fmla="*/ 9 h 57"/>
                <a:gd name="T18" fmla="*/ 29 w 67"/>
                <a:gd name="T19" fmla="*/ 0 h 57"/>
                <a:gd name="T20" fmla="*/ 48 w 67"/>
                <a:gd name="T21" fmla="*/ 0 h 57"/>
                <a:gd name="T22" fmla="*/ 48 w 67"/>
                <a:gd name="T23" fmla="*/ 0 h 57"/>
                <a:gd name="T24" fmla="*/ 48 w 67"/>
                <a:gd name="T25" fmla="*/ 19 h 57"/>
                <a:gd name="T26" fmla="*/ 58 w 67"/>
                <a:gd name="T27" fmla="*/ 28 h 57"/>
                <a:gd name="T28" fmla="*/ 67 w 67"/>
                <a:gd name="T29" fmla="*/ 28 h 57"/>
                <a:gd name="T30" fmla="*/ 67 w 67"/>
                <a:gd name="T31" fmla="*/ 28 h 57"/>
                <a:gd name="T32" fmla="*/ 67 w 67"/>
                <a:gd name="T33" fmla="*/ 38 h 57"/>
                <a:gd name="T34" fmla="*/ 39 w 67"/>
                <a:gd name="T35" fmla="*/ 48 h 57"/>
                <a:gd name="T36" fmla="*/ 39 w 67"/>
                <a:gd name="T37" fmla="*/ 57 h 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57"/>
                <a:gd name="T59" fmla="*/ 67 w 67"/>
                <a:gd name="T60" fmla="*/ 57 h 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57">
                  <a:moveTo>
                    <a:pt x="39" y="57"/>
                  </a:moveTo>
                  <a:lnTo>
                    <a:pt x="10" y="48"/>
                  </a:lnTo>
                  <a:lnTo>
                    <a:pt x="0" y="48"/>
                  </a:lnTo>
                  <a:lnTo>
                    <a:pt x="10" y="28"/>
                  </a:lnTo>
                  <a:lnTo>
                    <a:pt x="29" y="28"/>
                  </a:lnTo>
                  <a:lnTo>
                    <a:pt x="39" y="28"/>
                  </a:lnTo>
                  <a:lnTo>
                    <a:pt x="39" y="19"/>
                  </a:lnTo>
                  <a:lnTo>
                    <a:pt x="20" y="9"/>
                  </a:lnTo>
                  <a:lnTo>
                    <a:pt x="29" y="9"/>
                  </a:lnTo>
                  <a:lnTo>
                    <a:pt x="29" y="0"/>
                  </a:lnTo>
                  <a:lnTo>
                    <a:pt x="48" y="0"/>
                  </a:lnTo>
                  <a:lnTo>
                    <a:pt x="48" y="19"/>
                  </a:lnTo>
                  <a:lnTo>
                    <a:pt x="58" y="28"/>
                  </a:lnTo>
                  <a:lnTo>
                    <a:pt x="67" y="28"/>
                  </a:lnTo>
                  <a:lnTo>
                    <a:pt x="67" y="38"/>
                  </a:lnTo>
                  <a:lnTo>
                    <a:pt x="39" y="48"/>
                  </a:lnTo>
                  <a:lnTo>
                    <a:pt x="39" y="5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59" name="Freeform 451">
              <a:extLst>
                <a:ext uri="{FF2B5EF4-FFF2-40B4-BE49-F238E27FC236}">
                  <a16:creationId xmlns:a16="http://schemas.microsoft.com/office/drawing/2014/main" id="{CA06828B-9F6A-4AC3-BDCA-9A9E3B74E0E5}"/>
                </a:ext>
              </a:extLst>
            </p:cNvPr>
            <p:cNvSpPr>
              <a:spLocks/>
            </p:cNvSpPr>
            <p:nvPr/>
          </p:nvSpPr>
          <p:spPr bwMode="gray">
            <a:xfrm>
              <a:off x="1400" y="2624"/>
              <a:ext cx="67" cy="57"/>
            </a:xfrm>
            <a:custGeom>
              <a:avLst/>
              <a:gdLst>
                <a:gd name="T0" fmla="*/ 39 w 67"/>
                <a:gd name="T1" fmla="*/ 57 h 57"/>
                <a:gd name="T2" fmla="*/ 10 w 67"/>
                <a:gd name="T3" fmla="*/ 48 h 57"/>
                <a:gd name="T4" fmla="*/ 0 w 67"/>
                <a:gd name="T5" fmla="*/ 48 h 57"/>
                <a:gd name="T6" fmla="*/ 10 w 67"/>
                <a:gd name="T7" fmla="*/ 28 h 57"/>
                <a:gd name="T8" fmla="*/ 29 w 67"/>
                <a:gd name="T9" fmla="*/ 28 h 57"/>
                <a:gd name="T10" fmla="*/ 39 w 67"/>
                <a:gd name="T11" fmla="*/ 28 h 57"/>
                <a:gd name="T12" fmla="*/ 39 w 67"/>
                <a:gd name="T13" fmla="*/ 19 h 57"/>
                <a:gd name="T14" fmla="*/ 20 w 67"/>
                <a:gd name="T15" fmla="*/ 9 h 57"/>
                <a:gd name="T16" fmla="*/ 29 w 67"/>
                <a:gd name="T17" fmla="*/ 9 h 57"/>
                <a:gd name="T18" fmla="*/ 29 w 67"/>
                <a:gd name="T19" fmla="*/ 0 h 57"/>
                <a:gd name="T20" fmla="*/ 48 w 67"/>
                <a:gd name="T21" fmla="*/ 0 h 57"/>
                <a:gd name="T22" fmla="*/ 48 w 67"/>
                <a:gd name="T23" fmla="*/ 0 h 57"/>
                <a:gd name="T24" fmla="*/ 48 w 67"/>
                <a:gd name="T25" fmla="*/ 19 h 57"/>
                <a:gd name="T26" fmla="*/ 58 w 67"/>
                <a:gd name="T27" fmla="*/ 28 h 57"/>
                <a:gd name="T28" fmla="*/ 67 w 67"/>
                <a:gd name="T29" fmla="*/ 28 h 57"/>
                <a:gd name="T30" fmla="*/ 67 w 67"/>
                <a:gd name="T31" fmla="*/ 28 h 57"/>
                <a:gd name="T32" fmla="*/ 67 w 67"/>
                <a:gd name="T33" fmla="*/ 38 h 57"/>
                <a:gd name="T34" fmla="*/ 39 w 67"/>
                <a:gd name="T35" fmla="*/ 48 h 57"/>
                <a:gd name="T36" fmla="*/ 39 w 67"/>
                <a:gd name="T37" fmla="*/ 57 h 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57"/>
                <a:gd name="T59" fmla="*/ 67 w 67"/>
                <a:gd name="T60" fmla="*/ 57 h 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57">
                  <a:moveTo>
                    <a:pt x="39" y="57"/>
                  </a:moveTo>
                  <a:lnTo>
                    <a:pt x="10" y="48"/>
                  </a:lnTo>
                  <a:lnTo>
                    <a:pt x="0" y="48"/>
                  </a:lnTo>
                  <a:lnTo>
                    <a:pt x="10" y="28"/>
                  </a:lnTo>
                  <a:lnTo>
                    <a:pt x="29" y="28"/>
                  </a:lnTo>
                  <a:lnTo>
                    <a:pt x="39" y="28"/>
                  </a:lnTo>
                  <a:lnTo>
                    <a:pt x="39" y="19"/>
                  </a:lnTo>
                  <a:lnTo>
                    <a:pt x="20" y="9"/>
                  </a:lnTo>
                  <a:lnTo>
                    <a:pt x="29" y="9"/>
                  </a:lnTo>
                  <a:lnTo>
                    <a:pt x="29" y="0"/>
                  </a:lnTo>
                  <a:lnTo>
                    <a:pt x="48" y="0"/>
                  </a:lnTo>
                  <a:lnTo>
                    <a:pt x="48" y="19"/>
                  </a:lnTo>
                  <a:lnTo>
                    <a:pt x="58" y="28"/>
                  </a:lnTo>
                  <a:lnTo>
                    <a:pt x="67" y="28"/>
                  </a:lnTo>
                  <a:lnTo>
                    <a:pt x="67" y="38"/>
                  </a:lnTo>
                  <a:lnTo>
                    <a:pt x="39" y="48"/>
                  </a:lnTo>
                  <a:lnTo>
                    <a:pt x="39" y="5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60" name="Freeform 452">
              <a:extLst>
                <a:ext uri="{FF2B5EF4-FFF2-40B4-BE49-F238E27FC236}">
                  <a16:creationId xmlns:a16="http://schemas.microsoft.com/office/drawing/2014/main" id="{714CCF73-0420-4228-9E54-59D7536D87D7}"/>
                </a:ext>
              </a:extLst>
            </p:cNvPr>
            <p:cNvSpPr>
              <a:spLocks/>
            </p:cNvSpPr>
            <p:nvPr/>
          </p:nvSpPr>
          <p:spPr bwMode="gray">
            <a:xfrm>
              <a:off x="1448" y="2652"/>
              <a:ext cx="86" cy="39"/>
            </a:xfrm>
            <a:custGeom>
              <a:avLst/>
              <a:gdLst>
                <a:gd name="T0" fmla="*/ 29 w 86"/>
                <a:gd name="T1" fmla="*/ 39 h 39"/>
                <a:gd name="T2" fmla="*/ 29 w 86"/>
                <a:gd name="T3" fmla="*/ 39 h 39"/>
                <a:gd name="T4" fmla="*/ 29 w 86"/>
                <a:gd name="T5" fmla="*/ 39 h 39"/>
                <a:gd name="T6" fmla="*/ 38 w 86"/>
                <a:gd name="T7" fmla="*/ 39 h 39"/>
                <a:gd name="T8" fmla="*/ 38 w 86"/>
                <a:gd name="T9" fmla="*/ 29 h 39"/>
                <a:gd name="T10" fmla="*/ 48 w 86"/>
                <a:gd name="T11" fmla="*/ 29 h 39"/>
                <a:gd name="T12" fmla="*/ 57 w 86"/>
                <a:gd name="T13" fmla="*/ 29 h 39"/>
                <a:gd name="T14" fmla="*/ 67 w 86"/>
                <a:gd name="T15" fmla="*/ 20 h 39"/>
                <a:gd name="T16" fmla="*/ 76 w 86"/>
                <a:gd name="T17" fmla="*/ 20 h 39"/>
                <a:gd name="T18" fmla="*/ 86 w 86"/>
                <a:gd name="T19" fmla="*/ 10 h 39"/>
                <a:gd name="T20" fmla="*/ 86 w 86"/>
                <a:gd name="T21" fmla="*/ 10 h 39"/>
                <a:gd name="T22" fmla="*/ 76 w 86"/>
                <a:gd name="T23" fmla="*/ 0 h 39"/>
                <a:gd name="T24" fmla="*/ 48 w 86"/>
                <a:gd name="T25" fmla="*/ 0 h 39"/>
                <a:gd name="T26" fmla="*/ 19 w 86"/>
                <a:gd name="T27" fmla="*/ 0 h 39"/>
                <a:gd name="T28" fmla="*/ 19 w 86"/>
                <a:gd name="T29" fmla="*/ 0 h 39"/>
                <a:gd name="T30" fmla="*/ 19 w 86"/>
                <a:gd name="T31" fmla="*/ 10 h 39"/>
                <a:gd name="T32" fmla="*/ 0 w 86"/>
                <a:gd name="T33" fmla="*/ 20 h 39"/>
                <a:gd name="T34" fmla="*/ 10 w 86"/>
                <a:gd name="T35" fmla="*/ 29 h 39"/>
                <a:gd name="T36" fmla="*/ 19 w 86"/>
                <a:gd name="T37" fmla="*/ 39 h 39"/>
                <a:gd name="T38" fmla="*/ 29 w 86"/>
                <a:gd name="T39" fmla="*/ 3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6"/>
                <a:gd name="T61" fmla="*/ 0 h 39"/>
                <a:gd name="T62" fmla="*/ 86 w 86"/>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6" h="39">
                  <a:moveTo>
                    <a:pt x="29" y="39"/>
                  </a:moveTo>
                  <a:lnTo>
                    <a:pt x="29" y="39"/>
                  </a:lnTo>
                  <a:lnTo>
                    <a:pt x="38" y="39"/>
                  </a:lnTo>
                  <a:lnTo>
                    <a:pt x="38" y="29"/>
                  </a:lnTo>
                  <a:lnTo>
                    <a:pt x="48" y="29"/>
                  </a:lnTo>
                  <a:lnTo>
                    <a:pt x="57" y="29"/>
                  </a:lnTo>
                  <a:lnTo>
                    <a:pt x="67" y="20"/>
                  </a:lnTo>
                  <a:lnTo>
                    <a:pt x="76" y="20"/>
                  </a:lnTo>
                  <a:lnTo>
                    <a:pt x="86" y="10"/>
                  </a:lnTo>
                  <a:lnTo>
                    <a:pt x="76" y="0"/>
                  </a:lnTo>
                  <a:lnTo>
                    <a:pt x="48" y="0"/>
                  </a:lnTo>
                  <a:lnTo>
                    <a:pt x="19" y="0"/>
                  </a:lnTo>
                  <a:lnTo>
                    <a:pt x="19" y="10"/>
                  </a:lnTo>
                  <a:lnTo>
                    <a:pt x="0" y="20"/>
                  </a:lnTo>
                  <a:lnTo>
                    <a:pt x="10" y="29"/>
                  </a:lnTo>
                  <a:lnTo>
                    <a:pt x="19" y="39"/>
                  </a:lnTo>
                  <a:lnTo>
                    <a:pt x="29" y="3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61" name="Freeform 453">
              <a:extLst>
                <a:ext uri="{FF2B5EF4-FFF2-40B4-BE49-F238E27FC236}">
                  <a16:creationId xmlns:a16="http://schemas.microsoft.com/office/drawing/2014/main" id="{E8B98A87-9231-441A-9F07-74E198FA0085}"/>
                </a:ext>
              </a:extLst>
            </p:cNvPr>
            <p:cNvSpPr>
              <a:spLocks/>
            </p:cNvSpPr>
            <p:nvPr/>
          </p:nvSpPr>
          <p:spPr bwMode="gray">
            <a:xfrm>
              <a:off x="1448" y="2652"/>
              <a:ext cx="86" cy="39"/>
            </a:xfrm>
            <a:custGeom>
              <a:avLst/>
              <a:gdLst>
                <a:gd name="T0" fmla="*/ 29 w 86"/>
                <a:gd name="T1" fmla="*/ 39 h 39"/>
                <a:gd name="T2" fmla="*/ 29 w 86"/>
                <a:gd name="T3" fmla="*/ 39 h 39"/>
                <a:gd name="T4" fmla="*/ 29 w 86"/>
                <a:gd name="T5" fmla="*/ 39 h 39"/>
                <a:gd name="T6" fmla="*/ 38 w 86"/>
                <a:gd name="T7" fmla="*/ 39 h 39"/>
                <a:gd name="T8" fmla="*/ 38 w 86"/>
                <a:gd name="T9" fmla="*/ 29 h 39"/>
                <a:gd name="T10" fmla="*/ 48 w 86"/>
                <a:gd name="T11" fmla="*/ 29 h 39"/>
                <a:gd name="T12" fmla="*/ 57 w 86"/>
                <a:gd name="T13" fmla="*/ 29 h 39"/>
                <a:gd name="T14" fmla="*/ 67 w 86"/>
                <a:gd name="T15" fmla="*/ 20 h 39"/>
                <a:gd name="T16" fmla="*/ 76 w 86"/>
                <a:gd name="T17" fmla="*/ 20 h 39"/>
                <a:gd name="T18" fmla="*/ 86 w 86"/>
                <a:gd name="T19" fmla="*/ 10 h 39"/>
                <a:gd name="T20" fmla="*/ 86 w 86"/>
                <a:gd name="T21" fmla="*/ 10 h 39"/>
                <a:gd name="T22" fmla="*/ 76 w 86"/>
                <a:gd name="T23" fmla="*/ 0 h 39"/>
                <a:gd name="T24" fmla="*/ 48 w 86"/>
                <a:gd name="T25" fmla="*/ 0 h 39"/>
                <a:gd name="T26" fmla="*/ 19 w 86"/>
                <a:gd name="T27" fmla="*/ 0 h 39"/>
                <a:gd name="T28" fmla="*/ 19 w 86"/>
                <a:gd name="T29" fmla="*/ 0 h 39"/>
                <a:gd name="T30" fmla="*/ 19 w 86"/>
                <a:gd name="T31" fmla="*/ 10 h 39"/>
                <a:gd name="T32" fmla="*/ 0 w 86"/>
                <a:gd name="T33" fmla="*/ 20 h 39"/>
                <a:gd name="T34" fmla="*/ 10 w 86"/>
                <a:gd name="T35" fmla="*/ 29 h 39"/>
                <a:gd name="T36" fmla="*/ 19 w 86"/>
                <a:gd name="T37" fmla="*/ 39 h 39"/>
                <a:gd name="T38" fmla="*/ 29 w 86"/>
                <a:gd name="T39" fmla="*/ 3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6"/>
                <a:gd name="T61" fmla="*/ 0 h 39"/>
                <a:gd name="T62" fmla="*/ 86 w 86"/>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6" h="39">
                  <a:moveTo>
                    <a:pt x="29" y="39"/>
                  </a:moveTo>
                  <a:lnTo>
                    <a:pt x="29" y="39"/>
                  </a:lnTo>
                  <a:lnTo>
                    <a:pt x="38" y="39"/>
                  </a:lnTo>
                  <a:lnTo>
                    <a:pt x="38" y="29"/>
                  </a:lnTo>
                  <a:lnTo>
                    <a:pt x="48" y="29"/>
                  </a:lnTo>
                  <a:lnTo>
                    <a:pt x="57" y="29"/>
                  </a:lnTo>
                  <a:lnTo>
                    <a:pt x="67" y="20"/>
                  </a:lnTo>
                  <a:lnTo>
                    <a:pt x="76" y="20"/>
                  </a:lnTo>
                  <a:lnTo>
                    <a:pt x="86" y="10"/>
                  </a:lnTo>
                  <a:lnTo>
                    <a:pt x="76" y="0"/>
                  </a:lnTo>
                  <a:lnTo>
                    <a:pt x="48" y="0"/>
                  </a:lnTo>
                  <a:lnTo>
                    <a:pt x="19" y="0"/>
                  </a:lnTo>
                  <a:lnTo>
                    <a:pt x="19" y="10"/>
                  </a:lnTo>
                  <a:lnTo>
                    <a:pt x="0" y="20"/>
                  </a:lnTo>
                  <a:lnTo>
                    <a:pt x="10" y="29"/>
                  </a:lnTo>
                  <a:lnTo>
                    <a:pt x="19" y="39"/>
                  </a:lnTo>
                  <a:lnTo>
                    <a:pt x="29" y="3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62" name="Freeform 454">
              <a:extLst>
                <a:ext uri="{FF2B5EF4-FFF2-40B4-BE49-F238E27FC236}">
                  <a16:creationId xmlns:a16="http://schemas.microsoft.com/office/drawing/2014/main" id="{75C21585-B726-4826-844A-75696A2E627F}"/>
                </a:ext>
              </a:extLst>
            </p:cNvPr>
            <p:cNvSpPr>
              <a:spLocks/>
            </p:cNvSpPr>
            <p:nvPr/>
          </p:nvSpPr>
          <p:spPr bwMode="gray">
            <a:xfrm>
              <a:off x="1477" y="2662"/>
              <a:ext cx="57" cy="67"/>
            </a:xfrm>
            <a:custGeom>
              <a:avLst/>
              <a:gdLst>
                <a:gd name="T0" fmla="*/ 57 w 57"/>
                <a:gd name="T1" fmla="*/ 0 h 67"/>
                <a:gd name="T2" fmla="*/ 47 w 57"/>
                <a:gd name="T3" fmla="*/ 0 h 67"/>
                <a:gd name="T4" fmla="*/ 38 w 57"/>
                <a:gd name="T5" fmla="*/ 10 h 67"/>
                <a:gd name="T6" fmla="*/ 28 w 57"/>
                <a:gd name="T7" fmla="*/ 10 h 67"/>
                <a:gd name="T8" fmla="*/ 19 w 57"/>
                <a:gd name="T9" fmla="*/ 10 h 67"/>
                <a:gd name="T10" fmla="*/ 9 w 57"/>
                <a:gd name="T11" fmla="*/ 19 h 67"/>
                <a:gd name="T12" fmla="*/ 9 w 57"/>
                <a:gd name="T13" fmla="*/ 29 h 67"/>
                <a:gd name="T14" fmla="*/ 0 w 57"/>
                <a:gd name="T15" fmla="*/ 29 h 67"/>
                <a:gd name="T16" fmla="*/ 0 w 57"/>
                <a:gd name="T17" fmla="*/ 29 h 67"/>
                <a:gd name="T18" fmla="*/ 0 w 57"/>
                <a:gd name="T19" fmla="*/ 29 h 67"/>
                <a:gd name="T20" fmla="*/ 9 w 57"/>
                <a:gd name="T21" fmla="*/ 38 h 67"/>
                <a:gd name="T22" fmla="*/ 19 w 57"/>
                <a:gd name="T23" fmla="*/ 48 h 67"/>
                <a:gd name="T24" fmla="*/ 28 w 57"/>
                <a:gd name="T25" fmla="*/ 57 h 67"/>
                <a:gd name="T26" fmla="*/ 38 w 57"/>
                <a:gd name="T27" fmla="*/ 57 h 67"/>
                <a:gd name="T28" fmla="*/ 47 w 57"/>
                <a:gd name="T29" fmla="*/ 57 h 67"/>
                <a:gd name="T30" fmla="*/ 57 w 57"/>
                <a:gd name="T31" fmla="*/ 67 h 67"/>
                <a:gd name="T32" fmla="*/ 57 w 57"/>
                <a:gd name="T33" fmla="*/ 48 h 67"/>
                <a:gd name="T34" fmla="*/ 57 w 57"/>
                <a:gd name="T35" fmla="*/ 38 h 67"/>
                <a:gd name="T36" fmla="*/ 57 w 57"/>
                <a:gd name="T37" fmla="*/ 29 h 67"/>
                <a:gd name="T38" fmla="*/ 57 w 57"/>
                <a:gd name="T39" fmla="*/ 19 h 67"/>
                <a:gd name="T40" fmla="*/ 57 w 57"/>
                <a:gd name="T41" fmla="*/ 0 h 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67"/>
                <a:gd name="T65" fmla="*/ 57 w 57"/>
                <a:gd name="T66" fmla="*/ 67 h 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67">
                  <a:moveTo>
                    <a:pt x="57" y="0"/>
                  </a:moveTo>
                  <a:lnTo>
                    <a:pt x="47" y="0"/>
                  </a:lnTo>
                  <a:lnTo>
                    <a:pt x="38" y="10"/>
                  </a:lnTo>
                  <a:lnTo>
                    <a:pt x="28" y="10"/>
                  </a:lnTo>
                  <a:lnTo>
                    <a:pt x="19" y="10"/>
                  </a:lnTo>
                  <a:lnTo>
                    <a:pt x="9" y="19"/>
                  </a:lnTo>
                  <a:lnTo>
                    <a:pt x="9" y="29"/>
                  </a:lnTo>
                  <a:lnTo>
                    <a:pt x="0" y="29"/>
                  </a:lnTo>
                  <a:lnTo>
                    <a:pt x="9" y="38"/>
                  </a:lnTo>
                  <a:lnTo>
                    <a:pt x="19" y="48"/>
                  </a:lnTo>
                  <a:lnTo>
                    <a:pt x="28" y="57"/>
                  </a:lnTo>
                  <a:lnTo>
                    <a:pt x="38" y="57"/>
                  </a:lnTo>
                  <a:lnTo>
                    <a:pt x="47" y="57"/>
                  </a:lnTo>
                  <a:lnTo>
                    <a:pt x="57" y="67"/>
                  </a:lnTo>
                  <a:lnTo>
                    <a:pt x="57" y="48"/>
                  </a:lnTo>
                  <a:lnTo>
                    <a:pt x="57" y="38"/>
                  </a:lnTo>
                  <a:lnTo>
                    <a:pt x="57" y="29"/>
                  </a:lnTo>
                  <a:lnTo>
                    <a:pt x="57" y="19"/>
                  </a:lnTo>
                  <a:lnTo>
                    <a:pt x="57"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63" name="Freeform 455">
              <a:extLst>
                <a:ext uri="{FF2B5EF4-FFF2-40B4-BE49-F238E27FC236}">
                  <a16:creationId xmlns:a16="http://schemas.microsoft.com/office/drawing/2014/main" id="{3D8AEEF7-691D-44BB-83AB-482831D12A9E}"/>
                </a:ext>
              </a:extLst>
            </p:cNvPr>
            <p:cNvSpPr>
              <a:spLocks/>
            </p:cNvSpPr>
            <p:nvPr/>
          </p:nvSpPr>
          <p:spPr bwMode="gray">
            <a:xfrm>
              <a:off x="1477" y="2662"/>
              <a:ext cx="57" cy="67"/>
            </a:xfrm>
            <a:custGeom>
              <a:avLst/>
              <a:gdLst>
                <a:gd name="T0" fmla="*/ 57 w 57"/>
                <a:gd name="T1" fmla="*/ 0 h 67"/>
                <a:gd name="T2" fmla="*/ 47 w 57"/>
                <a:gd name="T3" fmla="*/ 0 h 67"/>
                <a:gd name="T4" fmla="*/ 38 w 57"/>
                <a:gd name="T5" fmla="*/ 10 h 67"/>
                <a:gd name="T6" fmla="*/ 28 w 57"/>
                <a:gd name="T7" fmla="*/ 10 h 67"/>
                <a:gd name="T8" fmla="*/ 19 w 57"/>
                <a:gd name="T9" fmla="*/ 10 h 67"/>
                <a:gd name="T10" fmla="*/ 9 w 57"/>
                <a:gd name="T11" fmla="*/ 19 h 67"/>
                <a:gd name="T12" fmla="*/ 9 w 57"/>
                <a:gd name="T13" fmla="*/ 29 h 67"/>
                <a:gd name="T14" fmla="*/ 0 w 57"/>
                <a:gd name="T15" fmla="*/ 29 h 67"/>
                <a:gd name="T16" fmla="*/ 0 w 57"/>
                <a:gd name="T17" fmla="*/ 29 h 67"/>
                <a:gd name="T18" fmla="*/ 0 w 57"/>
                <a:gd name="T19" fmla="*/ 29 h 67"/>
                <a:gd name="T20" fmla="*/ 9 w 57"/>
                <a:gd name="T21" fmla="*/ 38 h 67"/>
                <a:gd name="T22" fmla="*/ 19 w 57"/>
                <a:gd name="T23" fmla="*/ 48 h 67"/>
                <a:gd name="T24" fmla="*/ 28 w 57"/>
                <a:gd name="T25" fmla="*/ 57 h 67"/>
                <a:gd name="T26" fmla="*/ 38 w 57"/>
                <a:gd name="T27" fmla="*/ 57 h 67"/>
                <a:gd name="T28" fmla="*/ 47 w 57"/>
                <a:gd name="T29" fmla="*/ 57 h 67"/>
                <a:gd name="T30" fmla="*/ 57 w 57"/>
                <a:gd name="T31" fmla="*/ 67 h 67"/>
                <a:gd name="T32" fmla="*/ 57 w 57"/>
                <a:gd name="T33" fmla="*/ 48 h 67"/>
                <a:gd name="T34" fmla="*/ 57 w 57"/>
                <a:gd name="T35" fmla="*/ 38 h 67"/>
                <a:gd name="T36" fmla="*/ 57 w 57"/>
                <a:gd name="T37" fmla="*/ 29 h 67"/>
                <a:gd name="T38" fmla="*/ 57 w 57"/>
                <a:gd name="T39" fmla="*/ 19 h 67"/>
                <a:gd name="T40" fmla="*/ 57 w 57"/>
                <a:gd name="T41" fmla="*/ 0 h 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67"/>
                <a:gd name="T65" fmla="*/ 57 w 57"/>
                <a:gd name="T66" fmla="*/ 67 h 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67">
                  <a:moveTo>
                    <a:pt x="57" y="0"/>
                  </a:moveTo>
                  <a:lnTo>
                    <a:pt x="47" y="0"/>
                  </a:lnTo>
                  <a:lnTo>
                    <a:pt x="38" y="10"/>
                  </a:lnTo>
                  <a:lnTo>
                    <a:pt x="28" y="10"/>
                  </a:lnTo>
                  <a:lnTo>
                    <a:pt x="19" y="10"/>
                  </a:lnTo>
                  <a:lnTo>
                    <a:pt x="9" y="19"/>
                  </a:lnTo>
                  <a:lnTo>
                    <a:pt x="9" y="29"/>
                  </a:lnTo>
                  <a:lnTo>
                    <a:pt x="0" y="29"/>
                  </a:lnTo>
                  <a:lnTo>
                    <a:pt x="9" y="38"/>
                  </a:lnTo>
                  <a:lnTo>
                    <a:pt x="19" y="48"/>
                  </a:lnTo>
                  <a:lnTo>
                    <a:pt x="28" y="57"/>
                  </a:lnTo>
                  <a:lnTo>
                    <a:pt x="38" y="57"/>
                  </a:lnTo>
                  <a:lnTo>
                    <a:pt x="47" y="57"/>
                  </a:lnTo>
                  <a:lnTo>
                    <a:pt x="57" y="67"/>
                  </a:lnTo>
                  <a:lnTo>
                    <a:pt x="57" y="48"/>
                  </a:lnTo>
                  <a:lnTo>
                    <a:pt x="57" y="38"/>
                  </a:lnTo>
                  <a:lnTo>
                    <a:pt x="57" y="29"/>
                  </a:lnTo>
                  <a:lnTo>
                    <a:pt x="57" y="19"/>
                  </a:lnTo>
                  <a:lnTo>
                    <a:pt x="57"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64" name="Freeform 456">
              <a:extLst>
                <a:ext uri="{FF2B5EF4-FFF2-40B4-BE49-F238E27FC236}">
                  <a16:creationId xmlns:a16="http://schemas.microsoft.com/office/drawing/2014/main" id="{1878DE42-6C87-47F7-934F-49DC5CD1EB36}"/>
                </a:ext>
              </a:extLst>
            </p:cNvPr>
            <p:cNvSpPr>
              <a:spLocks/>
            </p:cNvSpPr>
            <p:nvPr/>
          </p:nvSpPr>
          <p:spPr bwMode="gray">
            <a:xfrm>
              <a:off x="1439" y="2672"/>
              <a:ext cx="28" cy="19"/>
            </a:xfrm>
            <a:custGeom>
              <a:avLst/>
              <a:gdLst>
                <a:gd name="T0" fmla="*/ 9 w 28"/>
                <a:gd name="T1" fmla="*/ 0 h 19"/>
                <a:gd name="T2" fmla="*/ 19 w 28"/>
                <a:gd name="T3" fmla="*/ 9 h 19"/>
                <a:gd name="T4" fmla="*/ 28 w 28"/>
                <a:gd name="T5" fmla="*/ 19 h 19"/>
                <a:gd name="T6" fmla="*/ 28 w 28"/>
                <a:gd name="T7" fmla="*/ 19 h 19"/>
                <a:gd name="T8" fmla="*/ 19 w 28"/>
                <a:gd name="T9" fmla="*/ 19 h 19"/>
                <a:gd name="T10" fmla="*/ 0 w 28"/>
                <a:gd name="T11" fmla="*/ 9 h 19"/>
                <a:gd name="T12" fmla="*/ 9 w 28"/>
                <a:gd name="T13" fmla="*/ 0 h 19"/>
                <a:gd name="T14" fmla="*/ 0 60000 65536"/>
                <a:gd name="T15" fmla="*/ 0 60000 65536"/>
                <a:gd name="T16" fmla="*/ 0 60000 65536"/>
                <a:gd name="T17" fmla="*/ 0 60000 65536"/>
                <a:gd name="T18" fmla="*/ 0 60000 65536"/>
                <a:gd name="T19" fmla="*/ 0 60000 65536"/>
                <a:gd name="T20" fmla="*/ 0 60000 65536"/>
                <a:gd name="T21" fmla="*/ 0 w 28"/>
                <a:gd name="T22" fmla="*/ 0 h 19"/>
                <a:gd name="T23" fmla="*/ 28 w 28"/>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19">
                  <a:moveTo>
                    <a:pt x="9" y="0"/>
                  </a:moveTo>
                  <a:lnTo>
                    <a:pt x="19" y="9"/>
                  </a:lnTo>
                  <a:lnTo>
                    <a:pt x="28" y="19"/>
                  </a:lnTo>
                  <a:lnTo>
                    <a:pt x="19" y="19"/>
                  </a:lnTo>
                  <a:lnTo>
                    <a:pt x="0" y="9"/>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65" name="Freeform 457">
              <a:extLst>
                <a:ext uri="{FF2B5EF4-FFF2-40B4-BE49-F238E27FC236}">
                  <a16:creationId xmlns:a16="http://schemas.microsoft.com/office/drawing/2014/main" id="{79F0ACA8-3CCB-4A47-820A-C388B2FFE215}"/>
                </a:ext>
              </a:extLst>
            </p:cNvPr>
            <p:cNvSpPr>
              <a:spLocks/>
            </p:cNvSpPr>
            <p:nvPr/>
          </p:nvSpPr>
          <p:spPr bwMode="gray">
            <a:xfrm>
              <a:off x="1439" y="2672"/>
              <a:ext cx="28" cy="19"/>
            </a:xfrm>
            <a:custGeom>
              <a:avLst/>
              <a:gdLst>
                <a:gd name="T0" fmla="*/ 9 w 28"/>
                <a:gd name="T1" fmla="*/ 0 h 19"/>
                <a:gd name="T2" fmla="*/ 19 w 28"/>
                <a:gd name="T3" fmla="*/ 9 h 19"/>
                <a:gd name="T4" fmla="*/ 28 w 28"/>
                <a:gd name="T5" fmla="*/ 19 h 19"/>
                <a:gd name="T6" fmla="*/ 28 w 28"/>
                <a:gd name="T7" fmla="*/ 19 h 19"/>
                <a:gd name="T8" fmla="*/ 19 w 28"/>
                <a:gd name="T9" fmla="*/ 19 h 19"/>
                <a:gd name="T10" fmla="*/ 0 w 28"/>
                <a:gd name="T11" fmla="*/ 9 h 19"/>
                <a:gd name="T12" fmla="*/ 9 w 28"/>
                <a:gd name="T13" fmla="*/ 0 h 19"/>
                <a:gd name="T14" fmla="*/ 0 60000 65536"/>
                <a:gd name="T15" fmla="*/ 0 60000 65536"/>
                <a:gd name="T16" fmla="*/ 0 60000 65536"/>
                <a:gd name="T17" fmla="*/ 0 60000 65536"/>
                <a:gd name="T18" fmla="*/ 0 60000 65536"/>
                <a:gd name="T19" fmla="*/ 0 60000 65536"/>
                <a:gd name="T20" fmla="*/ 0 60000 65536"/>
                <a:gd name="T21" fmla="*/ 0 w 28"/>
                <a:gd name="T22" fmla="*/ 0 h 19"/>
                <a:gd name="T23" fmla="*/ 28 w 28"/>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19">
                  <a:moveTo>
                    <a:pt x="9" y="0"/>
                  </a:moveTo>
                  <a:lnTo>
                    <a:pt x="19" y="9"/>
                  </a:lnTo>
                  <a:lnTo>
                    <a:pt x="28" y="19"/>
                  </a:lnTo>
                  <a:lnTo>
                    <a:pt x="19" y="19"/>
                  </a:lnTo>
                  <a:lnTo>
                    <a:pt x="0" y="9"/>
                  </a:lnTo>
                  <a:lnTo>
                    <a:pt x="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66" name="Freeform 458">
              <a:extLst>
                <a:ext uri="{FF2B5EF4-FFF2-40B4-BE49-F238E27FC236}">
                  <a16:creationId xmlns:a16="http://schemas.microsoft.com/office/drawing/2014/main" id="{2AA1C5D3-CC5B-4A12-9352-8F1F8ADFE3FB}"/>
                </a:ext>
              </a:extLst>
            </p:cNvPr>
            <p:cNvSpPr>
              <a:spLocks/>
            </p:cNvSpPr>
            <p:nvPr/>
          </p:nvSpPr>
          <p:spPr bwMode="gray">
            <a:xfrm>
              <a:off x="1505" y="2719"/>
              <a:ext cx="48" cy="38"/>
            </a:xfrm>
            <a:custGeom>
              <a:avLst/>
              <a:gdLst>
                <a:gd name="T0" fmla="*/ 0 w 48"/>
                <a:gd name="T1" fmla="*/ 0 h 38"/>
                <a:gd name="T2" fmla="*/ 10 w 48"/>
                <a:gd name="T3" fmla="*/ 0 h 38"/>
                <a:gd name="T4" fmla="*/ 19 w 48"/>
                <a:gd name="T5" fmla="*/ 0 h 38"/>
                <a:gd name="T6" fmla="*/ 29 w 48"/>
                <a:gd name="T7" fmla="*/ 10 h 38"/>
                <a:gd name="T8" fmla="*/ 48 w 48"/>
                <a:gd name="T9" fmla="*/ 19 h 38"/>
                <a:gd name="T10" fmla="*/ 48 w 48"/>
                <a:gd name="T11" fmla="*/ 19 h 38"/>
                <a:gd name="T12" fmla="*/ 38 w 48"/>
                <a:gd name="T13" fmla="*/ 29 h 38"/>
                <a:gd name="T14" fmla="*/ 38 w 48"/>
                <a:gd name="T15" fmla="*/ 38 h 38"/>
                <a:gd name="T16" fmla="*/ 38 w 48"/>
                <a:gd name="T17" fmla="*/ 38 h 38"/>
                <a:gd name="T18" fmla="*/ 29 w 48"/>
                <a:gd name="T19" fmla="*/ 29 h 38"/>
                <a:gd name="T20" fmla="*/ 19 w 48"/>
                <a:gd name="T21" fmla="*/ 19 h 38"/>
                <a:gd name="T22" fmla="*/ 10 w 48"/>
                <a:gd name="T23" fmla="*/ 19 h 38"/>
                <a:gd name="T24" fmla="*/ 10 w 48"/>
                <a:gd name="T25" fmla="*/ 19 h 38"/>
                <a:gd name="T26" fmla="*/ 0 w 48"/>
                <a:gd name="T27" fmla="*/ 10 h 38"/>
                <a:gd name="T28" fmla="*/ 0 w 48"/>
                <a:gd name="T29" fmla="*/ 0 h 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38"/>
                <a:gd name="T47" fmla="*/ 48 w 48"/>
                <a:gd name="T48" fmla="*/ 38 h 3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38">
                  <a:moveTo>
                    <a:pt x="0" y="0"/>
                  </a:moveTo>
                  <a:lnTo>
                    <a:pt x="10" y="0"/>
                  </a:lnTo>
                  <a:lnTo>
                    <a:pt x="19" y="0"/>
                  </a:lnTo>
                  <a:lnTo>
                    <a:pt x="29" y="10"/>
                  </a:lnTo>
                  <a:lnTo>
                    <a:pt x="48" y="19"/>
                  </a:lnTo>
                  <a:lnTo>
                    <a:pt x="38" y="29"/>
                  </a:lnTo>
                  <a:lnTo>
                    <a:pt x="38" y="38"/>
                  </a:lnTo>
                  <a:lnTo>
                    <a:pt x="29" y="29"/>
                  </a:lnTo>
                  <a:lnTo>
                    <a:pt x="19" y="19"/>
                  </a:lnTo>
                  <a:lnTo>
                    <a:pt x="10" y="19"/>
                  </a:lnTo>
                  <a:lnTo>
                    <a:pt x="0"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67" name="Freeform 459">
              <a:extLst>
                <a:ext uri="{FF2B5EF4-FFF2-40B4-BE49-F238E27FC236}">
                  <a16:creationId xmlns:a16="http://schemas.microsoft.com/office/drawing/2014/main" id="{5FE3A019-85EC-44AF-A582-6BA3D13699E4}"/>
                </a:ext>
              </a:extLst>
            </p:cNvPr>
            <p:cNvSpPr>
              <a:spLocks/>
            </p:cNvSpPr>
            <p:nvPr/>
          </p:nvSpPr>
          <p:spPr bwMode="gray">
            <a:xfrm>
              <a:off x="1505" y="2719"/>
              <a:ext cx="48" cy="38"/>
            </a:xfrm>
            <a:custGeom>
              <a:avLst/>
              <a:gdLst>
                <a:gd name="T0" fmla="*/ 0 w 48"/>
                <a:gd name="T1" fmla="*/ 0 h 38"/>
                <a:gd name="T2" fmla="*/ 10 w 48"/>
                <a:gd name="T3" fmla="*/ 0 h 38"/>
                <a:gd name="T4" fmla="*/ 19 w 48"/>
                <a:gd name="T5" fmla="*/ 0 h 38"/>
                <a:gd name="T6" fmla="*/ 29 w 48"/>
                <a:gd name="T7" fmla="*/ 10 h 38"/>
                <a:gd name="T8" fmla="*/ 48 w 48"/>
                <a:gd name="T9" fmla="*/ 19 h 38"/>
                <a:gd name="T10" fmla="*/ 48 w 48"/>
                <a:gd name="T11" fmla="*/ 19 h 38"/>
                <a:gd name="T12" fmla="*/ 38 w 48"/>
                <a:gd name="T13" fmla="*/ 29 h 38"/>
                <a:gd name="T14" fmla="*/ 38 w 48"/>
                <a:gd name="T15" fmla="*/ 38 h 38"/>
                <a:gd name="T16" fmla="*/ 38 w 48"/>
                <a:gd name="T17" fmla="*/ 38 h 38"/>
                <a:gd name="T18" fmla="*/ 29 w 48"/>
                <a:gd name="T19" fmla="*/ 29 h 38"/>
                <a:gd name="T20" fmla="*/ 19 w 48"/>
                <a:gd name="T21" fmla="*/ 19 h 38"/>
                <a:gd name="T22" fmla="*/ 10 w 48"/>
                <a:gd name="T23" fmla="*/ 19 h 38"/>
                <a:gd name="T24" fmla="*/ 10 w 48"/>
                <a:gd name="T25" fmla="*/ 19 h 38"/>
                <a:gd name="T26" fmla="*/ 0 w 48"/>
                <a:gd name="T27" fmla="*/ 10 h 38"/>
                <a:gd name="T28" fmla="*/ 0 w 48"/>
                <a:gd name="T29" fmla="*/ 0 h 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38"/>
                <a:gd name="T47" fmla="*/ 48 w 48"/>
                <a:gd name="T48" fmla="*/ 38 h 3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38">
                  <a:moveTo>
                    <a:pt x="0" y="0"/>
                  </a:moveTo>
                  <a:lnTo>
                    <a:pt x="10" y="0"/>
                  </a:lnTo>
                  <a:lnTo>
                    <a:pt x="19" y="0"/>
                  </a:lnTo>
                  <a:lnTo>
                    <a:pt x="29" y="10"/>
                  </a:lnTo>
                  <a:lnTo>
                    <a:pt x="48" y="19"/>
                  </a:lnTo>
                  <a:lnTo>
                    <a:pt x="38" y="29"/>
                  </a:lnTo>
                  <a:lnTo>
                    <a:pt x="38" y="38"/>
                  </a:lnTo>
                  <a:lnTo>
                    <a:pt x="29" y="29"/>
                  </a:lnTo>
                  <a:lnTo>
                    <a:pt x="19" y="19"/>
                  </a:lnTo>
                  <a:lnTo>
                    <a:pt x="10" y="19"/>
                  </a:lnTo>
                  <a:lnTo>
                    <a:pt x="0" y="1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68" name="Freeform 460">
              <a:extLst>
                <a:ext uri="{FF2B5EF4-FFF2-40B4-BE49-F238E27FC236}">
                  <a16:creationId xmlns:a16="http://schemas.microsoft.com/office/drawing/2014/main" id="{5FA73704-3D8E-44D3-B3FD-1A76EB65549A}"/>
                </a:ext>
              </a:extLst>
            </p:cNvPr>
            <p:cNvSpPr>
              <a:spLocks/>
            </p:cNvSpPr>
            <p:nvPr/>
          </p:nvSpPr>
          <p:spPr bwMode="gray">
            <a:xfrm>
              <a:off x="1543" y="2738"/>
              <a:ext cx="86" cy="38"/>
            </a:xfrm>
            <a:custGeom>
              <a:avLst/>
              <a:gdLst>
                <a:gd name="T0" fmla="*/ 86 w 86"/>
                <a:gd name="T1" fmla="*/ 19 h 38"/>
                <a:gd name="T2" fmla="*/ 77 w 86"/>
                <a:gd name="T3" fmla="*/ 29 h 38"/>
                <a:gd name="T4" fmla="*/ 67 w 86"/>
                <a:gd name="T5" fmla="*/ 29 h 38"/>
                <a:gd name="T6" fmla="*/ 67 w 86"/>
                <a:gd name="T7" fmla="*/ 29 h 38"/>
                <a:gd name="T8" fmla="*/ 58 w 86"/>
                <a:gd name="T9" fmla="*/ 19 h 38"/>
                <a:gd name="T10" fmla="*/ 58 w 86"/>
                <a:gd name="T11" fmla="*/ 10 h 38"/>
                <a:gd name="T12" fmla="*/ 48 w 86"/>
                <a:gd name="T13" fmla="*/ 10 h 38"/>
                <a:gd name="T14" fmla="*/ 39 w 86"/>
                <a:gd name="T15" fmla="*/ 19 h 38"/>
                <a:gd name="T16" fmla="*/ 39 w 86"/>
                <a:gd name="T17" fmla="*/ 19 h 38"/>
                <a:gd name="T18" fmla="*/ 39 w 86"/>
                <a:gd name="T19" fmla="*/ 29 h 38"/>
                <a:gd name="T20" fmla="*/ 29 w 86"/>
                <a:gd name="T21" fmla="*/ 38 h 38"/>
                <a:gd name="T22" fmla="*/ 29 w 86"/>
                <a:gd name="T23" fmla="*/ 29 h 38"/>
                <a:gd name="T24" fmla="*/ 20 w 86"/>
                <a:gd name="T25" fmla="*/ 29 h 38"/>
                <a:gd name="T26" fmla="*/ 20 w 86"/>
                <a:gd name="T27" fmla="*/ 19 h 38"/>
                <a:gd name="T28" fmla="*/ 0 w 86"/>
                <a:gd name="T29" fmla="*/ 19 h 38"/>
                <a:gd name="T30" fmla="*/ 0 w 86"/>
                <a:gd name="T31" fmla="*/ 10 h 38"/>
                <a:gd name="T32" fmla="*/ 10 w 86"/>
                <a:gd name="T33" fmla="*/ 0 h 38"/>
                <a:gd name="T34" fmla="*/ 20 w 86"/>
                <a:gd name="T35" fmla="*/ 10 h 38"/>
                <a:gd name="T36" fmla="*/ 29 w 86"/>
                <a:gd name="T37" fmla="*/ 10 h 38"/>
                <a:gd name="T38" fmla="*/ 39 w 86"/>
                <a:gd name="T39" fmla="*/ 10 h 38"/>
                <a:gd name="T40" fmla="*/ 48 w 86"/>
                <a:gd name="T41" fmla="*/ 0 h 38"/>
                <a:gd name="T42" fmla="*/ 58 w 86"/>
                <a:gd name="T43" fmla="*/ 10 h 38"/>
                <a:gd name="T44" fmla="*/ 67 w 86"/>
                <a:gd name="T45" fmla="*/ 10 h 38"/>
                <a:gd name="T46" fmla="*/ 77 w 86"/>
                <a:gd name="T47" fmla="*/ 19 h 38"/>
                <a:gd name="T48" fmla="*/ 86 w 86"/>
                <a:gd name="T49" fmla="*/ 19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6"/>
                <a:gd name="T76" fmla="*/ 0 h 38"/>
                <a:gd name="T77" fmla="*/ 86 w 86"/>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6" h="38">
                  <a:moveTo>
                    <a:pt x="86" y="19"/>
                  </a:moveTo>
                  <a:lnTo>
                    <a:pt x="77" y="29"/>
                  </a:lnTo>
                  <a:lnTo>
                    <a:pt x="67" y="29"/>
                  </a:lnTo>
                  <a:lnTo>
                    <a:pt x="58" y="19"/>
                  </a:lnTo>
                  <a:lnTo>
                    <a:pt x="58" y="10"/>
                  </a:lnTo>
                  <a:lnTo>
                    <a:pt x="48" y="10"/>
                  </a:lnTo>
                  <a:lnTo>
                    <a:pt x="39" y="19"/>
                  </a:lnTo>
                  <a:lnTo>
                    <a:pt x="39" y="29"/>
                  </a:lnTo>
                  <a:lnTo>
                    <a:pt x="29" y="38"/>
                  </a:lnTo>
                  <a:lnTo>
                    <a:pt x="29" y="29"/>
                  </a:lnTo>
                  <a:lnTo>
                    <a:pt x="20" y="29"/>
                  </a:lnTo>
                  <a:lnTo>
                    <a:pt x="20" y="19"/>
                  </a:lnTo>
                  <a:lnTo>
                    <a:pt x="0" y="19"/>
                  </a:lnTo>
                  <a:lnTo>
                    <a:pt x="0" y="10"/>
                  </a:lnTo>
                  <a:lnTo>
                    <a:pt x="10" y="0"/>
                  </a:lnTo>
                  <a:lnTo>
                    <a:pt x="20" y="10"/>
                  </a:lnTo>
                  <a:lnTo>
                    <a:pt x="29" y="10"/>
                  </a:lnTo>
                  <a:lnTo>
                    <a:pt x="39" y="10"/>
                  </a:lnTo>
                  <a:lnTo>
                    <a:pt x="48" y="0"/>
                  </a:lnTo>
                  <a:lnTo>
                    <a:pt x="58" y="10"/>
                  </a:lnTo>
                  <a:lnTo>
                    <a:pt x="67" y="10"/>
                  </a:lnTo>
                  <a:lnTo>
                    <a:pt x="77" y="19"/>
                  </a:lnTo>
                  <a:lnTo>
                    <a:pt x="86"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69" name="Freeform 461">
              <a:extLst>
                <a:ext uri="{FF2B5EF4-FFF2-40B4-BE49-F238E27FC236}">
                  <a16:creationId xmlns:a16="http://schemas.microsoft.com/office/drawing/2014/main" id="{5C0792D8-6CE8-4D90-9CDF-24F01C4B538F}"/>
                </a:ext>
              </a:extLst>
            </p:cNvPr>
            <p:cNvSpPr>
              <a:spLocks/>
            </p:cNvSpPr>
            <p:nvPr/>
          </p:nvSpPr>
          <p:spPr bwMode="gray">
            <a:xfrm>
              <a:off x="1543" y="2738"/>
              <a:ext cx="86" cy="38"/>
            </a:xfrm>
            <a:custGeom>
              <a:avLst/>
              <a:gdLst>
                <a:gd name="T0" fmla="*/ 86 w 86"/>
                <a:gd name="T1" fmla="*/ 19 h 38"/>
                <a:gd name="T2" fmla="*/ 77 w 86"/>
                <a:gd name="T3" fmla="*/ 29 h 38"/>
                <a:gd name="T4" fmla="*/ 67 w 86"/>
                <a:gd name="T5" fmla="*/ 29 h 38"/>
                <a:gd name="T6" fmla="*/ 67 w 86"/>
                <a:gd name="T7" fmla="*/ 29 h 38"/>
                <a:gd name="T8" fmla="*/ 58 w 86"/>
                <a:gd name="T9" fmla="*/ 19 h 38"/>
                <a:gd name="T10" fmla="*/ 58 w 86"/>
                <a:gd name="T11" fmla="*/ 10 h 38"/>
                <a:gd name="T12" fmla="*/ 48 w 86"/>
                <a:gd name="T13" fmla="*/ 10 h 38"/>
                <a:gd name="T14" fmla="*/ 39 w 86"/>
                <a:gd name="T15" fmla="*/ 19 h 38"/>
                <a:gd name="T16" fmla="*/ 39 w 86"/>
                <a:gd name="T17" fmla="*/ 19 h 38"/>
                <a:gd name="T18" fmla="*/ 39 w 86"/>
                <a:gd name="T19" fmla="*/ 29 h 38"/>
                <a:gd name="T20" fmla="*/ 29 w 86"/>
                <a:gd name="T21" fmla="*/ 38 h 38"/>
                <a:gd name="T22" fmla="*/ 29 w 86"/>
                <a:gd name="T23" fmla="*/ 29 h 38"/>
                <a:gd name="T24" fmla="*/ 20 w 86"/>
                <a:gd name="T25" fmla="*/ 29 h 38"/>
                <a:gd name="T26" fmla="*/ 20 w 86"/>
                <a:gd name="T27" fmla="*/ 19 h 38"/>
                <a:gd name="T28" fmla="*/ 0 w 86"/>
                <a:gd name="T29" fmla="*/ 19 h 38"/>
                <a:gd name="T30" fmla="*/ 0 w 86"/>
                <a:gd name="T31" fmla="*/ 10 h 38"/>
                <a:gd name="T32" fmla="*/ 10 w 86"/>
                <a:gd name="T33" fmla="*/ 0 h 38"/>
                <a:gd name="T34" fmla="*/ 20 w 86"/>
                <a:gd name="T35" fmla="*/ 10 h 38"/>
                <a:gd name="T36" fmla="*/ 29 w 86"/>
                <a:gd name="T37" fmla="*/ 10 h 38"/>
                <a:gd name="T38" fmla="*/ 39 w 86"/>
                <a:gd name="T39" fmla="*/ 10 h 38"/>
                <a:gd name="T40" fmla="*/ 48 w 86"/>
                <a:gd name="T41" fmla="*/ 0 h 38"/>
                <a:gd name="T42" fmla="*/ 58 w 86"/>
                <a:gd name="T43" fmla="*/ 10 h 38"/>
                <a:gd name="T44" fmla="*/ 67 w 86"/>
                <a:gd name="T45" fmla="*/ 10 h 38"/>
                <a:gd name="T46" fmla="*/ 77 w 86"/>
                <a:gd name="T47" fmla="*/ 19 h 38"/>
                <a:gd name="T48" fmla="*/ 86 w 86"/>
                <a:gd name="T49" fmla="*/ 19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6"/>
                <a:gd name="T76" fmla="*/ 0 h 38"/>
                <a:gd name="T77" fmla="*/ 86 w 86"/>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6" h="38">
                  <a:moveTo>
                    <a:pt x="86" y="19"/>
                  </a:moveTo>
                  <a:lnTo>
                    <a:pt x="77" y="29"/>
                  </a:lnTo>
                  <a:lnTo>
                    <a:pt x="67" y="29"/>
                  </a:lnTo>
                  <a:lnTo>
                    <a:pt x="58" y="19"/>
                  </a:lnTo>
                  <a:lnTo>
                    <a:pt x="58" y="10"/>
                  </a:lnTo>
                  <a:lnTo>
                    <a:pt x="48" y="10"/>
                  </a:lnTo>
                  <a:lnTo>
                    <a:pt x="39" y="19"/>
                  </a:lnTo>
                  <a:lnTo>
                    <a:pt x="39" y="29"/>
                  </a:lnTo>
                  <a:lnTo>
                    <a:pt x="29" y="38"/>
                  </a:lnTo>
                  <a:lnTo>
                    <a:pt x="29" y="29"/>
                  </a:lnTo>
                  <a:lnTo>
                    <a:pt x="20" y="29"/>
                  </a:lnTo>
                  <a:lnTo>
                    <a:pt x="20" y="19"/>
                  </a:lnTo>
                  <a:lnTo>
                    <a:pt x="0" y="19"/>
                  </a:lnTo>
                  <a:lnTo>
                    <a:pt x="0" y="10"/>
                  </a:lnTo>
                  <a:lnTo>
                    <a:pt x="10" y="0"/>
                  </a:lnTo>
                  <a:lnTo>
                    <a:pt x="20" y="10"/>
                  </a:lnTo>
                  <a:lnTo>
                    <a:pt x="29" y="10"/>
                  </a:lnTo>
                  <a:lnTo>
                    <a:pt x="39" y="10"/>
                  </a:lnTo>
                  <a:lnTo>
                    <a:pt x="48" y="0"/>
                  </a:lnTo>
                  <a:lnTo>
                    <a:pt x="58" y="10"/>
                  </a:lnTo>
                  <a:lnTo>
                    <a:pt x="67" y="10"/>
                  </a:lnTo>
                  <a:lnTo>
                    <a:pt x="77" y="19"/>
                  </a:lnTo>
                  <a:lnTo>
                    <a:pt x="86"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70" name="Freeform 462">
              <a:extLst>
                <a:ext uri="{FF2B5EF4-FFF2-40B4-BE49-F238E27FC236}">
                  <a16:creationId xmlns:a16="http://schemas.microsoft.com/office/drawing/2014/main" id="{E2A0204F-7036-4722-A344-CD36227C0E1A}"/>
                </a:ext>
              </a:extLst>
            </p:cNvPr>
            <p:cNvSpPr>
              <a:spLocks/>
            </p:cNvSpPr>
            <p:nvPr/>
          </p:nvSpPr>
          <p:spPr bwMode="gray">
            <a:xfrm>
              <a:off x="1601" y="2700"/>
              <a:ext cx="171" cy="220"/>
            </a:xfrm>
            <a:custGeom>
              <a:avLst/>
              <a:gdLst>
                <a:gd name="T0" fmla="*/ 114 w 171"/>
                <a:gd name="T1" fmla="*/ 220 h 220"/>
                <a:gd name="T2" fmla="*/ 105 w 171"/>
                <a:gd name="T3" fmla="*/ 201 h 220"/>
                <a:gd name="T4" fmla="*/ 57 w 171"/>
                <a:gd name="T5" fmla="*/ 172 h 220"/>
                <a:gd name="T6" fmla="*/ 38 w 171"/>
                <a:gd name="T7" fmla="*/ 172 h 220"/>
                <a:gd name="T8" fmla="*/ 19 w 171"/>
                <a:gd name="T9" fmla="*/ 172 h 220"/>
                <a:gd name="T10" fmla="*/ 9 w 171"/>
                <a:gd name="T11" fmla="*/ 172 h 220"/>
                <a:gd name="T12" fmla="*/ 0 w 171"/>
                <a:gd name="T13" fmla="*/ 153 h 220"/>
                <a:gd name="T14" fmla="*/ 0 w 171"/>
                <a:gd name="T15" fmla="*/ 134 h 220"/>
                <a:gd name="T16" fmla="*/ 19 w 171"/>
                <a:gd name="T17" fmla="*/ 124 h 220"/>
                <a:gd name="T18" fmla="*/ 19 w 171"/>
                <a:gd name="T19" fmla="*/ 115 h 220"/>
                <a:gd name="T20" fmla="*/ 19 w 171"/>
                <a:gd name="T21" fmla="*/ 96 h 220"/>
                <a:gd name="T22" fmla="*/ 19 w 171"/>
                <a:gd name="T23" fmla="*/ 67 h 220"/>
                <a:gd name="T24" fmla="*/ 28 w 171"/>
                <a:gd name="T25" fmla="*/ 57 h 220"/>
                <a:gd name="T26" fmla="*/ 28 w 171"/>
                <a:gd name="T27" fmla="*/ 48 h 220"/>
                <a:gd name="T28" fmla="*/ 38 w 171"/>
                <a:gd name="T29" fmla="*/ 38 h 220"/>
                <a:gd name="T30" fmla="*/ 47 w 171"/>
                <a:gd name="T31" fmla="*/ 29 h 220"/>
                <a:gd name="T32" fmla="*/ 57 w 171"/>
                <a:gd name="T33" fmla="*/ 19 h 220"/>
                <a:gd name="T34" fmla="*/ 95 w 171"/>
                <a:gd name="T35" fmla="*/ 10 h 220"/>
                <a:gd name="T36" fmla="*/ 105 w 171"/>
                <a:gd name="T37" fmla="*/ 0 h 220"/>
                <a:gd name="T38" fmla="*/ 105 w 171"/>
                <a:gd name="T39" fmla="*/ 10 h 220"/>
                <a:gd name="T40" fmla="*/ 85 w 171"/>
                <a:gd name="T41" fmla="*/ 29 h 220"/>
                <a:gd name="T42" fmla="*/ 85 w 171"/>
                <a:gd name="T43" fmla="*/ 48 h 220"/>
                <a:gd name="T44" fmla="*/ 85 w 171"/>
                <a:gd name="T45" fmla="*/ 67 h 220"/>
                <a:gd name="T46" fmla="*/ 124 w 171"/>
                <a:gd name="T47" fmla="*/ 76 h 220"/>
                <a:gd name="T48" fmla="*/ 152 w 171"/>
                <a:gd name="T49" fmla="*/ 86 h 220"/>
                <a:gd name="T50" fmla="*/ 152 w 171"/>
                <a:gd name="T51" fmla="*/ 105 h 220"/>
                <a:gd name="T52" fmla="*/ 162 w 171"/>
                <a:gd name="T53" fmla="*/ 124 h 220"/>
                <a:gd name="T54" fmla="*/ 162 w 171"/>
                <a:gd name="T55" fmla="*/ 134 h 220"/>
                <a:gd name="T56" fmla="*/ 171 w 171"/>
                <a:gd name="T57" fmla="*/ 153 h 220"/>
                <a:gd name="T58" fmla="*/ 152 w 171"/>
                <a:gd name="T59" fmla="*/ 143 h 220"/>
                <a:gd name="T60" fmla="*/ 124 w 171"/>
                <a:gd name="T61" fmla="*/ 153 h 220"/>
                <a:gd name="T62" fmla="*/ 133 w 171"/>
                <a:gd name="T63" fmla="*/ 162 h 220"/>
                <a:gd name="T64" fmla="*/ 124 w 171"/>
                <a:gd name="T65" fmla="*/ 181 h 220"/>
                <a:gd name="T66" fmla="*/ 124 w 171"/>
                <a:gd name="T67" fmla="*/ 220 h 2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1"/>
                <a:gd name="T103" fmla="*/ 0 h 220"/>
                <a:gd name="T104" fmla="*/ 171 w 171"/>
                <a:gd name="T105" fmla="*/ 220 h 22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1" h="220">
                  <a:moveTo>
                    <a:pt x="124" y="220"/>
                  </a:moveTo>
                  <a:lnTo>
                    <a:pt x="114" y="220"/>
                  </a:lnTo>
                  <a:lnTo>
                    <a:pt x="124" y="201"/>
                  </a:lnTo>
                  <a:lnTo>
                    <a:pt x="105" y="201"/>
                  </a:lnTo>
                  <a:lnTo>
                    <a:pt x="76" y="201"/>
                  </a:lnTo>
                  <a:lnTo>
                    <a:pt x="57" y="172"/>
                  </a:lnTo>
                  <a:lnTo>
                    <a:pt x="38" y="172"/>
                  </a:lnTo>
                  <a:lnTo>
                    <a:pt x="28" y="172"/>
                  </a:lnTo>
                  <a:lnTo>
                    <a:pt x="19" y="172"/>
                  </a:lnTo>
                  <a:lnTo>
                    <a:pt x="9" y="172"/>
                  </a:lnTo>
                  <a:lnTo>
                    <a:pt x="9" y="162"/>
                  </a:lnTo>
                  <a:lnTo>
                    <a:pt x="0" y="153"/>
                  </a:lnTo>
                  <a:lnTo>
                    <a:pt x="0" y="143"/>
                  </a:lnTo>
                  <a:lnTo>
                    <a:pt x="0" y="134"/>
                  </a:lnTo>
                  <a:lnTo>
                    <a:pt x="9" y="134"/>
                  </a:lnTo>
                  <a:lnTo>
                    <a:pt x="19" y="124"/>
                  </a:lnTo>
                  <a:lnTo>
                    <a:pt x="19" y="115"/>
                  </a:lnTo>
                  <a:lnTo>
                    <a:pt x="19" y="105"/>
                  </a:lnTo>
                  <a:lnTo>
                    <a:pt x="19" y="96"/>
                  </a:lnTo>
                  <a:lnTo>
                    <a:pt x="19" y="76"/>
                  </a:lnTo>
                  <a:lnTo>
                    <a:pt x="19" y="67"/>
                  </a:lnTo>
                  <a:lnTo>
                    <a:pt x="28" y="57"/>
                  </a:lnTo>
                  <a:lnTo>
                    <a:pt x="28" y="48"/>
                  </a:lnTo>
                  <a:lnTo>
                    <a:pt x="38" y="38"/>
                  </a:lnTo>
                  <a:lnTo>
                    <a:pt x="47" y="29"/>
                  </a:lnTo>
                  <a:lnTo>
                    <a:pt x="57" y="19"/>
                  </a:lnTo>
                  <a:lnTo>
                    <a:pt x="66" y="19"/>
                  </a:lnTo>
                  <a:lnTo>
                    <a:pt x="95" y="10"/>
                  </a:lnTo>
                  <a:lnTo>
                    <a:pt x="95" y="0"/>
                  </a:lnTo>
                  <a:lnTo>
                    <a:pt x="105" y="0"/>
                  </a:lnTo>
                  <a:lnTo>
                    <a:pt x="105" y="10"/>
                  </a:lnTo>
                  <a:lnTo>
                    <a:pt x="95" y="10"/>
                  </a:lnTo>
                  <a:lnTo>
                    <a:pt x="85" y="29"/>
                  </a:lnTo>
                  <a:lnTo>
                    <a:pt x="76" y="48"/>
                  </a:lnTo>
                  <a:lnTo>
                    <a:pt x="85" y="48"/>
                  </a:lnTo>
                  <a:lnTo>
                    <a:pt x="85" y="57"/>
                  </a:lnTo>
                  <a:lnTo>
                    <a:pt x="85" y="67"/>
                  </a:lnTo>
                  <a:lnTo>
                    <a:pt x="95" y="76"/>
                  </a:lnTo>
                  <a:lnTo>
                    <a:pt x="124" y="76"/>
                  </a:lnTo>
                  <a:lnTo>
                    <a:pt x="133" y="86"/>
                  </a:lnTo>
                  <a:lnTo>
                    <a:pt x="152" y="86"/>
                  </a:lnTo>
                  <a:lnTo>
                    <a:pt x="162" y="96"/>
                  </a:lnTo>
                  <a:lnTo>
                    <a:pt x="152" y="105"/>
                  </a:lnTo>
                  <a:lnTo>
                    <a:pt x="152" y="115"/>
                  </a:lnTo>
                  <a:lnTo>
                    <a:pt x="162" y="124"/>
                  </a:lnTo>
                  <a:lnTo>
                    <a:pt x="162" y="134"/>
                  </a:lnTo>
                  <a:lnTo>
                    <a:pt x="171" y="143"/>
                  </a:lnTo>
                  <a:lnTo>
                    <a:pt x="171" y="153"/>
                  </a:lnTo>
                  <a:lnTo>
                    <a:pt x="162" y="153"/>
                  </a:lnTo>
                  <a:lnTo>
                    <a:pt x="152" y="143"/>
                  </a:lnTo>
                  <a:lnTo>
                    <a:pt x="124" y="143"/>
                  </a:lnTo>
                  <a:lnTo>
                    <a:pt x="124" y="153"/>
                  </a:lnTo>
                  <a:lnTo>
                    <a:pt x="133" y="162"/>
                  </a:lnTo>
                  <a:lnTo>
                    <a:pt x="124" y="162"/>
                  </a:lnTo>
                  <a:lnTo>
                    <a:pt x="124" y="181"/>
                  </a:lnTo>
                  <a:lnTo>
                    <a:pt x="133" y="181"/>
                  </a:lnTo>
                  <a:lnTo>
                    <a:pt x="124" y="22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71" name="Freeform 463">
              <a:extLst>
                <a:ext uri="{FF2B5EF4-FFF2-40B4-BE49-F238E27FC236}">
                  <a16:creationId xmlns:a16="http://schemas.microsoft.com/office/drawing/2014/main" id="{53088321-48FF-4E1F-B49B-689E6B7430F5}"/>
                </a:ext>
              </a:extLst>
            </p:cNvPr>
            <p:cNvSpPr>
              <a:spLocks/>
            </p:cNvSpPr>
            <p:nvPr/>
          </p:nvSpPr>
          <p:spPr bwMode="gray">
            <a:xfrm>
              <a:off x="1601" y="2700"/>
              <a:ext cx="171" cy="220"/>
            </a:xfrm>
            <a:custGeom>
              <a:avLst/>
              <a:gdLst>
                <a:gd name="T0" fmla="*/ 114 w 171"/>
                <a:gd name="T1" fmla="*/ 220 h 220"/>
                <a:gd name="T2" fmla="*/ 105 w 171"/>
                <a:gd name="T3" fmla="*/ 201 h 220"/>
                <a:gd name="T4" fmla="*/ 57 w 171"/>
                <a:gd name="T5" fmla="*/ 172 h 220"/>
                <a:gd name="T6" fmla="*/ 38 w 171"/>
                <a:gd name="T7" fmla="*/ 172 h 220"/>
                <a:gd name="T8" fmla="*/ 19 w 171"/>
                <a:gd name="T9" fmla="*/ 172 h 220"/>
                <a:gd name="T10" fmla="*/ 9 w 171"/>
                <a:gd name="T11" fmla="*/ 172 h 220"/>
                <a:gd name="T12" fmla="*/ 0 w 171"/>
                <a:gd name="T13" fmla="*/ 153 h 220"/>
                <a:gd name="T14" fmla="*/ 0 w 171"/>
                <a:gd name="T15" fmla="*/ 134 h 220"/>
                <a:gd name="T16" fmla="*/ 19 w 171"/>
                <a:gd name="T17" fmla="*/ 124 h 220"/>
                <a:gd name="T18" fmla="*/ 19 w 171"/>
                <a:gd name="T19" fmla="*/ 115 h 220"/>
                <a:gd name="T20" fmla="*/ 19 w 171"/>
                <a:gd name="T21" fmla="*/ 96 h 220"/>
                <a:gd name="T22" fmla="*/ 19 w 171"/>
                <a:gd name="T23" fmla="*/ 67 h 220"/>
                <a:gd name="T24" fmla="*/ 28 w 171"/>
                <a:gd name="T25" fmla="*/ 57 h 220"/>
                <a:gd name="T26" fmla="*/ 28 w 171"/>
                <a:gd name="T27" fmla="*/ 48 h 220"/>
                <a:gd name="T28" fmla="*/ 38 w 171"/>
                <a:gd name="T29" fmla="*/ 38 h 220"/>
                <a:gd name="T30" fmla="*/ 47 w 171"/>
                <a:gd name="T31" fmla="*/ 29 h 220"/>
                <a:gd name="T32" fmla="*/ 57 w 171"/>
                <a:gd name="T33" fmla="*/ 19 h 220"/>
                <a:gd name="T34" fmla="*/ 95 w 171"/>
                <a:gd name="T35" fmla="*/ 10 h 220"/>
                <a:gd name="T36" fmla="*/ 105 w 171"/>
                <a:gd name="T37" fmla="*/ 0 h 220"/>
                <a:gd name="T38" fmla="*/ 105 w 171"/>
                <a:gd name="T39" fmla="*/ 10 h 220"/>
                <a:gd name="T40" fmla="*/ 85 w 171"/>
                <a:gd name="T41" fmla="*/ 29 h 220"/>
                <a:gd name="T42" fmla="*/ 85 w 171"/>
                <a:gd name="T43" fmla="*/ 48 h 220"/>
                <a:gd name="T44" fmla="*/ 85 w 171"/>
                <a:gd name="T45" fmla="*/ 67 h 220"/>
                <a:gd name="T46" fmla="*/ 124 w 171"/>
                <a:gd name="T47" fmla="*/ 76 h 220"/>
                <a:gd name="T48" fmla="*/ 152 w 171"/>
                <a:gd name="T49" fmla="*/ 86 h 220"/>
                <a:gd name="T50" fmla="*/ 152 w 171"/>
                <a:gd name="T51" fmla="*/ 105 h 220"/>
                <a:gd name="T52" fmla="*/ 162 w 171"/>
                <a:gd name="T53" fmla="*/ 124 h 220"/>
                <a:gd name="T54" fmla="*/ 162 w 171"/>
                <a:gd name="T55" fmla="*/ 134 h 220"/>
                <a:gd name="T56" fmla="*/ 171 w 171"/>
                <a:gd name="T57" fmla="*/ 153 h 220"/>
                <a:gd name="T58" fmla="*/ 152 w 171"/>
                <a:gd name="T59" fmla="*/ 143 h 220"/>
                <a:gd name="T60" fmla="*/ 124 w 171"/>
                <a:gd name="T61" fmla="*/ 153 h 220"/>
                <a:gd name="T62" fmla="*/ 133 w 171"/>
                <a:gd name="T63" fmla="*/ 162 h 220"/>
                <a:gd name="T64" fmla="*/ 124 w 171"/>
                <a:gd name="T65" fmla="*/ 181 h 220"/>
                <a:gd name="T66" fmla="*/ 124 w 171"/>
                <a:gd name="T67" fmla="*/ 220 h 2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1"/>
                <a:gd name="T103" fmla="*/ 0 h 220"/>
                <a:gd name="T104" fmla="*/ 171 w 171"/>
                <a:gd name="T105" fmla="*/ 220 h 22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1" h="220">
                  <a:moveTo>
                    <a:pt x="124" y="220"/>
                  </a:moveTo>
                  <a:lnTo>
                    <a:pt x="114" y="220"/>
                  </a:lnTo>
                  <a:lnTo>
                    <a:pt x="124" y="201"/>
                  </a:lnTo>
                  <a:lnTo>
                    <a:pt x="105" y="201"/>
                  </a:lnTo>
                  <a:lnTo>
                    <a:pt x="76" y="201"/>
                  </a:lnTo>
                  <a:lnTo>
                    <a:pt x="57" y="172"/>
                  </a:lnTo>
                  <a:lnTo>
                    <a:pt x="38" y="172"/>
                  </a:lnTo>
                  <a:lnTo>
                    <a:pt x="28" y="172"/>
                  </a:lnTo>
                  <a:lnTo>
                    <a:pt x="19" y="172"/>
                  </a:lnTo>
                  <a:lnTo>
                    <a:pt x="9" y="172"/>
                  </a:lnTo>
                  <a:lnTo>
                    <a:pt x="9" y="162"/>
                  </a:lnTo>
                  <a:lnTo>
                    <a:pt x="0" y="153"/>
                  </a:lnTo>
                  <a:lnTo>
                    <a:pt x="0" y="143"/>
                  </a:lnTo>
                  <a:lnTo>
                    <a:pt x="0" y="134"/>
                  </a:lnTo>
                  <a:lnTo>
                    <a:pt x="9" y="134"/>
                  </a:lnTo>
                  <a:lnTo>
                    <a:pt x="19" y="124"/>
                  </a:lnTo>
                  <a:lnTo>
                    <a:pt x="19" y="115"/>
                  </a:lnTo>
                  <a:lnTo>
                    <a:pt x="19" y="105"/>
                  </a:lnTo>
                  <a:lnTo>
                    <a:pt x="19" y="96"/>
                  </a:lnTo>
                  <a:lnTo>
                    <a:pt x="19" y="76"/>
                  </a:lnTo>
                  <a:lnTo>
                    <a:pt x="19" y="67"/>
                  </a:lnTo>
                  <a:lnTo>
                    <a:pt x="28" y="57"/>
                  </a:lnTo>
                  <a:lnTo>
                    <a:pt x="28" y="48"/>
                  </a:lnTo>
                  <a:lnTo>
                    <a:pt x="38" y="38"/>
                  </a:lnTo>
                  <a:lnTo>
                    <a:pt x="47" y="29"/>
                  </a:lnTo>
                  <a:lnTo>
                    <a:pt x="57" y="19"/>
                  </a:lnTo>
                  <a:lnTo>
                    <a:pt x="66" y="19"/>
                  </a:lnTo>
                  <a:lnTo>
                    <a:pt x="95" y="10"/>
                  </a:lnTo>
                  <a:lnTo>
                    <a:pt x="95" y="0"/>
                  </a:lnTo>
                  <a:lnTo>
                    <a:pt x="105" y="0"/>
                  </a:lnTo>
                  <a:lnTo>
                    <a:pt x="105" y="10"/>
                  </a:lnTo>
                  <a:lnTo>
                    <a:pt x="95" y="10"/>
                  </a:lnTo>
                  <a:lnTo>
                    <a:pt x="85" y="29"/>
                  </a:lnTo>
                  <a:lnTo>
                    <a:pt x="76" y="48"/>
                  </a:lnTo>
                  <a:lnTo>
                    <a:pt x="85" y="48"/>
                  </a:lnTo>
                  <a:lnTo>
                    <a:pt x="85" y="57"/>
                  </a:lnTo>
                  <a:lnTo>
                    <a:pt x="85" y="67"/>
                  </a:lnTo>
                  <a:lnTo>
                    <a:pt x="95" y="76"/>
                  </a:lnTo>
                  <a:lnTo>
                    <a:pt x="124" y="76"/>
                  </a:lnTo>
                  <a:lnTo>
                    <a:pt x="133" y="86"/>
                  </a:lnTo>
                  <a:lnTo>
                    <a:pt x="152" y="86"/>
                  </a:lnTo>
                  <a:lnTo>
                    <a:pt x="162" y="96"/>
                  </a:lnTo>
                  <a:lnTo>
                    <a:pt x="152" y="105"/>
                  </a:lnTo>
                  <a:lnTo>
                    <a:pt x="152" y="115"/>
                  </a:lnTo>
                  <a:lnTo>
                    <a:pt x="162" y="124"/>
                  </a:lnTo>
                  <a:lnTo>
                    <a:pt x="162" y="134"/>
                  </a:lnTo>
                  <a:lnTo>
                    <a:pt x="171" y="143"/>
                  </a:lnTo>
                  <a:lnTo>
                    <a:pt x="171" y="153"/>
                  </a:lnTo>
                  <a:lnTo>
                    <a:pt x="162" y="153"/>
                  </a:lnTo>
                  <a:lnTo>
                    <a:pt x="152" y="143"/>
                  </a:lnTo>
                  <a:lnTo>
                    <a:pt x="124" y="143"/>
                  </a:lnTo>
                  <a:lnTo>
                    <a:pt x="124" y="153"/>
                  </a:lnTo>
                  <a:lnTo>
                    <a:pt x="133" y="162"/>
                  </a:lnTo>
                  <a:lnTo>
                    <a:pt x="124" y="162"/>
                  </a:lnTo>
                  <a:lnTo>
                    <a:pt x="124" y="181"/>
                  </a:lnTo>
                  <a:lnTo>
                    <a:pt x="133" y="181"/>
                  </a:lnTo>
                  <a:lnTo>
                    <a:pt x="124" y="22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72" name="Freeform 464">
              <a:extLst>
                <a:ext uri="{FF2B5EF4-FFF2-40B4-BE49-F238E27FC236}">
                  <a16:creationId xmlns:a16="http://schemas.microsoft.com/office/drawing/2014/main" id="{11C7365F-5121-4B8B-BB82-122167C7CD00}"/>
                </a:ext>
              </a:extLst>
            </p:cNvPr>
            <p:cNvSpPr>
              <a:spLocks/>
            </p:cNvSpPr>
            <p:nvPr/>
          </p:nvSpPr>
          <p:spPr bwMode="gray">
            <a:xfrm>
              <a:off x="1677" y="2710"/>
              <a:ext cx="200" cy="152"/>
            </a:xfrm>
            <a:custGeom>
              <a:avLst/>
              <a:gdLst>
                <a:gd name="T0" fmla="*/ 95 w 200"/>
                <a:gd name="T1" fmla="*/ 133 h 152"/>
                <a:gd name="T2" fmla="*/ 86 w 200"/>
                <a:gd name="T3" fmla="*/ 124 h 152"/>
                <a:gd name="T4" fmla="*/ 76 w 200"/>
                <a:gd name="T5" fmla="*/ 105 h 152"/>
                <a:gd name="T6" fmla="*/ 86 w 200"/>
                <a:gd name="T7" fmla="*/ 86 h 152"/>
                <a:gd name="T8" fmla="*/ 57 w 200"/>
                <a:gd name="T9" fmla="*/ 76 h 152"/>
                <a:gd name="T10" fmla="*/ 19 w 200"/>
                <a:gd name="T11" fmla="*/ 66 h 152"/>
                <a:gd name="T12" fmla="*/ 9 w 200"/>
                <a:gd name="T13" fmla="*/ 47 h 152"/>
                <a:gd name="T14" fmla="*/ 0 w 200"/>
                <a:gd name="T15" fmla="*/ 38 h 152"/>
                <a:gd name="T16" fmla="*/ 19 w 200"/>
                <a:gd name="T17" fmla="*/ 0 h 152"/>
                <a:gd name="T18" fmla="*/ 19 w 200"/>
                <a:gd name="T19" fmla="*/ 9 h 152"/>
                <a:gd name="T20" fmla="*/ 19 w 200"/>
                <a:gd name="T21" fmla="*/ 19 h 152"/>
                <a:gd name="T22" fmla="*/ 19 w 200"/>
                <a:gd name="T23" fmla="*/ 38 h 152"/>
                <a:gd name="T24" fmla="*/ 29 w 200"/>
                <a:gd name="T25" fmla="*/ 28 h 152"/>
                <a:gd name="T26" fmla="*/ 29 w 200"/>
                <a:gd name="T27" fmla="*/ 9 h 152"/>
                <a:gd name="T28" fmla="*/ 48 w 200"/>
                <a:gd name="T29" fmla="*/ 0 h 152"/>
                <a:gd name="T30" fmla="*/ 57 w 200"/>
                <a:gd name="T31" fmla="*/ 0 h 152"/>
                <a:gd name="T32" fmla="*/ 76 w 200"/>
                <a:gd name="T33" fmla="*/ 9 h 152"/>
                <a:gd name="T34" fmla="*/ 105 w 200"/>
                <a:gd name="T35" fmla="*/ 19 h 152"/>
                <a:gd name="T36" fmla="*/ 124 w 200"/>
                <a:gd name="T37" fmla="*/ 19 h 152"/>
                <a:gd name="T38" fmla="*/ 143 w 200"/>
                <a:gd name="T39" fmla="*/ 19 h 152"/>
                <a:gd name="T40" fmla="*/ 152 w 200"/>
                <a:gd name="T41" fmla="*/ 19 h 152"/>
                <a:gd name="T42" fmla="*/ 171 w 200"/>
                <a:gd name="T43" fmla="*/ 28 h 152"/>
                <a:gd name="T44" fmla="*/ 191 w 200"/>
                <a:gd name="T45" fmla="*/ 38 h 152"/>
                <a:gd name="T46" fmla="*/ 200 w 200"/>
                <a:gd name="T47" fmla="*/ 57 h 152"/>
                <a:gd name="T48" fmla="*/ 191 w 200"/>
                <a:gd name="T49" fmla="*/ 66 h 152"/>
                <a:gd name="T50" fmla="*/ 191 w 200"/>
                <a:gd name="T51" fmla="*/ 66 h 152"/>
                <a:gd name="T52" fmla="*/ 181 w 200"/>
                <a:gd name="T53" fmla="*/ 76 h 152"/>
                <a:gd name="T54" fmla="*/ 181 w 200"/>
                <a:gd name="T55" fmla="*/ 86 h 152"/>
                <a:gd name="T56" fmla="*/ 152 w 200"/>
                <a:gd name="T57" fmla="*/ 114 h 152"/>
                <a:gd name="T58" fmla="*/ 133 w 200"/>
                <a:gd name="T59" fmla="*/ 105 h 152"/>
                <a:gd name="T60" fmla="*/ 133 w 200"/>
                <a:gd name="T61" fmla="*/ 114 h 152"/>
                <a:gd name="T62" fmla="*/ 143 w 200"/>
                <a:gd name="T63" fmla="*/ 124 h 152"/>
                <a:gd name="T64" fmla="*/ 143 w 200"/>
                <a:gd name="T65" fmla="*/ 133 h 152"/>
                <a:gd name="T66" fmla="*/ 105 w 200"/>
                <a:gd name="T67" fmla="*/ 152 h 1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0"/>
                <a:gd name="T103" fmla="*/ 0 h 152"/>
                <a:gd name="T104" fmla="*/ 200 w 200"/>
                <a:gd name="T105" fmla="*/ 152 h 15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0" h="152">
                  <a:moveTo>
                    <a:pt x="95" y="143"/>
                  </a:moveTo>
                  <a:lnTo>
                    <a:pt x="95" y="133"/>
                  </a:lnTo>
                  <a:lnTo>
                    <a:pt x="86" y="124"/>
                  </a:lnTo>
                  <a:lnTo>
                    <a:pt x="86" y="114"/>
                  </a:lnTo>
                  <a:lnTo>
                    <a:pt x="76" y="105"/>
                  </a:lnTo>
                  <a:lnTo>
                    <a:pt x="76" y="95"/>
                  </a:lnTo>
                  <a:lnTo>
                    <a:pt x="86" y="86"/>
                  </a:lnTo>
                  <a:lnTo>
                    <a:pt x="76" y="76"/>
                  </a:lnTo>
                  <a:lnTo>
                    <a:pt x="57" y="76"/>
                  </a:lnTo>
                  <a:lnTo>
                    <a:pt x="48" y="66"/>
                  </a:lnTo>
                  <a:lnTo>
                    <a:pt x="19" y="66"/>
                  </a:lnTo>
                  <a:lnTo>
                    <a:pt x="9" y="57"/>
                  </a:lnTo>
                  <a:lnTo>
                    <a:pt x="9" y="47"/>
                  </a:lnTo>
                  <a:lnTo>
                    <a:pt x="9" y="38"/>
                  </a:lnTo>
                  <a:lnTo>
                    <a:pt x="0" y="38"/>
                  </a:lnTo>
                  <a:lnTo>
                    <a:pt x="9" y="19"/>
                  </a:lnTo>
                  <a:lnTo>
                    <a:pt x="19" y="0"/>
                  </a:lnTo>
                  <a:lnTo>
                    <a:pt x="29" y="0"/>
                  </a:lnTo>
                  <a:lnTo>
                    <a:pt x="19" y="9"/>
                  </a:lnTo>
                  <a:lnTo>
                    <a:pt x="19" y="19"/>
                  </a:lnTo>
                  <a:lnTo>
                    <a:pt x="19" y="28"/>
                  </a:lnTo>
                  <a:lnTo>
                    <a:pt x="19" y="38"/>
                  </a:lnTo>
                  <a:lnTo>
                    <a:pt x="29" y="38"/>
                  </a:lnTo>
                  <a:lnTo>
                    <a:pt x="29" y="28"/>
                  </a:lnTo>
                  <a:lnTo>
                    <a:pt x="29" y="19"/>
                  </a:lnTo>
                  <a:lnTo>
                    <a:pt x="29" y="9"/>
                  </a:lnTo>
                  <a:lnTo>
                    <a:pt x="48" y="9"/>
                  </a:lnTo>
                  <a:lnTo>
                    <a:pt x="48" y="0"/>
                  </a:lnTo>
                  <a:lnTo>
                    <a:pt x="57" y="0"/>
                  </a:lnTo>
                  <a:lnTo>
                    <a:pt x="76" y="9"/>
                  </a:lnTo>
                  <a:lnTo>
                    <a:pt x="76" y="19"/>
                  </a:lnTo>
                  <a:lnTo>
                    <a:pt x="105" y="19"/>
                  </a:lnTo>
                  <a:lnTo>
                    <a:pt x="114" y="19"/>
                  </a:lnTo>
                  <a:lnTo>
                    <a:pt x="124" y="19"/>
                  </a:lnTo>
                  <a:lnTo>
                    <a:pt x="133" y="19"/>
                  </a:lnTo>
                  <a:lnTo>
                    <a:pt x="143" y="19"/>
                  </a:lnTo>
                  <a:lnTo>
                    <a:pt x="143" y="9"/>
                  </a:lnTo>
                  <a:lnTo>
                    <a:pt x="152" y="19"/>
                  </a:lnTo>
                  <a:lnTo>
                    <a:pt x="162" y="28"/>
                  </a:lnTo>
                  <a:lnTo>
                    <a:pt x="171" y="28"/>
                  </a:lnTo>
                  <a:lnTo>
                    <a:pt x="181" y="28"/>
                  </a:lnTo>
                  <a:lnTo>
                    <a:pt x="191" y="38"/>
                  </a:lnTo>
                  <a:lnTo>
                    <a:pt x="200" y="47"/>
                  </a:lnTo>
                  <a:lnTo>
                    <a:pt x="200" y="57"/>
                  </a:lnTo>
                  <a:lnTo>
                    <a:pt x="191" y="57"/>
                  </a:lnTo>
                  <a:lnTo>
                    <a:pt x="191" y="66"/>
                  </a:lnTo>
                  <a:lnTo>
                    <a:pt x="181" y="76"/>
                  </a:lnTo>
                  <a:lnTo>
                    <a:pt x="181" y="86"/>
                  </a:lnTo>
                  <a:lnTo>
                    <a:pt x="181" y="105"/>
                  </a:lnTo>
                  <a:lnTo>
                    <a:pt x="152" y="114"/>
                  </a:lnTo>
                  <a:lnTo>
                    <a:pt x="143" y="105"/>
                  </a:lnTo>
                  <a:lnTo>
                    <a:pt x="133" y="105"/>
                  </a:lnTo>
                  <a:lnTo>
                    <a:pt x="133" y="114"/>
                  </a:lnTo>
                  <a:lnTo>
                    <a:pt x="133" y="124"/>
                  </a:lnTo>
                  <a:lnTo>
                    <a:pt x="143" y="124"/>
                  </a:lnTo>
                  <a:lnTo>
                    <a:pt x="143" y="133"/>
                  </a:lnTo>
                  <a:lnTo>
                    <a:pt x="114" y="143"/>
                  </a:lnTo>
                  <a:lnTo>
                    <a:pt x="105" y="152"/>
                  </a:lnTo>
                  <a:lnTo>
                    <a:pt x="95" y="143"/>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73" name="Freeform 465">
              <a:extLst>
                <a:ext uri="{FF2B5EF4-FFF2-40B4-BE49-F238E27FC236}">
                  <a16:creationId xmlns:a16="http://schemas.microsoft.com/office/drawing/2014/main" id="{A6FCA164-D623-48FB-BAC5-E5550E2CAA47}"/>
                </a:ext>
              </a:extLst>
            </p:cNvPr>
            <p:cNvSpPr>
              <a:spLocks/>
            </p:cNvSpPr>
            <p:nvPr/>
          </p:nvSpPr>
          <p:spPr bwMode="gray">
            <a:xfrm>
              <a:off x="1677" y="2710"/>
              <a:ext cx="200" cy="152"/>
            </a:xfrm>
            <a:custGeom>
              <a:avLst/>
              <a:gdLst>
                <a:gd name="T0" fmla="*/ 95 w 200"/>
                <a:gd name="T1" fmla="*/ 133 h 152"/>
                <a:gd name="T2" fmla="*/ 86 w 200"/>
                <a:gd name="T3" fmla="*/ 124 h 152"/>
                <a:gd name="T4" fmla="*/ 76 w 200"/>
                <a:gd name="T5" fmla="*/ 105 h 152"/>
                <a:gd name="T6" fmla="*/ 86 w 200"/>
                <a:gd name="T7" fmla="*/ 86 h 152"/>
                <a:gd name="T8" fmla="*/ 57 w 200"/>
                <a:gd name="T9" fmla="*/ 76 h 152"/>
                <a:gd name="T10" fmla="*/ 19 w 200"/>
                <a:gd name="T11" fmla="*/ 66 h 152"/>
                <a:gd name="T12" fmla="*/ 9 w 200"/>
                <a:gd name="T13" fmla="*/ 47 h 152"/>
                <a:gd name="T14" fmla="*/ 0 w 200"/>
                <a:gd name="T15" fmla="*/ 38 h 152"/>
                <a:gd name="T16" fmla="*/ 19 w 200"/>
                <a:gd name="T17" fmla="*/ 0 h 152"/>
                <a:gd name="T18" fmla="*/ 19 w 200"/>
                <a:gd name="T19" fmla="*/ 9 h 152"/>
                <a:gd name="T20" fmla="*/ 19 w 200"/>
                <a:gd name="T21" fmla="*/ 19 h 152"/>
                <a:gd name="T22" fmla="*/ 19 w 200"/>
                <a:gd name="T23" fmla="*/ 38 h 152"/>
                <a:gd name="T24" fmla="*/ 29 w 200"/>
                <a:gd name="T25" fmla="*/ 28 h 152"/>
                <a:gd name="T26" fmla="*/ 29 w 200"/>
                <a:gd name="T27" fmla="*/ 9 h 152"/>
                <a:gd name="T28" fmla="*/ 48 w 200"/>
                <a:gd name="T29" fmla="*/ 0 h 152"/>
                <a:gd name="T30" fmla="*/ 57 w 200"/>
                <a:gd name="T31" fmla="*/ 0 h 152"/>
                <a:gd name="T32" fmla="*/ 76 w 200"/>
                <a:gd name="T33" fmla="*/ 9 h 152"/>
                <a:gd name="T34" fmla="*/ 105 w 200"/>
                <a:gd name="T35" fmla="*/ 19 h 152"/>
                <a:gd name="T36" fmla="*/ 124 w 200"/>
                <a:gd name="T37" fmla="*/ 19 h 152"/>
                <a:gd name="T38" fmla="*/ 143 w 200"/>
                <a:gd name="T39" fmla="*/ 19 h 152"/>
                <a:gd name="T40" fmla="*/ 152 w 200"/>
                <a:gd name="T41" fmla="*/ 19 h 152"/>
                <a:gd name="T42" fmla="*/ 171 w 200"/>
                <a:gd name="T43" fmla="*/ 28 h 152"/>
                <a:gd name="T44" fmla="*/ 191 w 200"/>
                <a:gd name="T45" fmla="*/ 38 h 152"/>
                <a:gd name="T46" fmla="*/ 200 w 200"/>
                <a:gd name="T47" fmla="*/ 57 h 152"/>
                <a:gd name="T48" fmla="*/ 191 w 200"/>
                <a:gd name="T49" fmla="*/ 66 h 152"/>
                <a:gd name="T50" fmla="*/ 191 w 200"/>
                <a:gd name="T51" fmla="*/ 66 h 152"/>
                <a:gd name="T52" fmla="*/ 181 w 200"/>
                <a:gd name="T53" fmla="*/ 76 h 152"/>
                <a:gd name="T54" fmla="*/ 181 w 200"/>
                <a:gd name="T55" fmla="*/ 86 h 152"/>
                <a:gd name="T56" fmla="*/ 152 w 200"/>
                <a:gd name="T57" fmla="*/ 114 h 152"/>
                <a:gd name="T58" fmla="*/ 133 w 200"/>
                <a:gd name="T59" fmla="*/ 105 h 152"/>
                <a:gd name="T60" fmla="*/ 133 w 200"/>
                <a:gd name="T61" fmla="*/ 114 h 152"/>
                <a:gd name="T62" fmla="*/ 143 w 200"/>
                <a:gd name="T63" fmla="*/ 124 h 152"/>
                <a:gd name="T64" fmla="*/ 143 w 200"/>
                <a:gd name="T65" fmla="*/ 133 h 152"/>
                <a:gd name="T66" fmla="*/ 105 w 200"/>
                <a:gd name="T67" fmla="*/ 152 h 1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0"/>
                <a:gd name="T103" fmla="*/ 0 h 152"/>
                <a:gd name="T104" fmla="*/ 200 w 200"/>
                <a:gd name="T105" fmla="*/ 152 h 15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0" h="152">
                  <a:moveTo>
                    <a:pt x="95" y="143"/>
                  </a:moveTo>
                  <a:lnTo>
                    <a:pt x="95" y="133"/>
                  </a:lnTo>
                  <a:lnTo>
                    <a:pt x="86" y="124"/>
                  </a:lnTo>
                  <a:lnTo>
                    <a:pt x="86" y="114"/>
                  </a:lnTo>
                  <a:lnTo>
                    <a:pt x="76" y="105"/>
                  </a:lnTo>
                  <a:lnTo>
                    <a:pt x="76" y="95"/>
                  </a:lnTo>
                  <a:lnTo>
                    <a:pt x="86" y="86"/>
                  </a:lnTo>
                  <a:lnTo>
                    <a:pt x="76" y="76"/>
                  </a:lnTo>
                  <a:lnTo>
                    <a:pt x="57" y="76"/>
                  </a:lnTo>
                  <a:lnTo>
                    <a:pt x="48" y="66"/>
                  </a:lnTo>
                  <a:lnTo>
                    <a:pt x="19" y="66"/>
                  </a:lnTo>
                  <a:lnTo>
                    <a:pt x="9" y="57"/>
                  </a:lnTo>
                  <a:lnTo>
                    <a:pt x="9" y="47"/>
                  </a:lnTo>
                  <a:lnTo>
                    <a:pt x="9" y="38"/>
                  </a:lnTo>
                  <a:lnTo>
                    <a:pt x="0" y="38"/>
                  </a:lnTo>
                  <a:lnTo>
                    <a:pt x="9" y="19"/>
                  </a:lnTo>
                  <a:lnTo>
                    <a:pt x="19" y="0"/>
                  </a:lnTo>
                  <a:lnTo>
                    <a:pt x="29" y="0"/>
                  </a:lnTo>
                  <a:lnTo>
                    <a:pt x="19" y="9"/>
                  </a:lnTo>
                  <a:lnTo>
                    <a:pt x="19" y="19"/>
                  </a:lnTo>
                  <a:lnTo>
                    <a:pt x="19" y="28"/>
                  </a:lnTo>
                  <a:lnTo>
                    <a:pt x="19" y="38"/>
                  </a:lnTo>
                  <a:lnTo>
                    <a:pt x="29" y="38"/>
                  </a:lnTo>
                  <a:lnTo>
                    <a:pt x="29" y="28"/>
                  </a:lnTo>
                  <a:lnTo>
                    <a:pt x="29" y="19"/>
                  </a:lnTo>
                  <a:lnTo>
                    <a:pt x="29" y="9"/>
                  </a:lnTo>
                  <a:lnTo>
                    <a:pt x="48" y="9"/>
                  </a:lnTo>
                  <a:lnTo>
                    <a:pt x="48" y="0"/>
                  </a:lnTo>
                  <a:lnTo>
                    <a:pt x="57" y="0"/>
                  </a:lnTo>
                  <a:lnTo>
                    <a:pt x="76" y="9"/>
                  </a:lnTo>
                  <a:lnTo>
                    <a:pt x="76" y="19"/>
                  </a:lnTo>
                  <a:lnTo>
                    <a:pt x="105" y="19"/>
                  </a:lnTo>
                  <a:lnTo>
                    <a:pt x="114" y="19"/>
                  </a:lnTo>
                  <a:lnTo>
                    <a:pt x="124" y="19"/>
                  </a:lnTo>
                  <a:lnTo>
                    <a:pt x="133" y="19"/>
                  </a:lnTo>
                  <a:lnTo>
                    <a:pt x="143" y="19"/>
                  </a:lnTo>
                  <a:lnTo>
                    <a:pt x="143" y="9"/>
                  </a:lnTo>
                  <a:lnTo>
                    <a:pt x="152" y="19"/>
                  </a:lnTo>
                  <a:lnTo>
                    <a:pt x="162" y="28"/>
                  </a:lnTo>
                  <a:lnTo>
                    <a:pt x="171" y="28"/>
                  </a:lnTo>
                  <a:lnTo>
                    <a:pt x="181" y="28"/>
                  </a:lnTo>
                  <a:lnTo>
                    <a:pt x="191" y="38"/>
                  </a:lnTo>
                  <a:lnTo>
                    <a:pt x="200" y="47"/>
                  </a:lnTo>
                  <a:lnTo>
                    <a:pt x="200" y="57"/>
                  </a:lnTo>
                  <a:lnTo>
                    <a:pt x="191" y="57"/>
                  </a:lnTo>
                  <a:lnTo>
                    <a:pt x="191" y="66"/>
                  </a:lnTo>
                  <a:lnTo>
                    <a:pt x="181" y="76"/>
                  </a:lnTo>
                  <a:lnTo>
                    <a:pt x="181" y="86"/>
                  </a:lnTo>
                  <a:lnTo>
                    <a:pt x="181" y="105"/>
                  </a:lnTo>
                  <a:lnTo>
                    <a:pt x="152" y="114"/>
                  </a:lnTo>
                  <a:lnTo>
                    <a:pt x="143" y="105"/>
                  </a:lnTo>
                  <a:lnTo>
                    <a:pt x="133" y="105"/>
                  </a:lnTo>
                  <a:lnTo>
                    <a:pt x="133" y="114"/>
                  </a:lnTo>
                  <a:lnTo>
                    <a:pt x="133" y="124"/>
                  </a:lnTo>
                  <a:lnTo>
                    <a:pt x="143" y="124"/>
                  </a:lnTo>
                  <a:lnTo>
                    <a:pt x="143" y="133"/>
                  </a:lnTo>
                  <a:lnTo>
                    <a:pt x="114" y="143"/>
                  </a:lnTo>
                  <a:lnTo>
                    <a:pt x="105" y="152"/>
                  </a:lnTo>
                  <a:lnTo>
                    <a:pt x="95" y="143"/>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74" name="Freeform 466">
              <a:extLst>
                <a:ext uri="{FF2B5EF4-FFF2-40B4-BE49-F238E27FC236}">
                  <a16:creationId xmlns:a16="http://schemas.microsoft.com/office/drawing/2014/main" id="{6A390F72-A03F-4981-BEAC-1540E3EC9335}"/>
                </a:ext>
              </a:extLst>
            </p:cNvPr>
            <p:cNvSpPr>
              <a:spLocks/>
            </p:cNvSpPr>
            <p:nvPr/>
          </p:nvSpPr>
          <p:spPr bwMode="gray">
            <a:xfrm>
              <a:off x="1858" y="2757"/>
              <a:ext cx="57" cy="96"/>
            </a:xfrm>
            <a:custGeom>
              <a:avLst/>
              <a:gdLst>
                <a:gd name="T0" fmla="*/ 19 w 57"/>
                <a:gd name="T1" fmla="*/ 0 h 96"/>
                <a:gd name="T2" fmla="*/ 19 w 57"/>
                <a:gd name="T3" fmla="*/ 10 h 96"/>
                <a:gd name="T4" fmla="*/ 10 w 57"/>
                <a:gd name="T5" fmla="*/ 10 h 96"/>
                <a:gd name="T6" fmla="*/ 10 w 57"/>
                <a:gd name="T7" fmla="*/ 19 h 96"/>
                <a:gd name="T8" fmla="*/ 10 w 57"/>
                <a:gd name="T9" fmla="*/ 19 h 96"/>
                <a:gd name="T10" fmla="*/ 10 w 57"/>
                <a:gd name="T11" fmla="*/ 19 h 96"/>
                <a:gd name="T12" fmla="*/ 0 w 57"/>
                <a:gd name="T13" fmla="*/ 19 h 96"/>
                <a:gd name="T14" fmla="*/ 0 w 57"/>
                <a:gd name="T15" fmla="*/ 29 h 96"/>
                <a:gd name="T16" fmla="*/ 0 w 57"/>
                <a:gd name="T17" fmla="*/ 39 h 96"/>
                <a:gd name="T18" fmla="*/ 0 w 57"/>
                <a:gd name="T19" fmla="*/ 39 h 96"/>
                <a:gd name="T20" fmla="*/ 10 w 57"/>
                <a:gd name="T21" fmla="*/ 39 h 96"/>
                <a:gd name="T22" fmla="*/ 19 w 57"/>
                <a:gd name="T23" fmla="*/ 48 h 96"/>
                <a:gd name="T24" fmla="*/ 19 w 57"/>
                <a:gd name="T25" fmla="*/ 58 h 96"/>
                <a:gd name="T26" fmla="*/ 19 w 57"/>
                <a:gd name="T27" fmla="*/ 77 h 96"/>
                <a:gd name="T28" fmla="*/ 19 w 57"/>
                <a:gd name="T29" fmla="*/ 86 h 96"/>
                <a:gd name="T30" fmla="*/ 29 w 57"/>
                <a:gd name="T31" fmla="*/ 96 h 96"/>
                <a:gd name="T32" fmla="*/ 38 w 57"/>
                <a:gd name="T33" fmla="*/ 96 h 96"/>
                <a:gd name="T34" fmla="*/ 48 w 57"/>
                <a:gd name="T35" fmla="*/ 96 h 96"/>
                <a:gd name="T36" fmla="*/ 48 w 57"/>
                <a:gd name="T37" fmla="*/ 86 h 96"/>
                <a:gd name="T38" fmla="*/ 57 w 57"/>
                <a:gd name="T39" fmla="*/ 86 h 96"/>
                <a:gd name="T40" fmla="*/ 57 w 57"/>
                <a:gd name="T41" fmla="*/ 86 h 96"/>
                <a:gd name="T42" fmla="*/ 57 w 57"/>
                <a:gd name="T43" fmla="*/ 67 h 96"/>
                <a:gd name="T44" fmla="*/ 48 w 57"/>
                <a:gd name="T45" fmla="*/ 67 h 96"/>
                <a:gd name="T46" fmla="*/ 48 w 57"/>
                <a:gd name="T47" fmla="*/ 58 h 96"/>
                <a:gd name="T48" fmla="*/ 57 w 57"/>
                <a:gd name="T49" fmla="*/ 48 h 96"/>
                <a:gd name="T50" fmla="*/ 57 w 57"/>
                <a:gd name="T51" fmla="*/ 29 h 96"/>
                <a:gd name="T52" fmla="*/ 57 w 57"/>
                <a:gd name="T53" fmla="*/ 29 h 96"/>
                <a:gd name="T54" fmla="*/ 48 w 57"/>
                <a:gd name="T55" fmla="*/ 19 h 96"/>
                <a:gd name="T56" fmla="*/ 38 w 57"/>
                <a:gd name="T57" fmla="*/ 19 h 96"/>
                <a:gd name="T58" fmla="*/ 38 w 57"/>
                <a:gd name="T59" fmla="*/ 10 h 96"/>
                <a:gd name="T60" fmla="*/ 29 w 57"/>
                <a:gd name="T61" fmla="*/ 0 h 96"/>
                <a:gd name="T62" fmla="*/ 19 w 57"/>
                <a:gd name="T63" fmla="*/ 0 h 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7"/>
                <a:gd name="T97" fmla="*/ 0 h 96"/>
                <a:gd name="T98" fmla="*/ 57 w 57"/>
                <a:gd name="T99" fmla="*/ 96 h 9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7" h="96">
                  <a:moveTo>
                    <a:pt x="19" y="0"/>
                  </a:moveTo>
                  <a:lnTo>
                    <a:pt x="19" y="10"/>
                  </a:lnTo>
                  <a:lnTo>
                    <a:pt x="10" y="10"/>
                  </a:lnTo>
                  <a:lnTo>
                    <a:pt x="10" y="19"/>
                  </a:lnTo>
                  <a:lnTo>
                    <a:pt x="0" y="19"/>
                  </a:lnTo>
                  <a:lnTo>
                    <a:pt x="0" y="29"/>
                  </a:lnTo>
                  <a:lnTo>
                    <a:pt x="0" y="39"/>
                  </a:lnTo>
                  <a:lnTo>
                    <a:pt x="10" y="39"/>
                  </a:lnTo>
                  <a:lnTo>
                    <a:pt x="19" y="48"/>
                  </a:lnTo>
                  <a:lnTo>
                    <a:pt x="19" y="58"/>
                  </a:lnTo>
                  <a:lnTo>
                    <a:pt x="19" y="77"/>
                  </a:lnTo>
                  <a:lnTo>
                    <a:pt x="19" y="86"/>
                  </a:lnTo>
                  <a:lnTo>
                    <a:pt x="29" y="96"/>
                  </a:lnTo>
                  <a:lnTo>
                    <a:pt x="38" y="96"/>
                  </a:lnTo>
                  <a:lnTo>
                    <a:pt x="48" y="96"/>
                  </a:lnTo>
                  <a:lnTo>
                    <a:pt x="48" y="86"/>
                  </a:lnTo>
                  <a:lnTo>
                    <a:pt x="57" y="86"/>
                  </a:lnTo>
                  <a:lnTo>
                    <a:pt x="57" y="67"/>
                  </a:lnTo>
                  <a:lnTo>
                    <a:pt x="48" y="67"/>
                  </a:lnTo>
                  <a:lnTo>
                    <a:pt x="48" y="58"/>
                  </a:lnTo>
                  <a:lnTo>
                    <a:pt x="57" y="48"/>
                  </a:lnTo>
                  <a:lnTo>
                    <a:pt x="57" y="29"/>
                  </a:lnTo>
                  <a:lnTo>
                    <a:pt x="48" y="19"/>
                  </a:lnTo>
                  <a:lnTo>
                    <a:pt x="38" y="19"/>
                  </a:lnTo>
                  <a:lnTo>
                    <a:pt x="38" y="10"/>
                  </a:lnTo>
                  <a:lnTo>
                    <a:pt x="29" y="0"/>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75" name="Freeform 467">
              <a:extLst>
                <a:ext uri="{FF2B5EF4-FFF2-40B4-BE49-F238E27FC236}">
                  <a16:creationId xmlns:a16="http://schemas.microsoft.com/office/drawing/2014/main" id="{6D98FD6C-AAE6-4359-B7DA-3D8587BB0D86}"/>
                </a:ext>
              </a:extLst>
            </p:cNvPr>
            <p:cNvSpPr>
              <a:spLocks/>
            </p:cNvSpPr>
            <p:nvPr/>
          </p:nvSpPr>
          <p:spPr bwMode="gray">
            <a:xfrm>
              <a:off x="1667" y="2796"/>
              <a:ext cx="582" cy="553"/>
            </a:xfrm>
            <a:custGeom>
              <a:avLst/>
              <a:gdLst>
                <a:gd name="T0" fmla="*/ 210 w 582"/>
                <a:gd name="T1" fmla="*/ 9 h 553"/>
                <a:gd name="T2" fmla="*/ 210 w 582"/>
                <a:gd name="T3" fmla="*/ 47 h 553"/>
                <a:gd name="T4" fmla="*/ 239 w 582"/>
                <a:gd name="T5" fmla="*/ 57 h 553"/>
                <a:gd name="T6" fmla="*/ 248 w 582"/>
                <a:gd name="T7" fmla="*/ 47 h 553"/>
                <a:gd name="T8" fmla="*/ 267 w 582"/>
                <a:gd name="T9" fmla="*/ 38 h 553"/>
                <a:gd name="T10" fmla="*/ 296 w 582"/>
                <a:gd name="T11" fmla="*/ 47 h 553"/>
                <a:gd name="T12" fmla="*/ 324 w 582"/>
                <a:gd name="T13" fmla="*/ 28 h 553"/>
                <a:gd name="T14" fmla="*/ 334 w 582"/>
                <a:gd name="T15" fmla="*/ 28 h 553"/>
                <a:gd name="T16" fmla="*/ 363 w 582"/>
                <a:gd name="T17" fmla="*/ 47 h 553"/>
                <a:gd name="T18" fmla="*/ 344 w 582"/>
                <a:gd name="T19" fmla="*/ 66 h 553"/>
                <a:gd name="T20" fmla="*/ 363 w 582"/>
                <a:gd name="T21" fmla="*/ 76 h 553"/>
                <a:gd name="T22" fmla="*/ 372 w 582"/>
                <a:gd name="T23" fmla="*/ 85 h 553"/>
                <a:gd name="T24" fmla="*/ 363 w 582"/>
                <a:gd name="T25" fmla="*/ 95 h 553"/>
                <a:gd name="T26" fmla="*/ 401 w 582"/>
                <a:gd name="T27" fmla="*/ 85 h 553"/>
                <a:gd name="T28" fmla="*/ 439 w 582"/>
                <a:gd name="T29" fmla="*/ 95 h 553"/>
                <a:gd name="T30" fmla="*/ 439 w 582"/>
                <a:gd name="T31" fmla="*/ 105 h 553"/>
                <a:gd name="T32" fmla="*/ 496 w 582"/>
                <a:gd name="T33" fmla="*/ 105 h 553"/>
                <a:gd name="T34" fmla="*/ 544 w 582"/>
                <a:gd name="T35" fmla="*/ 133 h 553"/>
                <a:gd name="T36" fmla="*/ 582 w 582"/>
                <a:gd name="T37" fmla="*/ 190 h 553"/>
                <a:gd name="T38" fmla="*/ 563 w 582"/>
                <a:gd name="T39" fmla="*/ 219 h 553"/>
                <a:gd name="T40" fmla="*/ 544 w 582"/>
                <a:gd name="T41" fmla="*/ 229 h 553"/>
                <a:gd name="T42" fmla="*/ 525 w 582"/>
                <a:gd name="T43" fmla="*/ 257 h 553"/>
                <a:gd name="T44" fmla="*/ 515 w 582"/>
                <a:gd name="T45" fmla="*/ 295 h 553"/>
                <a:gd name="T46" fmla="*/ 506 w 582"/>
                <a:gd name="T47" fmla="*/ 334 h 553"/>
                <a:gd name="T48" fmla="*/ 496 w 582"/>
                <a:gd name="T49" fmla="*/ 353 h 553"/>
                <a:gd name="T50" fmla="*/ 477 w 582"/>
                <a:gd name="T51" fmla="*/ 381 h 553"/>
                <a:gd name="T52" fmla="*/ 458 w 582"/>
                <a:gd name="T53" fmla="*/ 391 h 553"/>
                <a:gd name="T54" fmla="*/ 429 w 582"/>
                <a:gd name="T55" fmla="*/ 400 h 553"/>
                <a:gd name="T56" fmla="*/ 410 w 582"/>
                <a:gd name="T57" fmla="*/ 410 h 553"/>
                <a:gd name="T58" fmla="*/ 391 w 582"/>
                <a:gd name="T59" fmla="*/ 419 h 553"/>
                <a:gd name="T60" fmla="*/ 372 w 582"/>
                <a:gd name="T61" fmla="*/ 448 h 553"/>
                <a:gd name="T62" fmla="*/ 363 w 582"/>
                <a:gd name="T63" fmla="*/ 486 h 553"/>
                <a:gd name="T64" fmla="*/ 353 w 582"/>
                <a:gd name="T65" fmla="*/ 496 h 553"/>
                <a:gd name="T66" fmla="*/ 324 w 582"/>
                <a:gd name="T67" fmla="*/ 524 h 553"/>
                <a:gd name="T68" fmla="*/ 344 w 582"/>
                <a:gd name="T69" fmla="*/ 505 h 553"/>
                <a:gd name="T70" fmla="*/ 324 w 582"/>
                <a:gd name="T71" fmla="*/ 515 h 553"/>
                <a:gd name="T72" fmla="*/ 324 w 582"/>
                <a:gd name="T73" fmla="*/ 534 h 553"/>
                <a:gd name="T74" fmla="*/ 296 w 582"/>
                <a:gd name="T75" fmla="*/ 534 h 553"/>
                <a:gd name="T76" fmla="*/ 277 w 582"/>
                <a:gd name="T77" fmla="*/ 515 h 553"/>
                <a:gd name="T78" fmla="*/ 248 w 582"/>
                <a:gd name="T79" fmla="*/ 505 h 553"/>
                <a:gd name="T80" fmla="*/ 258 w 582"/>
                <a:gd name="T81" fmla="*/ 486 h 553"/>
                <a:gd name="T82" fmla="*/ 296 w 582"/>
                <a:gd name="T83" fmla="*/ 448 h 553"/>
                <a:gd name="T84" fmla="*/ 286 w 582"/>
                <a:gd name="T85" fmla="*/ 429 h 553"/>
                <a:gd name="T86" fmla="*/ 286 w 582"/>
                <a:gd name="T87" fmla="*/ 410 h 553"/>
                <a:gd name="T88" fmla="*/ 267 w 582"/>
                <a:gd name="T89" fmla="*/ 391 h 553"/>
                <a:gd name="T90" fmla="*/ 239 w 582"/>
                <a:gd name="T91" fmla="*/ 343 h 553"/>
                <a:gd name="T92" fmla="*/ 229 w 582"/>
                <a:gd name="T93" fmla="*/ 305 h 553"/>
                <a:gd name="T94" fmla="*/ 191 w 582"/>
                <a:gd name="T95" fmla="*/ 295 h 553"/>
                <a:gd name="T96" fmla="*/ 153 w 582"/>
                <a:gd name="T97" fmla="*/ 238 h 553"/>
                <a:gd name="T98" fmla="*/ 124 w 582"/>
                <a:gd name="T99" fmla="*/ 210 h 553"/>
                <a:gd name="T100" fmla="*/ 96 w 582"/>
                <a:gd name="T101" fmla="*/ 219 h 553"/>
                <a:gd name="T102" fmla="*/ 48 w 582"/>
                <a:gd name="T103" fmla="*/ 210 h 553"/>
                <a:gd name="T104" fmla="*/ 10 w 582"/>
                <a:gd name="T105" fmla="*/ 200 h 553"/>
                <a:gd name="T106" fmla="*/ 10 w 582"/>
                <a:gd name="T107" fmla="*/ 162 h 553"/>
                <a:gd name="T108" fmla="*/ 48 w 582"/>
                <a:gd name="T109" fmla="*/ 133 h 553"/>
                <a:gd name="T110" fmla="*/ 67 w 582"/>
                <a:gd name="T111" fmla="*/ 85 h 553"/>
                <a:gd name="T112" fmla="*/ 67 w 582"/>
                <a:gd name="T113" fmla="*/ 66 h 553"/>
                <a:gd name="T114" fmla="*/ 58 w 582"/>
                <a:gd name="T115" fmla="*/ 47 h 553"/>
                <a:gd name="T116" fmla="*/ 105 w 582"/>
                <a:gd name="T117" fmla="*/ 57 h 553"/>
                <a:gd name="T118" fmla="*/ 153 w 582"/>
                <a:gd name="T119" fmla="*/ 47 h 553"/>
                <a:gd name="T120" fmla="*/ 143 w 582"/>
                <a:gd name="T121" fmla="*/ 38 h 553"/>
                <a:gd name="T122" fmla="*/ 143 w 582"/>
                <a:gd name="T123" fmla="*/ 19 h 553"/>
                <a:gd name="T124" fmla="*/ 191 w 582"/>
                <a:gd name="T125" fmla="*/ 19 h 55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82"/>
                <a:gd name="T190" fmla="*/ 0 h 553"/>
                <a:gd name="T191" fmla="*/ 582 w 582"/>
                <a:gd name="T192" fmla="*/ 553 h 55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82" h="553">
                  <a:moveTo>
                    <a:pt x="191" y="0"/>
                  </a:moveTo>
                  <a:lnTo>
                    <a:pt x="201" y="0"/>
                  </a:lnTo>
                  <a:lnTo>
                    <a:pt x="210" y="9"/>
                  </a:lnTo>
                  <a:lnTo>
                    <a:pt x="210" y="19"/>
                  </a:lnTo>
                  <a:lnTo>
                    <a:pt x="210" y="28"/>
                  </a:lnTo>
                  <a:lnTo>
                    <a:pt x="210" y="47"/>
                  </a:lnTo>
                  <a:lnTo>
                    <a:pt x="220" y="57"/>
                  </a:lnTo>
                  <a:lnTo>
                    <a:pt x="229" y="57"/>
                  </a:lnTo>
                  <a:lnTo>
                    <a:pt x="239" y="57"/>
                  </a:lnTo>
                  <a:lnTo>
                    <a:pt x="239" y="47"/>
                  </a:lnTo>
                  <a:lnTo>
                    <a:pt x="248" y="47"/>
                  </a:lnTo>
                  <a:lnTo>
                    <a:pt x="267" y="47"/>
                  </a:lnTo>
                  <a:lnTo>
                    <a:pt x="267" y="38"/>
                  </a:lnTo>
                  <a:lnTo>
                    <a:pt x="277" y="38"/>
                  </a:lnTo>
                  <a:lnTo>
                    <a:pt x="286" y="38"/>
                  </a:lnTo>
                  <a:lnTo>
                    <a:pt x="296" y="47"/>
                  </a:lnTo>
                  <a:lnTo>
                    <a:pt x="315" y="47"/>
                  </a:lnTo>
                  <a:lnTo>
                    <a:pt x="324" y="38"/>
                  </a:lnTo>
                  <a:lnTo>
                    <a:pt x="324" y="28"/>
                  </a:lnTo>
                  <a:lnTo>
                    <a:pt x="334" y="9"/>
                  </a:lnTo>
                  <a:lnTo>
                    <a:pt x="334" y="19"/>
                  </a:lnTo>
                  <a:lnTo>
                    <a:pt x="334" y="28"/>
                  </a:lnTo>
                  <a:lnTo>
                    <a:pt x="344" y="38"/>
                  </a:lnTo>
                  <a:lnTo>
                    <a:pt x="353" y="47"/>
                  </a:lnTo>
                  <a:lnTo>
                    <a:pt x="363" y="47"/>
                  </a:lnTo>
                  <a:lnTo>
                    <a:pt x="353" y="57"/>
                  </a:lnTo>
                  <a:lnTo>
                    <a:pt x="353" y="66"/>
                  </a:lnTo>
                  <a:lnTo>
                    <a:pt x="344" y="66"/>
                  </a:lnTo>
                  <a:lnTo>
                    <a:pt x="353" y="66"/>
                  </a:lnTo>
                  <a:lnTo>
                    <a:pt x="363" y="66"/>
                  </a:lnTo>
                  <a:lnTo>
                    <a:pt x="363" y="76"/>
                  </a:lnTo>
                  <a:lnTo>
                    <a:pt x="372" y="76"/>
                  </a:lnTo>
                  <a:lnTo>
                    <a:pt x="382" y="76"/>
                  </a:lnTo>
                  <a:lnTo>
                    <a:pt x="372" y="85"/>
                  </a:lnTo>
                  <a:lnTo>
                    <a:pt x="363" y="95"/>
                  </a:lnTo>
                  <a:lnTo>
                    <a:pt x="382" y="85"/>
                  </a:lnTo>
                  <a:lnTo>
                    <a:pt x="401" y="85"/>
                  </a:lnTo>
                  <a:lnTo>
                    <a:pt x="420" y="95"/>
                  </a:lnTo>
                  <a:lnTo>
                    <a:pt x="429" y="95"/>
                  </a:lnTo>
                  <a:lnTo>
                    <a:pt x="439" y="95"/>
                  </a:lnTo>
                  <a:lnTo>
                    <a:pt x="429" y="105"/>
                  </a:lnTo>
                  <a:lnTo>
                    <a:pt x="429" y="114"/>
                  </a:lnTo>
                  <a:lnTo>
                    <a:pt x="439" y="105"/>
                  </a:lnTo>
                  <a:lnTo>
                    <a:pt x="448" y="105"/>
                  </a:lnTo>
                  <a:lnTo>
                    <a:pt x="477" y="114"/>
                  </a:lnTo>
                  <a:lnTo>
                    <a:pt x="496" y="105"/>
                  </a:lnTo>
                  <a:lnTo>
                    <a:pt x="506" y="114"/>
                  </a:lnTo>
                  <a:lnTo>
                    <a:pt x="525" y="124"/>
                  </a:lnTo>
                  <a:lnTo>
                    <a:pt x="544" y="133"/>
                  </a:lnTo>
                  <a:lnTo>
                    <a:pt x="572" y="143"/>
                  </a:lnTo>
                  <a:lnTo>
                    <a:pt x="582" y="152"/>
                  </a:lnTo>
                  <a:lnTo>
                    <a:pt x="582" y="190"/>
                  </a:lnTo>
                  <a:lnTo>
                    <a:pt x="572" y="200"/>
                  </a:lnTo>
                  <a:lnTo>
                    <a:pt x="563" y="210"/>
                  </a:lnTo>
                  <a:lnTo>
                    <a:pt x="563" y="219"/>
                  </a:lnTo>
                  <a:lnTo>
                    <a:pt x="553" y="219"/>
                  </a:lnTo>
                  <a:lnTo>
                    <a:pt x="544" y="219"/>
                  </a:lnTo>
                  <a:lnTo>
                    <a:pt x="544" y="229"/>
                  </a:lnTo>
                  <a:lnTo>
                    <a:pt x="534" y="238"/>
                  </a:lnTo>
                  <a:lnTo>
                    <a:pt x="525" y="248"/>
                  </a:lnTo>
                  <a:lnTo>
                    <a:pt x="525" y="257"/>
                  </a:lnTo>
                  <a:lnTo>
                    <a:pt x="515" y="276"/>
                  </a:lnTo>
                  <a:lnTo>
                    <a:pt x="525" y="286"/>
                  </a:lnTo>
                  <a:lnTo>
                    <a:pt x="515" y="295"/>
                  </a:lnTo>
                  <a:lnTo>
                    <a:pt x="525" y="315"/>
                  </a:lnTo>
                  <a:lnTo>
                    <a:pt x="506" y="315"/>
                  </a:lnTo>
                  <a:lnTo>
                    <a:pt x="506" y="334"/>
                  </a:lnTo>
                  <a:lnTo>
                    <a:pt x="506" y="343"/>
                  </a:lnTo>
                  <a:lnTo>
                    <a:pt x="496" y="343"/>
                  </a:lnTo>
                  <a:lnTo>
                    <a:pt x="496" y="353"/>
                  </a:lnTo>
                  <a:lnTo>
                    <a:pt x="487" y="362"/>
                  </a:lnTo>
                  <a:lnTo>
                    <a:pt x="487" y="381"/>
                  </a:lnTo>
                  <a:lnTo>
                    <a:pt x="477" y="381"/>
                  </a:lnTo>
                  <a:lnTo>
                    <a:pt x="477" y="391"/>
                  </a:lnTo>
                  <a:lnTo>
                    <a:pt x="467" y="391"/>
                  </a:lnTo>
                  <a:lnTo>
                    <a:pt x="458" y="391"/>
                  </a:lnTo>
                  <a:lnTo>
                    <a:pt x="439" y="400"/>
                  </a:lnTo>
                  <a:lnTo>
                    <a:pt x="429" y="400"/>
                  </a:lnTo>
                  <a:lnTo>
                    <a:pt x="420" y="410"/>
                  </a:lnTo>
                  <a:lnTo>
                    <a:pt x="410" y="410"/>
                  </a:lnTo>
                  <a:lnTo>
                    <a:pt x="401" y="410"/>
                  </a:lnTo>
                  <a:lnTo>
                    <a:pt x="401" y="419"/>
                  </a:lnTo>
                  <a:lnTo>
                    <a:pt x="391" y="419"/>
                  </a:lnTo>
                  <a:lnTo>
                    <a:pt x="382" y="429"/>
                  </a:lnTo>
                  <a:lnTo>
                    <a:pt x="372" y="448"/>
                  </a:lnTo>
                  <a:lnTo>
                    <a:pt x="382" y="458"/>
                  </a:lnTo>
                  <a:lnTo>
                    <a:pt x="372" y="467"/>
                  </a:lnTo>
                  <a:lnTo>
                    <a:pt x="363" y="486"/>
                  </a:lnTo>
                  <a:lnTo>
                    <a:pt x="353" y="486"/>
                  </a:lnTo>
                  <a:lnTo>
                    <a:pt x="353" y="496"/>
                  </a:lnTo>
                  <a:lnTo>
                    <a:pt x="344" y="524"/>
                  </a:lnTo>
                  <a:lnTo>
                    <a:pt x="334" y="534"/>
                  </a:lnTo>
                  <a:lnTo>
                    <a:pt x="324" y="524"/>
                  </a:lnTo>
                  <a:lnTo>
                    <a:pt x="334" y="515"/>
                  </a:lnTo>
                  <a:lnTo>
                    <a:pt x="344" y="505"/>
                  </a:lnTo>
                  <a:lnTo>
                    <a:pt x="344" y="496"/>
                  </a:lnTo>
                  <a:lnTo>
                    <a:pt x="334" y="515"/>
                  </a:lnTo>
                  <a:lnTo>
                    <a:pt x="324" y="515"/>
                  </a:lnTo>
                  <a:lnTo>
                    <a:pt x="324" y="524"/>
                  </a:lnTo>
                  <a:lnTo>
                    <a:pt x="324" y="534"/>
                  </a:lnTo>
                  <a:lnTo>
                    <a:pt x="305" y="553"/>
                  </a:lnTo>
                  <a:lnTo>
                    <a:pt x="305" y="544"/>
                  </a:lnTo>
                  <a:lnTo>
                    <a:pt x="296" y="534"/>
                  </a:lnTo>
                  <a:lnTo>
                    <a:pt x="296" y="524"/>
                  </a:lnTo>
                  <a:lnTo>
                    <a:pt x="286" y="524"/>
                  </a:lnTo>
                  <a:lnTo>
                    <a:pt x="277" y="515"/>
                  </a:lnTo>
                  <a:lnTo>
                    <a:pt x="258" y="515"/>
                  </a:lnTo>
                  <a:lnTo>
                    <a:pt x="248" y="505"/>
                  </a:lnTo>
                  <a:lnTo>
                    <a:pt x="248" y="496"/>
                  </a:lnTo>
                  <a:lnTo>
                    <a:pt x="258" y="486"/>
                  </a:lnTo>
                  <a:lnTo>
                    <a:pt x="267" y="477"/>
                  </a:lnTo>
                  <a:lnTo>
                    <a:pt x="277" y="467"/>
                  </a:lnTo>
                  <a:lnTo>
                    <a:pt x="296" y="448"/>
                  </a:lnTo>
                  <a:lnTo>
                    <a:pt x="296" y="429"/>
                  </a:lnTo>
                  <a:lnTo>
                    <a:pt x="286" y="429"/>
                  </a:lnTo>
                  <a:lnTo>
                    <a:pt x="286" y="419"/>
                  </a:lnTo>
                  <a:lnTo>
                    <a:pt x="286" y="410"/>
                  </a:lnTo>
                  <a:lnTo>
                    <a:pt x="277" y="400"/>
                  </a:lnTo>
                  <a:lnTo>
                    <a:pt x="267" y="410"/>
                  </a:lnTo>
                  <a:lnTo>
                    <a:pt x="267" y="391"/>
                  </a:lnTo>
                  <a:lnTo>
                    <a:pt x="248" y="381"/>
                  </a:lnTo>
                  <a:lnTo>
                    <a:pt x="239" y="381"/>
                  </a:lnTo>
                  <a:lnTo>
                    <a:pt x="239" y="343"/>
                  </a:lnTo>
                  <a:lnTo>
                    <a:pt x="239" y="334"/>
                  </a:lnTo>
                  <a:lnTo>
                    <a:pt x="229" y="324"/>
                  </a:lnTo>
                  <a:lnTo>
                    <a:pt x="229" y="305"/>
                  </a:lnTo>
                  <a:lnTo>
                    <a:pt x="229" y="295"/>
                  </a:lnTo>
                  <a:lnTo>
                    <a:pt x="191" y="295"/>
                  </a:lnTo>
                  <a:lnTo>
                    <a:pt x="191" y="257"/>
                  </a:lnTo>
                  <a:lnTo>
                    <a:pt x="181" y="257"/>
                  </a:lnTo>
                  <a:lnTo>
                    <a:pt x="153" y="238"/>
                  </a:lnTo>
                  <a:lnTo>
                    <a:pt x="134" y="238"/>
                  </a:lnTo>
                  <a:lnTo>
                    <a:pt x="124" y="210"/>
                  </a:lnTo>
                  <a:lnTo>
                    <a:pt x="115" y="210"/>
                  </a:lnTo>
                  <a:lnTo>
                    <a:pt x="96" y="210"/>
                  </a:lnTo>
                  <a:lnTo>
                    <a:pt x="96" y="219"/>
                  </a:lnTo>
                  <a:lnTo>
                    <a:pt x="67" y="229"/>
                  </a:lnTo>
                  <a:lnTo>
                    <a:pt x="48" y="219"/>
                  </a:lnTo>
                  <a:lnTo>
                    <a:pt x="48" y="210"/>
                  </a:lnTo>
                  <a:lnTo>
                    <a:pt x="48" y="200"/>
                  </a:lnTo>
                  <a:lnTo>
                    <a:pt x="19" y="210"/>
                  </a:lnTo>
                  <a:lnTo>
                    <a:pt x="10" y="200"/>
                  </a:lnTo>
                  <a:lnTo>
                    <a:pt x="10" y="190"/>
                  </a:lnTo>
                  <a:lnTo>
                    <a:pt x="0" y="171"/>
                  </a:lnTo>
                  <a:lnTo>
                    <a:pt x="10" y="162"/>
                  </a:lnTo>
                  <a:lnTo>
                    <a:pt x="10" y="152"/>
                  </a:lnTo>
                  <a:lnTo>
                    <a:pt x="29" y="133"/>
                  </a:lnTo>
                  <a:lnTo>
                    <a:pt x="48" y="133"/>
                  </a:lnTo>
                  <a:lnTo>
                    <a:pt x="58" y="133"/>
                  </a:lnTo>
                  <a:lnTo>
                    <a:pt x="58" y="124"/>
                  </a:lnTo>
                  <a:lnTo>
                    <a:pt x="67" y="85"/>
                  </a:lnTo>
                  <a:lnTo>
                    <a:pt x="58" y="85"/>
                  </a:lnTo>
                  <a:lnTo>
                    <a:pt x="58" y="66"/>
                  </a:lnTo>
                  <a:lnTo>
                    <a:pt x="67" y="66"/>
                  </a:lnTo>
                  <a:lnTo>
                    <a:pt x="58" y="57"/>
                  </a:lnTo>
                  <a:lnTo>
                    <a:pt x="58" y="47"/>
                  </a:lnTo>
                  <a:lnTo>
                    <a:pt x="86" y="47"/>
                  </a:lnTo>
                  <a:lnTo>
                    <a:pt x="96" y="57"/>
                  </a:lnTo>
                  <a:lnTo>
                    <a:pt x="105" y="57"/>
                  </a:lnTo>
                  <a:lnTo>
                    <a:pt x="115" y="66"/>
                  </a:lnTo>
                  <a:lnTo>
                    <a:pt x="124" y="57"/>
                  </a:lnTo>
                  <a:lnTo>
                    <a:pt x="153" y="47"/>
                  </a:lnTo>
                  <a:lnTo>
                    <a:pt x="153" y="38"/>
                  </a:lnTo>
                  <a:lnTo>
                    <a:pt x="143" y="38"/>
                  </a:lnTo>
                  <a:lnTo>
                    <a:pt x="143" y="28"/>
                  </a:lnTo>
                  <a:lnTo>
                    <a:pt x="143" y="19"/>
                  </a:lnTo>
                  <a:lnTo>
                    <a:pt x="153" y="19"/>
                  </a:lnTo>
                  <a:lnTo>
                    <a:pt x="162" y="19"/>
                  </a:lnTo>
                  <a:lnTo>
                    <a:pt x="191" y="19"/>
                  </a:lnTo>
                  <a:lnTo>
                    <a:pt x="191"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76" name="Freeform 468">
              <a:extLst>
                <a:ext uri="{FF2B5EF4-FFF2-40B4-BE49-F238E27FC236}">
                  <a16:creationId xmlns:a16="http://schemas.microsoft.com/office/drawing/2014/main" id="{F76E3CDC-193C-4C87-A61D-C6E0F0277DD4}"/>
                </a:ext>
              </a:extLst>
            </p:cNvPr>
            <p:cNvSpPr>
              <a:spLocks/>
            </p:cNvSpPr>
            <p:nvPr/>
          </p:nvSpPr>
          <p:spPr bwMode="gray">
            <a:xfrm>
              <a:off x="1667" y="3177"/>
              <a:ext cx="296" cy="497"/>
            </a:xfrm>
            <a:custGeom>
              <a:avLst/>
              <a:gdLst>
                <a:gd name="T0" fmla="*/ 77 w 296"/>
                <a:gd name="T1" fmla="*/ 497 h 497"/>
                <a:gd name="T2" fmla="*/ 67 w 296"/>
                <a:gd name="T3" fmla="*/ 477 h 497"/>
                <a:gd name="T4" fmla="*/ 77 w 296"/>
                <a:gd name="T5" fmla="*/ 468 h 497"/>
                <a:gd name="T6" fmla="*/ 86 w 296"/>
                <a:gd name="T7" fmla="*/ 458 h 497"/>
                <a:gd name="T8" fmla="*/ 96 w 296"/>
                <a:gd name="T9" fmla="*/ 439 h 497"/>
                <a:gd name="T10" fmla="*/ 115 w 296"/>
                <a:gd name="T11" fmla="*/ 420 h 497"/>
                <a:gd name="T12" fmla="*/ 115 w 296"/>
                <a:gd name="T13" fmla="*/ 411 h 497"/>
                <a:gd name="T14" fmla="*/ 96 w 296"/>
                <a:gd name="T15" fmla="*/ 392 h 497"/>
                <a:gd name="T16" fmla="*/ 105 w 296"/>
                <a:gd name="T17" fmla="*/ 382 h 497"/>
                <a:gd name="T18" fmla="*/ 124 w 296"/>
                <a:gd name="T19" fmla="*/ 373 h 497"/>
                <a:gd name="T20" fmla="*/ 124 w 296"/>
                <a:gd name="T21" fmla="*/ 344 h 497"/>
                <a:gd name="T22" fmla="*/ 134 w 296"/>
                <a:gd name="T23" fmla="*/ 334 h 497"/>
                <a:gd name="T24" fmla="*/ 153 w 296"/>
                <a:gd name="T25" fmla="*/ 325 h 497"/>
                <a:gd name="T26" fmla="*/ 134 w 296"/>
                <a:gd name="T27" fmla="*/ 315 h 497"/>
                <a:gd name="T28" fmla="*/ 134 w 296"/>
                <a:gd name="T29" fmla="*/ 296 h 497"/>
                <a:gd name="T30" fmla="*/ 172 w 296"/>
                <a:gd name="T31" fmla="*/ 296 h 497"/>
                <a:gd name="T32" fmla="*/ 181 w 296"/>
                <a:gd name="T33" fmla="*/ 268 h 497"/>
                <a:gd name="T34" fmla="*/ 220 w 296"/>
                <a:gd name="T35" fmla="*/ 258 h 497"/>
                <a:gd name="T36" fmla="*/ 248 w 296"/>
                <a:gd name="T37" fmla="*/ 239 h 497"/>
                <a:gd name="T38" fmla="*/ 248 w 296"/>
                <a:gd name="T39" fmla="*/ 210 h 497"/>
                <a:gd name="T40" fmla="*/ 239 w 296"/>
                <a:gd name="T41" fmla="*/ 191 h 497"/>
                <a:gd name="T42" fmla="*/ 229 w 296"/>
                <a:gd name="T43" fmla="*/ 172 h 497"/>
                <a:gd name="T44" fmla="*/ 239 w 296"/>
                <a:gd name="T45" fmla="*/ 134 h 497"/>
                <a:gd name="T46" fmla="*/ 258 w 296"/>
                <a:gd name="T47" fmla="*/ 105 h 497"/>
                <a:gd name="T48" fmla="*/ 296 w 296"/>
                <a:gd name="T49" fmla="*/ 77 h 497"/>
                <a:gd name="T50" fmla="*/ 286 w 296"/>
                <a:gd name="T51" fmla="*/ 48 h 497"/>
                <a:gd name="T52" fmla="*/ 248 w 296"/>
                <a:gd name="T53" fmla="*/ 77 h 497"/>
                <a:gd name="T54" fmla="*/ 248 w 296"/>
                <a:gd name="T55" fmla="*/ 48 h 497"/>
                <a:gd name="T56" fmla="*/ 220 w 296"/>
                <a:gd name="T57" fmla="*/ 29 h 497"/>
                <a:gd name="T58" fmla="*/ 181 w 296"/>
                <a:gd name="T59" fmla="*/ 19 h 497"/>
                <a:gd name="T60" fmla="*/ 153 w 296"/>
                <a:gd name="T61" fmla="*/ 0 h 497"/>
                <a:gd name="T62" fmla="*/ 143 w 296"/>
                <a:gd name="T63" fmla="*/ 10 h 497"/>
                <a:gd name="T64" fmla="*/ 124 w 296"/>
                <a:gd name="T65" fmla="*/ 0 h 497"/>
                <a:gd name="T66" fmla="*/ 96 w 296"/>
                <a:gd name="T67" fmla="*/ 10 h 497"/>
                <a:gd name="T68" fmla="*/ 86 w 296"/>
                <a:gd name="T69" fmla="*/ 29 h 497"/>
                <a:gd name="T70" fmla="*/ 86 w 296"/>
                <a:gd name="T71" fmla="*/ 67 h 497"/>
                <a:gd name="T72" fmla="*/ 58 w 296"/>
                <a:gd name="T73" fmla="*/ 115 h 497"/>
                <a:gd name="T74" fmla="*/ 58 w 296"/>
                <a:gd name="T75" fmla="*/ 191 h 497"/>
                <a:gd name="T76" fmla="*/ 39 w 296"/>
                <a:gd name="T77" fmla="*/ 229 h 497"/>
                <a:gd name="T78" fmla="*/ 29 w 296"/>
                <a:gd name="T79" fmla="*/ 296 h 497"/>
                <a:gd name="T80" fmla="*/ 29 w 296"/>
                <a:gd name="T81" fmla="*/ 344 h 497"/>
                <a:gd name="T82" fmla="*/ 29 w 296"/>
                <a:gd name="T83" fmla="*/ 373 h 497"/>
                <a:gd name="T84" fmla="*/ 29 w 296"/>
                <a:gd name="T85" fmla="*/ 411 h 497"/>
                <a:gd name="T86" fmla="*/ 19 w 296"/>
                <a:gd name="T87" fmla="*/ 430 h 497"/>
                <a:gd name="T88" fmla="*/ 10 w 296"/>
                <a:gd name="T89" fmla="*/ 468 h 497"/>
                <a:gd name="T90" fmla="*/ 19 w 296"/>
                <a:gd name="T91" fmla="*/ 487 h 497"/>
                <a:gd name="T92" fmla="*/ 67 w 296"/>
                <a:gd name="T93" fmla="*/ 497 h 49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6"/>
                <a:gd name="T142" fmla="*/ 0 h 497"/>
                <a:gd name="T143" fmla="*/ 296 w 296"/>
                <a:gd name="T144" fmla="*/ 497 h 49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6" h="497">
                  <a:moveTo>
                    <a:pt x="67" y="497"/>
                  </a:moveTo>
                  <a:lnTo>
                    <a:pt x="77" y="497"/>
                  </a:lnTo>
                  <a:lnTo>
                    <a:pt x="67" y="487"/>
                  </a:lnTo>
                  <a:lnTo>
                    <a:pt x="67" y="477"/>
                  </a:lnTo>
                  <a:lnTo>
                    <a:pt x="77" y="477"/>
                  </a:lnTo>
                  <a:lnTo>
                    <a:pt x="67" y="468"/>
                  </a:lnTo>
                  <a:lnTo>
                    <a:pt x="77" y="468"/>
                  </a:lnTo>
                  <a:lnTo>
                    <a:pt x="77" y="458"/>
                  </a:lnTo>
                  <a:lnTo>
                    <a:pt x="86" y="458"/>
                  </a:lnTo>
                  <a:lnTo>
                    <a:pt x="86" y="449"/>
                  </a:lnTo>
                  <a:lnTo>
                    <a:pt x="86" y="439"/>
                  </a:lnTo>
                  <a:lnTo>
                    <a:pt x="96" y="439"/>
                  </a:lnTo>
                  <a:lnTo>
                    <a:pt x="105" y="430"/>
                  </a:lnTo>
                  <a:lnTo>
                    <a:pt x="115" y="420"/>
                  </a:lnTo>
                  <a:lnTo>
                    <a:pt x="124" y="420"/>
                  </a:lnTo>
                  <a:lnTo>
                    <a:pt x="115" y="411"/>
                  </a:lnTo>
                  <a:lnTo>
                    <a:pt x="105" y="401"/>
                  </a:lnTo>
                  <a:lnTo>
                    <a:pt x="96" y="401"/>
                  </a:lnTo>
                  <a:lnTo>
                    <a:pt x="96" y="392"/>
                  </a:lnTo>
                  <a:lnTo>
                    <a:pt x="96" y="382"/>
                  </a:lnTo>
                  <a:lnTo>
                    <a:pt x="105" y="382"/>
                  </a:lnTo>
                  <a:lnTo>
                    <a:pt x="105" y="373"/>
                  </a:lnTo>
                  <a:lnTo>
                    <a:pt x="124" y="373"/>
                  </a:lnTo>
                  <a:lnTo>
                    <a:pt x="124" y="363"/>
                  </a:lnTo>
                  <a:lnTo>
                    <a:pt x="124" y="344"/>
                  </a:lnTo>
                  <a:lnTo>
                    <a:pt x="143" y="344"/>
                  </a:lnTo>
                  <a:lnTo>
                    <a:pt x="134" y="334"/>
                  </a:lnTo>
                  <a:lnTo>
                    <a:pt x="143" y="334"/>
                  </a:lnTo>
                  <a:lnTo>
                    <a:pt x="153" y="334"/>
                  </a:lnTo>
                  <a:lnTo>
                    <a:pt x="153" y="325"/>
                  </a:lnTo>
                  <a:lnTo>
                    <a:pt x="143" y="325"/>
                  </a:lnTo>
                  <a:lnTo>
                    <a:pt x="134" y="325"/>
                  </a:lnTo>
                  <a:lnTo>
                    <a:pt x="134" y="315"/>
                  </a:lnTo>
                  <a:lnTo>
                    <a:pt x="124" y="296"/>
                  </a:lnTo>
                  <a:lnTo>
                    <a:pt x="134" y="296"/>
                  </a:lnTo>
                  <a:lnTo>
                    <a:pt x="153" y="306"/>
                  </a:lnTo>
                  <a:lnTo>
                    <a:pt x="162" y="306"/>
                  </a:lnTo>
                  <a:lnTo>
                    <a:pt x="172" y="296"/>
                  </a:lnTo>
                  <a:lnTo>
                    <a:pt x="172" y="277"/>
                  </a:lnTo>
                  <a:lnTo>
                    <a:pt x="181" y="268"/>
                  </a:lnTo>
                  <a:lnTo>
                    <a:pt x="201" y="268"/>
                  </a:lnTo>
                  <a:lnTo>
                    <a:pt x="210" y="258"/>
                  </a:lnTo>
                  <a:lnTo>
                    <a:pt x="220" y="258"/>
                  </a:lnTo>
                  <a:lnTo>
                    <a:pt x="229" y="248"/>
                  </a:lnTo>
                  <a:lnTo>
                    <a:pt x="239" y="248"/>
                  </a:lnTo>
                  <a:lnTo>
                    <a:pt x="248" y="239"/>
                  </a:lnTo>
                  <a:lnTo>
                    <a:pt x="258" y="229"/>
                  </a:lnTo>
                  <a:lnTo>
                    <a:pt x="248" y="220"/>
                  </a:lnTo>
                  <a:lnTo>
                    <a:pt x="248" y="210"/>
                  </a:lnTo>
                  <a:lnTo>
                    <a:pt x="248" y="191"/>
                  </a:lnTo>
                  <a:lnTo>
                    <a:pt x="239" y="191"/>
                  </a:lnTo>
                  <a:lnTo>
                    <a:pt x="229" y="191"/>
                  </a:lnTo>
                  <a:lnTo>
                    <a:pt x="229" y="182"/>
                  </a:lnTo>
                  <a:lnTo>
                    <a:pt x="229" y="172"/>
                  </a:lnTo>
                  <a:lnTo>
                    <a:pt x="239" y="163"/>
                  </a:lnTo>
                  <a:lnTo>
                    <a:pt x="239" y="134"/>
                  </a:lnTo>
                  <a:lnTo>
                    <a:pt x="248" y="115"/>
                  </a:lnTo>
                  <a:lnTo>
                    <a:pt x="258" y="105"/>
                  </a:lnTo>
                  <a:lnTo>
                    <a:pt x="267" y="96"/>
                  </a:lnTo>
                  <a:lnTo>
                    <a:pt x="277" y="86"/>
                  </a:lnTo>
                  <a:lnTo>
                    <a:pt x="296" y="77"/>
                  </a:lnTo>
                  <a:lnTo>
                    <a:pt x="296" y="67"/>
                  </a:lnTo>
                  <a:lnTo>
                    <a:pt x="296" y="48"/>
                  </a:lnTo>
                  <a:lnTo>
                    <a:pt x="286" y="48"/>
                  </a:lnTo>
                  <a:lnTo>
                    <a:pt x="286" y="67"/>
                  </a:lnTo>
                  <a:lnTo>
                    <a:pt x="267" y="77"/>
                  </a:lnTo>
                  <a:lnTo>
                    <a:pt x="248" y="77"/>
                  </a:lnTo>
                  <a:lnTo>
                    <a:pt x="239" y="77"/>
                  </a:lnTo>
                  <a:lnTo>
                    <a:pt x="229" y="77"/>
                  </a:lnTo>
                  <a:lnTo>
                    <a:pt x="248" y="48"/>
                  </a:lnTo>
                  <a:lnTo>
                    <a:pt x="239" y="38"/>
                  </a:lnTo>
                  <a:lnTo>
                    <a:pt x="220" y="29"/>
                  </a:lnTo>
                  <a:lnTo>
                    <a:pt x="201" y="29"/>
                  </a:lnTo>
                  <a:lnTo>
                    <a:pt x="191" y="29"/>
                  </a:lnTo>
                  <a:lnTo>
                    <a:pt x="181" y="19"/>
                  </a:lnTo>
                  <a:lnTo>
                    <a:pt x="172" y="10"/>
                  </a:lnTo>
                  <a:lnTo>
                    <a:pt x="162" y="0"/>
                  </a:lnTo>
                  <a:lnTo>
                    <a:pt x="153" y="0"/>
                  </a:lnTo>
                  <a:lnTo>
                    <a:pt x="143" y="0"/>
                  </a:lnTo>
                  <a:lnTo>
                    <a:pt x="143" y="10"/>
                  </a:lnTo>
                  <a:lnTo>
                    <a:pt x="134" y="10"/>
                  </a:lnTo>
                  <a:lnTo>
                    <a:pt x="124" y="0"/>
                  </a:lnTo>
                  <a:lnTo>
                    <a:pt x="115" y="0"/>
                  </a:lnTo>
                  <a:lnTo>
                    <a:pt x="105" y="0"/>
                  </a:lnTo>
                  <a:lnTo>
                    <a:pt x="96" y="10"/>
                  </a:lnTo>
                  <a:lnTo>
                    <a:pt x="96" y="19"/>
                  </a:lnTo>
                  <a:lnTo>
                    <a:pt x="96" y="29"/>
                  </a:lnTo>
                  <a:lnTo>
                    <a:pt x="86" y="29"/>
                  </a:lnTo>
                  <a:lnTo>
                    <a:pt x="77" y="38"/>
                  </a:lnTo>
                  <a:lnTo>
                    <a:pt x="77" y="67"/>
                  </a:lnTo>
                  <a:lnTo>
                    <a:pt x="86" y="67"/>
                  </a:lnTo>
                  <a:lnTo>
                    <a:pt x="67" y="86"/>
                  </a:lnTo>
                  <a:lnTo>
                    <a:pt x="58" y="105"/>
                  </a:lnTo>
                  <a:lnTo>
                    <a:pt x="58" y="115"/>
                  </a:lnTo>
                  <a:lnTo>
                    <a:pt x="48" y="143"/>
                  </a:lnTo>
                  <a:lnTo>
                    <a:pt x="58" y="172"/>
                  </a:lnTo>
                  <a:lnTo>
                    <a:pt x="58" y="191"/>
                  </a:lnTo>
                  <a:lnTo>
                    <a:pt x="48" y="201"/>
                  </a:lnTo>
                  <a:lnTo>
                    <a:pt x="48" y="210"/>
                  </a:lnTo>
                  <a:lnTo>
                    <a:pt x="39" y="229"/>
                  </a:lnTo>
                  <a:lnTo>
                    <a:pt x="39" y="258"/>
                  </a:lnTo>
                  <a:lnTo>
                    <a:pt x="39" y="268"/>
                  </a:lnTo>
                  <a:lnTo>
                    <a:pt x="29" y="296"/>
                  </a:lnTo>
                  <a:lnTo>
                    <a:pt x="29" y="325"/>
                  </a:lnTo>
                  <a:lnTo>
                    <a:pt x="29" y="344"/>
                  </a:lnTo>
                  <a:lnTo>
                    <a:pt x="39" y="363"/>
                  </a:lnTo>
                  <a:lnTo>
                    <a:pt x="29" y="373"/>
                  </a:lnTo>
                  <a:lnTo>
                    <a:pt x="39" y="401"/>
                  </a:lnTo>
                  <a:lnTo>
                    <a:pt x="29" y="411"/>
                  </a:lnTo>
                  <a:lnTo>
                    <a:pt x="19" y="420"/>
                  </a:lnTo>
                  <a:lnTo>
                    <a:pt x="19" y="430"/>
                  </a:lnTo>
                  <a:lnTo>
                    <a:pt x="10" y="449"/>
                  </a:lnTo>
                  <a:lnTo>
                    <a:pt x="0" y="458"/>
                  </a:lnTo>
                  <a:lnTo>
                    <a:pt x="10" y="468"/>
                  </a:lnTo>
                  <a:lnTo>
                    <a:pt x="19" y="468"/>
                  </a:lnTo>
                  <a:lnTo>
                    <a:pt x="19" y="477"/>
                  </a:lnTo>
                  <a:lnTo>
                    <a:pt x="19" y="487"/>
                  </a:lnTo>
                  <a:lnTo>
                    <a:pt x="29" y="497"/>
                  </a:lnTo>
                  <a:lnTo>
                    <a:pt x="58" y="497"/>
                  </a:lnTo>
                  <a:lnTo>
                    <a:pt x="67" y="49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77" name="Freeform 469">
              <a:extLst>
                <a:ext uri="{FF2B5EF4-FFF2-40B4-BE49-F238E27FC236}">
                  <a16:creationId xmlns:a16="http://schemas.microsoft.com/office/drawing/2014/main" id="{5B1FF086-CAF6-4838-82AA-46918CFD649B}"/>
                </a:ext>
              </a:extLst>
            </p:cNvPr>
            <p:cNvSpPr>
              <a:spLocks/>
            </p:cNvSpPr>
            <p:nvPr/>
          </p:nvSpPr>
          <p:spPr bwMode="gray">
            <a:xfrm>
              <a:off x="1667" y="3177"/>
              <a:ext cx="296" cy="497"/>
            </a:xfrm>
            <a:custGeom>
              <a:avLst/>
              <a:gdLst>
                <a:gd name="T0" fmla="*/ 77 w 296"/>
                <a:gd name="T1" fmla="*/ 497 h 497"/>
                <a:gd name="T2" fmla="*/ 67 w 296"/>
                <a:gd name="T3" fmla="*/ 477 h 497"/>
                <a:gd name="T4" fmla="*/ 77 w 296"/>
                <a:gd name="T5" fmla="*/ 468 h 497"/>
                <a:gd name="T6" fmla="*/ 86 w 296"/>
                <a:gd name="T7" fmla="*/ 458 h 497"/>
                <a:gd name="T8" fmla="*/ 96 w 296"/>
                <a:gd name="T9" fmla="*/ 439 h 497"/>
                <a:gd name="T10" fmla="*/ 115 w 296"/>
                <a:gd name="T11" fmla="*/ 420 h 497"/>
                <a:gd name="T12" fmla="*/ 115 w 296"/>
                <a:gd name="T13" fmla="*/ 411 h 497"/>
                <a:gd name="T14" fmla="*/ 96 w 296"/>
                <a:gd name="T15" fmla="*/ 392 h 497"/>
                <a:gd name="T16" fmla="*/ 105 w 296"/>
                <a:gd name="T17" fmla="*/ 382 h 497"/>
                <a:gd name="T18" fmla="*/ 124 w 296"/>
                <a:gd name="T19" fmla="*/ 373 h 497"/>
                <a:gd name="T20" fmla="*/ 124 w 296"/>
                <a:gd name="T21" fmla="*/ 344 h 497"/>
                <a:gd name="T22" fmla="*/ 134 w 296"/>
                <a:gd name="T23" fmla="*/ 334 h 497"/>
                <a:gd name="T24" fmla="*/ 153 w 296"/>
                <a:gd name="T25" fmla="*/ 325 h 497"/>
                <a:gd name="T26" fmla="*/ 134 w 296"/>
                <a:gd name="T27" fmla="*/ 315 h 497"/>
                <a:gd name="T28" fmla="*/ 134 w 296"/>
                <a:gd name="T29" fmla="*/ 296 h 497"/>
                <a:gd name="T30" fmla="*/ 172 w 296"/>
                <a:gd name="T31" fmla="*/ 296 h 497"/>
                <a:gd name="T32" fmla="*/ 181 w 296"/>
                <a:gd name="T33" fmla="*/ 268 h 497"/>
                <a:gd name="T34" fmla="*/ 220 w 296"/>
                <a:gd name="T35" fmla="*/ 258 h 497"/>
                <a:gd name="T36" fmla="*/ 248 w 296"/>
                <a:gd name="T37" fmla="*/ 239 h 497"/>
                <a:gd name="T38" fmla="*/ 248 w 296"/>
                <a:gd name="T39" fmla="*/ 210 h 497"/>
                <a:gd name="T40" fmla="*/ 239 w 296"/>
                <a:gd name="T41" fmla="*/ 191 h 497"/>
                <a:gd name="T42" fmla="*/ 229 w 296"/>
                <a:gd name="T43" fmla="*/ 172 h 497"/>
                <a:gd name="T44" fmla="*/ 239 w 296"/>
                <a:gd name="T45" fmla="*/ 134 h 497"/>
                <a:gd name="T46" fmla="*/ 258 w 296"/>
                <a:gd name="T47" fmla="*/ 105 h 497"/>
                <a:gd name="T48" fmla="*/ 296 w 296"/>
                <a:gd name="T49" fmla="*/ 77 h 497"/>
                <a:gd name="T50" fmla="*/ 286 w 296"/>
                <a:gd name="T51" fmla="*/ 48 h 497"/>
                <a:gd name="T52" fmla="*/ 248 w 296"/>
                <a:gd name="T53" fmla="*/ 77 h 497"/>
                <a:gd name="T54" fmla="*/ 248 w 296"/>
                <a:gd name="T55" fmla="*/ 48 h 497"/>
                <a:gd name="T56" fmla="*/ 220 w 296"/>
                <a:gd name="T57" fmla="*/ 29 h 497"/>
                <a:gd name="T58" fmla="*/ 181 w 296"/>
                <a:gd name="T59" fmla="*/ 19 h 497"/>
                <a:gd name="T60" fmla="*/ 153 w 296"/>
                <a:gd name="T61" fmla="*/ 0 h 497"/>
                <a:gd name="T62" fmla="*/ 143 w 296"/>
                <a:gd name="T63" fmla="*/ 10 h 497"/>
                <a:gd name="T64" fmla="*/ 124 w 296"/>
                <a:gd name="T65" fmla="*/ 0 h 497"/>
                <a:gd name="T66" fmla="*/ 96 w 296"/>
                <a:gd name="T67" fmla="*/ 10 h 497"/>
                <a:gd name="T68" fmla="*/ 86 w 296"/>
                <a:gd name="T69" fmla="*/ 29 h 497"/>
                <a:gd name="T70" fmla="*/ 86 w 296"/>
                <a:gd name="T71" fmla="*/ 67 h 497"/>
                <a:gd name="T72" fmla="*/ 58 w 296"/>
                <a:gd name="T73" fmla="*/ 115 h 497"/>
                <a:gd name="T74" fmla="*/ 58 w 296"/>
                <a:gd name="T75" fmla="*/ 191 h 497"/>
                <a:gd name="T76" fmla="*/ 39 w 296"/>
                <a:gd name="T77" fmla="*/ 229 h 497"/>
                <a:gd name="T78" fmla="*/ 29 w 296"/>
                <a:gd name="T79" fmla="*/ 296 h 497"/>
                <a:gd name="T80" fmla="*/ 29 w 296"/>
                <a:gd name="T81" fmla="*/ 344 h 497"/>
                <a:gd name="T82" fmla="*/ 29 w 296"/>
                <a:gd name="T83" fmla="*/ 373 h 497"/>
                <a:gd name="T84" fmla="*/ 29 w 296"/>
                <a:gd name="T85" fmla="*/ 411 h 497"/>
                <a:gd name="T86" fmla="*/ 19 w 296"/>
                <a:gd name="T87" fmla="*/ 430 h 497"/>
                <a:gd name="T88" fmla="*/ 10 w 296"/>
                <a:gd name="T89" fmla="*/ 468 h 497"/>
                <a:gd name="T90" fmla="*/ 19 w 296"/>
                <a:gd name="T91" fmla="*/ 487 h 497"/>
                <a:gd name="T92" fmla="*/ 67 w 296"/>
                <a:gd name="T93" fmla="*/ 497 h 49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6"/>
                <a:gd name="T142" fmla="*/ 0 h 497"/>
                <a:gd name="T143" fmla="*/ 296 w 296"/>
                <a:gd name="T144" fmla="*/ 497 h 49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6" h="497">
                  <a:moveTo>
                    <a:pt x="67" y="497"/>
                  </a:moveTo>
                  <a:lnTo>
                    <a:pt x="77" y="497"/>
                  </a:lnTo>
                  <a:lnTo>
                    <a:pt x="67" y="487"/>
                  </a:lnTo>
                  <a:lnTo>
                    <a:pt x="67" y="477"/>
                  </a:lnTo>
                  <a:lnTo>
                    <a:pt x="77" y="477"/>
                  </a:lnTo>
                  <a:lnTo>
                    <a:pt x="67" y="468"/>
                  </a:lnTo>
                  <a:lnTo>
                    <a:pt x="77" y="468"/>
                  </a:lnTo>
                  <a:lnTo>
                    <a:pt x="77" y="458"/>
                  </a:lnTo>
                  <a:lnTo>
                    <a:pt x="86" y="458"/>
                  </a:lnTo>
                  <a:lnTo>
                    <a:pt x="86" y="449"/>
                  </a:lnTo>
                  <a:lnTo>
                    <a:pt x="86" y="439"/>
                  </a:lnTo>
                  <a:lnTo>
                    <a:pt x="96" y="439"/>
                  </a:lnTo>
                  <a:lnTo>
                    <a:pt x="105" y="430"/>
                  </a:lnTo>
                  <a:lnTo>
                    <a:pt x="115" y="420"/>
                  </a:lnTo>
                  <a:lnTo>
                    <a:pt x="124" y="420"/>
                  </a:lnTo>
                  <a:lnTo>
                    <a:pt x="115" y="411"/>
                  </a:lnTo>
                  <a:lnTo>
                    <a:pt x="105" y="401"/>
                  </a:lnTo>
                  <a:lnTo>
                    <a:pt x="96" y="401"/>
                  </a:lnTo>
                  <a:lnTo>
                    <a:pt x="96" y="392"/>
                  </a:lnTo>
                  <a:lnTo>
                    <a:pt x="96" y="382"/>
                  </a:lnTo>
                  <a:lnTo>
                    <a:pt x="105" y="382"/>
                  </a:lnTo>
                  <a:lnTo>
                    <a:pt x="105" y="373"/>
                  </a:lnTo>
                  <a:lnTo>
                    <a:pt x="124" y="373"/>
                  </a:lnTo>
                  <a:lnTo>
                    <a:pt x="124" y="363"/>
                  </a:lnTo>
                  <a:lnTo>
                    <a:pt x="124" y="344"/>
                  </a:lnTo>
                  <a:lnTo>
                    <a:pt x="143" y="344"/>
                  </a:lnTo>
                  <a:lnTo>
                    <a:pt x="134" y="334"/>
                  </a:lnTo>
                  <a:lnTo>
                    <a:pt x="143" y="334"/>
                  </a:lnTo>
                  <a:lnTo>
                    <a:pt x="153" y="334"/>
                  </a:lnTo>
                  <a:lnTo>
                    <a:pt x="153" y="325"/>
                  </a:lnTo>
                  <a:lnTo>
                    <a:pt x="143" y="325"/>
                  </a:lnTo>
                  <a:lnTo>
                    <a:pt x="134" y="325"/>
                  </a:lnTo>
                  <a:lnTo>
                    <a:pt x="134" y="315"/>
                  </a:lnTo>
                  <a:lnTo>
                    <a:pt x="124" y="296"/>
                  </a:lnTo>
                  <a:lnTo>
                    <a:pt x="134" y="296"/>
                  </a:lnTo>
                  <a:lnTo>
                    <a:pt x="153" y="306"/>
                  </a:lnTo>
                  <a:lnTo>
                    <a:pt x="162" y="306"/>
                  </a:lnTo>
                  <a:lnTo>
                    <a:pt x="172" y="296"/>
                  </a:lnTo>
                  <a:lnTo>
                    <a:pt x="172" y="277"/>
                  </a:lnTo>
                  <a:lnTo>
                    <a:pt x="181" y="268"/>
                  </a:lnTo>
                  <a:lnTo>
                    <a:pt x="201" y="268"/>
                  </a:lnTo>
                  <a:lnTo>
                    <a:pt x="210" y="258"/>
                  </a:lnTo>
                  <a:lnTo>
                    <a:pt x="220" y="258"/>
                  </a:lnTo>
                  <a:lnTo>
                    <a:pt x="229" y="248"/>
                  </a:lnTo>
                  <a:lnTo>
                    <a:pt x="239" y="248"/>
                  </a:lnTo>
                  <a:lnTo>
                    <a:pt x="248" y="239"/>
                  </a:lnTo>
                  <a:lnTo>
                    <a:pt x="258" y="229"/>
                  </a:lnTo>
                  <a:lnTo>
                    <a:pt x="248" y="220"/>
                  </a:lnTo>
                  <a:lnTo>
                    <a:pt x="248" y="210"/>
                  </a:lnTo>
                  <a:lnTo>
                    <a:pt x="248" y="191"/>
                  </a:lnTo>
                  <a:lnTo>
                    <a:pt x="239" y="191"/>
                  </a:lnTo>
                  <a:lnTo>
                    <a:pt x="229" y="191"/>
                  </a:lnTo>
                  <a:lnTo>
                    <a:pt x="229" y="182"/>
                  </a:lnTo>
                  <a:lnTo>
                    <a:pt x="229" y="172"/>
                  </a:lnTo>
                  <a:lnTo>
                    <a:pt x="239" y="163"/>
                  </a:lnTo>
                  <a:lnTo>
                    <a:pt x="239" y="134"/>
                  </a:lnTo>
                  <a:lnTo>
                    <a:pt x="248" y="115"/>
                  </a:lnTo>
                  <a:lnTo>
                    <a:pt x="258" y="105"/>
                  </a:lnTo>
                  <a:lnTo>
                    <a:pt x="267" y="96"/>
                  </a:lnTo>
                  <a:lnTo>
                    <a:pt x="277" y="86"/>
                  </a:lnTo>
                  <a:lnTo>
                    <a:pt x="296" y="77"/>
                  </a:lnTo>
                  <a:lnTo>
                    <a:pt x="296" y="67"/>
                  </a:lnTo>
                  <a:lnTo>
                    <a:pt x="296" y="48"/>
                  </a:lnTo>
                  <a:lnTo>
                    <a:pt x="286" y="48"/>
                  </a:lnTo>
                  <a:lnTo>
                    <a:pt x="286" y="67"/>
                  </a:lnTo>
                  <a:lnTo>
                    <a:pt x="267" y="77"/>
                  </a:lnTo>
                  <a:lnTo>
                    <a:pt x="248" y="77"/>
                  </a:lnTo>
                  <a:lnTo>
                    <a:pt x="239" y="77"/>
                  </a:lnTo>
                  <a:lnTo>
                    <a:pt x="229" y="77"/>
                  </a:lnTo>
                  <a:lnTo>
                    <a:pt x="248" y="48"/>
                  </a:lnTo>
                  <a:lnTo>
                    <a:pt x="239" y="38"/>
                  </a:lnTo>
                  <a:lnTo>
                    <a:pt x="220" y="29"/>
                  </a:lnTo>
                  <a:lnTo>
                    <a:pt x="201" y="29"/>
                  </a:lnTo>
                  <a:lnTo>
                    <a:pt x="191" y="29"/>
                  </a:lnTo>
                  <a:lnTo>
                    <a:pt x="181" y="19"/>
                  </a:lnTo>
                  <a:lnTo>
                    <a:pt x="172" y="10"/>
                  </a:lnTo>
                  <a:lnTo>
                    <a:pt x="162" y="0"/>
                  </a:lnTo>
                  <a:lnTo>
                    <a:pt x="153" y="0"/>
                  </a:lnTo>
                  <a:lnTo>
                    <a:pt x="143" y="0"/>
                  </a:lnTo>
                  <a:lnTo>
                    <a:pt x="143" y="10"/>
                  </a:lnTo>
                  <a:lnTo>
                    <a:pt x="134" y="10"/>
                  </a:lnTo>
                  <a:lnTo>
                    <a:pt x="124" y="0"/>
                  </a:lnTo>
                  <a:lnTo>
                    <a:pt x="115" y="0"/>
                  </a:lnTo>
                  <a:lnTo>
                    <a:pt x="105" y="0"/>
                  </a:lnTo>
                  <a:lnTo>
                    <a:pt x="96" y="10"/>
                  </a:lnTo>
                  <a:lnTo>
                    <a:pt x="96" y="19"/>
                  </a:lnTo>
                  <a:lnTo>
                    <a:pt x="96" y="29"/>
                  </a:lnTo>
                  <a:lnTo>
                    <a:pt x="86" y="29"/>
                  </a:lnTo>
                  <a:lnTo>
                    <a:pt x="77" y="38"/>
                  </a:lnTo>
                  <a:lnTo>
                    <a:pt x="77" y="67"/>
                  </a:lnTo>
                  <a:lnTo>
                    <a:pt x="86" y="67"/>
                  </a:lnTo>
                  <a:lnTo>
                    <a:pt x="67" y="86"/>
                  </a:lnTo>
                  <a:lnTo>
                    <a:pt x="58" y="105"/>
                  </a:lnTo>
                  <a:lnTo>
                    <a:pt x="58" y="115"/>
                  </a:lnTo>
                  <a:lnTo>
                    <a:pt x="48" y="143"/>
                  </a:lnTo>
                  <a:lnTo>
                    <a:pt x="58" y="172"/>
                  </a:lnTo>
                  <a:lnTo>
                    <a:pt x="58" y="191"/>
                  </a:lnTo>
                  <a:lnTo>
                    <a:pt x="48" y="201"/>
                  </a:lnTo>
                  <a:lnTo>
                    <a:pt x="48" y="210"/>
                  </a:lnTo>
                  <a:lnTo>
                    <a:pt x="39" y="229"/>
                  </a:lnTo>
                  <a:lnTo>
                    <a:pt x="39" y="258"/>
                  </a:lnTo>
                  <a:lnTo>
                    <a:pt x="39" y="268"/>
                  </a:lnTo>
                  <a:lnTo>
                    <a:pt x="29" y="296"/>
                  </a:lnTo>
                  <a:lnTo>
                    <a:pt x="29" y="325"/>
                  </a:lnTo>
                  <a:lnTo>
                    <a:pt x="29" y="344"/>
                  </a:lnTo>
                  <a:lnTo>
                    <a:pt x="39" y="363"/>
                  </a:lnTo>
                  <a:lnTo>
                    <a:pt x="29" y="373"/>
                  </a:lnTo>
                  <a:lnTo>
                    <a:pt x="39" y="401"/>
                  </a:lnTo>
                  <a:lnTo>
                    <a:pt x="29" y="411"/>
                  </a:lnTo>
                  <a:lnTo>
                    <a:pt x="19" y="420"/>
                  </a:lnTo>
                  <a:lnTo>
                    <a:pt x="19" y="430"/>
                  </a:lnTo>
                  <a:lnTo>
                    <a:pt x="10" y="449"/>
                  </a:lnTo>
                  <a:lnTo>
                    <a:pt x="0" y="458"/>
                  </a:lnTo>
                  <a:lnTo>
                    <a:pt x="10" y="468"/>
                  </a:lnTo>
                  <a:lnTo>
                    <a:pt x="19" y="468"/>
                  </a:lnTo>
                  <a:lnTo>
                    <a:pt x="19" y="477"/>
                  </a:lnTo>
                  <a:lnTo>
                    <a:pt x="19" y="487"/>
                  </a:lnTo>
                  <a:lnTo>
                    <a:pt x="29" y="497"/>
                  </a:lnTo>
                  <a:lnTo>
                    <a:pt x="58" y="497"/>
                  </a:lnTo>
                  <a:lnTo>
                    <a:pt x="67" y="49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78" name="Freeform 470">
              <a:extLst>
                <a:ext uri="{FF2B5EF4-FFF2-40B4-BE49-F238E27FC236}">
                  <a16:creationId xmlns:a16="http://schemas.microsoft.com/office/drawing/2014/main" id="{FC8E630A-28AE-46E4-A23C-F452DDAF5943}"/>
                </a:ext>
              </a:extLst>
            </p:cNvPr>
            <p:cNvSpPr>
              <a:spLocks/>
            </p:cNvSpPr>
            <p:nvPr/>
          </p:nvSpPr>
          <p:spPr bwMode="gray">
            <a:xfrm>
              <a:off x="1896" y="3292"/>
              <a:ext cx="76" cy="86"/>
            </a:xfrm>
            <a:custGeom>
              <a:avLst/>
              <a:gdLst>
                <a:gd name="T0" fmla="*/ 76 w 76"/>
                <a:gd name="T1" fmla="*/ 57 h 86"/>
                <a:gd name="T2" fmla="*/ 76 w 76"/>
                <a:gd name="T3" fmla="*/ 57 h 86"/>
                <a:gd name="T4" fmla="*/ 67 w 76"/>
                <a:gd name="T5" fmla="*/ 67 h 86"/>
                <a:gd name="T6" fmla="*/ 67 w 76"/>
                <a:gd name="T7" fmla="*/ 76 h 86"/>
                <a:gd name="T8" fmla="*/ 57 w 76"/>
                <a:gd name="T9" fmla="*/ 86 h 86"/>
                <a:gd name="T10" fmla="*/ 48 w 76"/>
                <a:gd name="T11" fmla="*/ 86 h 86"/>
                <a:gd name="T12" fmla="*/ 38 w 76"/>
                <a:gd name="T13" fmla="*/ 76 h 86"/>
                <a:gd name="T14" fmla="*/ 29 w 76"/>
                <a:gd name="T15" fmla="*/ 76 h 86"/>
                <a:gd name="T16" fmla="*/ 19 w 76"/>
                <a:gd name="T17" fmla="*/ 76 h 86"/>
                <a:gd name="T18" fmla="*/ 10 w 76"/>
                <a:gd name="T19" fmla="*/ 67 h 86"/>
                <a:gd name="T20" fmla="*/ 0 w 76"/>
                <a:gd name="T21" fmla="*/ 67 h 86"/>
                <a:gd name="T22" fmla="*/ 0 w 76"/>
                <a:gd name="T23" fmla="*/ 57 h 86"/>
                <a:gd name="T24" fmla="*/ 10 w 76"/>
                <a:gd name="T25" fmla="*/ 48 h 86"/>
                <a:gd name="T26" fmla="*/ 10 w 76"/>
                <a:gd name="T27" fmla="*/ 19 h 86"/>
                <a:gd name="T28" fmla="*/ 10 w 76"/>
                <a:gd name="T29" fmla="*/ 19 h 86"/>
                <a:gd name="T30" fmla="*/ 19 w 76"/>
                <a:gd name="T31" fmla="*/ 0 h 86"/>
                <a:gd name="T32" fmla="*/ 19 w 76"/>
                <a:gd name="T33" fmla="*/ 9 h 86"/>
                <a:gd name="T34" fmla="*/ 29 w 76"/>
                <a:gd name="T35" fmla="*/ 19 h 86"/>
                <a:gd name="T36" fmla="*/ 48 w 76"/>
                <a:gd name="T37" fmla="*/ 19 h 86"/>
                <a:gd name="T38" fmla="*/ 48 w 76"/>
                <a:gd name="T39" fmla="*/ 19 h 86"/>
                <a:gd name="T40" fmla="*/ 57 w 76"/>
                <a:gd name="T41" fmla="*/ 28 h 86"/>
                <a:gd name="T42" fmla="*/ 67 w 76"/>
                <a:gd name="T43" fmla="*/ 38 h 86"/>
                <a:gd name="T44" fmla="*/ 67 w 76"/>
                <a:gd name="T45" fmla="*/ 38 h 86"/>
                <a:gd name="T46" fmla="*/ 76 w 76"/>
                <a:gd name="T47" fmla="*/ 48 h 86"/>
                <a:gd name="T48" fmla="*/ 76 w 76"/>
                <a:gd name="T49" fmla="*/ 57 h 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6"/>
                <a:gd name="T76" fmla="*/ 0 h 86"/>
                <a:gd name="T77" fmla="*/ 76 w 76"/>
                <a:gd name="T78" fmla="*/ 86 h 8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6" h="86">
                  <a:moveTo>
                    <a:pt x="76" y="57"/>
                  </a:moveTo>
                  <a:lnTo>
                    <a:pt x="76" y="57"/>
                  </a:lnTo>
                  <a:lnTo>
                    <a:pt x="67" y="67"/>
                  </a:lnTo>
                  <a:lnTo>
                    <a:pt x="67" y="76"/>
                  </a:lnTo>
                  <a:lnTo>
                    <a:pt x="57" y="86"/>
                  </a:lnTo>
                  <a:lnTo>
                    <a:pt x="48" y="86"/>
                  </a:lnTo>
                  <a:lnTo>
                    <a:pt x="38" y="76"/>
                  </a:lnTo>
                  <a:lnTo>
                    <a:pt x="29" y="76"/>
                  </a:lnTo>
                  <a:lnTo>
                    <a:pt x="19" y="76"/>
                  </a:lnTo>
                  <a:lnTo>
                    <a:pt x="10" y="67"/>
                  </a:lnTo>
                  <a:lnTo>
                    <a:pt x="0" y="67"/>
                  </a:lnTo>
                  <a:lnTo>
                    <a:pt x="0" y="57"/>
                  </a:lnTo>
                  <a:lnTo>
                    <a:pt x="10" y="48"/>
                  </a:lnTo>
                  <a:lnTo>
                    <a:pt x="10" y="19"/>
                  </a:lnTo>
                  <a:lnTo>
                    <a:pt x="19" y="0"/>
                  </a:lnTo>
                  <a:lnTo>
                    <a:pt x="19" y="9"/>
                  </a:lnTo>
                  <a:lnTo>
                    <a:pt x="29" y="19"/>
                  </a:lnTo>
                  <a:lnTo>
                    <a:pt x="48" y="19"/>
                  </a:lnTo>
                  <a:lnTo>
                    <a:pt x="57" y="28"/>
                  </a:lnTo>
                  <a:lnTo>
                    <a:pt x="67" y="38"/>
                  </a:lnTo>
                  <a:lnTo>
                    <a:pt x="76" y="48"/>
                  </a:lnTo>
                  <a:lnTo>
                    <a:pt x="76" y="5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79" name="Freeform 471">
              <a:extLst>
                <a:ext uri="{FF2B5EF4-FFF2-40B4-BE49-F238E27FC236}">
                  <a16:creationId xmlns:a16="http://schemas.microsoft.com/office/drawing/2014/main" id="{8FEC615B-C111-43D2-8801-73DA39DA6FD8}"/>
                </a:ext>
              </a:extLst>
            </p:cNvPr>
            <p:cNvSpPr>
              <a:spLocks/>
            </p:cNvSpPr>
            <p:nvPr/>
          </p:nvSpPr>
          <p:spPr bwMode="gray">
            <a:xfrm>
              <a:off x="1629" y="2547"/>
              <a:ext cx="10" cy="10"/>
            </a:xfrm>
            <a:custGeom>
              <a:avLst/>
              <a:gdLst>
                <a:gd name="T0" fmla="*/ 0 w 10"/>
                <a:gd name="T1" fmla="*/ 0 h 10"/>
                <a:gd name="T2" fmla="*/ 10 w 10"/>
                <a:gd name="T3" fmla="*/ 10 h 10"/>
                <a:gd name="T4" fmla="*/ 10 w 10"/>
                <a:gd name="T5" fmla="*/ 10 h 10"/>
                <a:gd name="T6" fmla="*/ 10 w 10"/>
                <a:gd name="T7" fmla="*/ 0 h 10"/>
                <a:gd name="T8" fmla="*/ 0 w 10"/>
                <a:gd name="T9" fmla="*/ 0 h 10"/>
                <a:gd name="T10" fmla="*/ 0 w 10"/>
                <a:gd name="T11" fmla="*/ 0 h 10"/>
                <a:gd name="T12" fmla="*/ 0 60000 65536"/>
                <a:gd name="T13" fmla="*/ 0 60000 65536"/>
                <a:gd name="T14" fmla="*/ 0 60000 65536"/>
                <a:gd name="T15" fmla="*/ 0 60000 65536"/>
                <a:gd name="T16" fmla="*/ 0 60000 65536"/>
                <a:gd name="T17" fmla="*/ 0 60000 65536"/>
                <a:gd name="T18" fmla="*/ 0 w 10"/>
                <a:gd name="T19" fmla="*/ 0 h 10"/>
                <a:gd name="T20" fmla="*/ 10 w 10"/>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0" h="10">
                  <a:moveTo>
                    <a:pt x="0" y="0"/>
                  </a:moveTo>
                  <a:lnTo>
                    <a:pt x="10" y="10"/>
                  </a:lnTo>
                  <a:lnTo>
                    <a:pt x="10"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80" name="Freeform 472">
              <a:extLst>
                <a:ext uri="{FF2B5EF4-FFF2-40B4-BE49-F238E27FC236}">
                  <a16:creationId xmlns:a16="http://schemas.microsoft.com/office/drawing/2014/main" id="{6C3F66A2-7514-41BF-BA00-4C69F983C6BD}"/>
                </a:ext>
              </a:extLst>
            </p:cNvPr>
            <p:cNvSpPr>
              <a:spLocks/>
            </p:cNvSpPr>
            <p:nvPr/>
          </p:nvSpPr>
          <p:spPr bwMode="gray">
            <a:xfrm>
              <a:off x="1629" y="2547"/>
              <a:ext cx="10" cy="10"/>
            </a:xfrm>
            <a:custGeom>
              <a:avLst/>
              <a:gdLst>
                <a:gd name="T0" fmla="*/ 0 w 10"/>
                <a:gd name="T1" fmla="*/ 0 h 10"/>
                <a:gd name="T2" fmla="*/ 10 w 10"/>
                <a:gd name="T3" fmla="*/ 10 h 10"/>
                <a:gd name="T4" fmla="*/ 10 w 10"/>
                <a:gd name="T5" fmla="*/ 10 h 10"/>
                <a:gd name="T6" fmla="*/ 10 w 10"/>
                <a:gd name="T7" fmla="*/ 0 h 10"/>
                <a:gd name="T8" fmla="*/ 0 w 10"/>
                <a:gd name="T9" fmla="*/ 0 h 10"/>
                <a:gd name="T10" fmla="*/ 0 w 10"/>
                <a:gd name="T11" fmla="*/ 0 h 10"/>
                <a:gd name="T12" fmla="*/ 0 60000 65536"/>
                <a:gd name="T13" fmla="*/ 0 60000 65536"/>
                <a:gd name="T14" fmla="*/ 0 60000 65536"/>
                <a:gd name="T15" fmla="*/ 0 60000 65536"/>
                <a:gd name="T16" fmla="*/ 0 60000 65536"/>
                <a:gd name="T17" fmla="*/ 0 60000 65536"/>
                <a:gd name="T18" fmla="*/ 0 w 10"/>
                <a:gd name="T19" fmla="*/ 0 h 10"/>
                <a:gd name="T20" fmla="*/ 10 w 10"/>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0" h="10">
                  <a:moveTo>
                    <a:pt x="0" y="0"/>
                  </a:moveTo>
                  <a:lnTo>
                    <a:pt x="10" y="10"/>
                  </a:lnTo>
                  <a:lnTo>
                    <a:pt x="10"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81" name="Freeform 473">
              <a:extLst>
                <a:ext uri="{FF2B5EF4-FFF2-40B4-BE49-F238E27FC236}">
                  <a16:creationId xmlns:a16="http://schemas.microsoft.com/office/drawing/2014/main" id="{A9D0C703-896D-4C29-961D-5D4B994E7D86}"/>
                </a:ext>
              </a:extLst>
            </p:cNvPr>
            <p:cNvSpPr>
              <a:spLocks/>
            </p:cNvSpPr>
            <p:nvPr/>
          </p:nvSpPr>
          <p:spPr bwMode="gray">
            <a:xfrm>
              <a:off x="2446" y="2681"/>
              <a:ext cx="47" cy="10"/>
            </a:xfrm>
            <a:custGeom>
              <a:avLst/>
              <a:gdLst>
                <a:gd name="T0" fmla="*/ 0 w 47"/>
                <a:gd name="T1" fmla="*/ 10 h 10"/>
                <a:gd name="T2" fmla="*/ 9 w 47"/>
                <a:gd name="T3" fmla="*/ 0 h 10"/>
                <a:gd name="T4" fmla="*/ 0 w 47"/>
                <a:gd name="T5" fmla="*/ 0 h 10"/>
                <a:gd name="T6" fmla="*/ 28 w 47"/>
                <a:gd name="T7" fmla="*/ 0 h 10"/>
                <a:gd name="T8" fmla="*/ 47 w 47"/>
                <a:gd name="T9" fmla="*/ 0 h 10"/>
                <a:gd name="T10" fmla="*/ 47 w 47"/>
                <a:gd name="T11" fmla="*/ 10 h 10"/>
                <a:gd name="T12" fmla="*/ 38 w 47"/>
                <a:gd name="T13" fmla="*/ 10 h 10"/>
                <a:gd name="T14" fmla="*/ 28 w 47"/>
                <a:gd name="T15" fmla="*/ 10 h 10"/>
                <a:gd name="T16" fmla="*/ 0 w 47"/>
                <a:gd name="T17" fmla="*/ 1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0"/>
                <a:gd name="T29" fmla="*/ 47 w 47"/>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0">
                  <a:moveTo>
                    <a:pt x="0" y="10"/>
                  </a:moveTo>
                  <a:lnTo>
                    <a:pt x="9" y="0"/>
                  </a:lnTo>
                  <a:lnTo>
                    <a:pt x="0" y="0"/>
                  </a:lnTo>
                  <a:lnTo>
                    <a:pt x="28" y="0"/>
                  </a:lnTo>
                  <a:lnTo>
                    <a:pt x="47" y="0"/>
                  </a:lnTo>
                  <a:lnTo>
                    <a:pt x="47" y="10"/>
                  </a:lnTo>
                  <a:lnTo>
                    <a:pt x="38" y="10"/>
                  </a:lnTo>
                  <a:lnTo>
                    <a:pt x="28" y="1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82" name="Freeform 474">
              <a:extLst>
                <a:ext uri="{FF2B5EF4-FFF2-40B4-BE49-F238E27FC236}">
                  <a16:creationId xmlns:a16="http://schemas.microsoft.com/office/drawing/2014/main" id="{166F7FBC-0511-4041-B87A-522AEFE69C41}"/>
                </a:ext>
              </a:extLst>
            </p:cNvPr>
            <p:cNvSpPr>
              <a:spLocks/>
            </p:cNvSpPr>
            <p:nvPr/>
          </p:nvSpPr>
          <p:spPr bwMode="gray">
            <a:xfrm>
              <a:off x="2455" y="2700"/>
              <a:ext cx="38" cy="19"/>
            </a:xfrm>
            <a:custGeom>
              <a:avLst/>
              <a:gdLst>
                <a:gd name="T0" fmla="*/ 19 w 38"/>
                <a:gd name="T1" fmla="*/ 19 h 19"/>
                <a:gd name="T2" fmla="*/ 10 w 38"/>
                <a:gd name="T3" fmla="*/ 10 h 19"/>
                <a:gd name="T4" fmla="*/ 0 w 38"/>
                <a:gd name="T5" fmla="*/ 0 h 19"/>
                <a:gd name="T6" fmla="*/ 0 w 38"/>
                <a:gd name="T7" fmla="*/ 0 h 19"/>
                <a:gd name="T8" fmla="*/ 19 w 38"/>
                <a:gd name="T9" fmla="*/ 0 h 19"/>
                <a:gd name="T10" fmla="*/ 38 w 38"/>
                <a:gd name="T11" fmla="*/ 0 h 19"/>
                <a:gd name="T12" fmla="*/ 38 w 38"/>
                <a:gd name="T13" fmla="*/ 10 h 19"/>
                <a:gd name="T14" fmla="*/ 29 w 38"/>
                <a:gd name="T15" fmla="*/ 10 h 19"/>
                <a:gd name="T16" fmla="*/ 19 w 38"/>
                <a:gd name="T17" fmla="*/ 19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19"/>
                <a:gd name="T29" fmla="*/ 38 w 38"/>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19">
                  <a:moveTo>
                    <a:pt x="19" y="19"/>
                  </a:moveTo>
                  <a:lnTo>
                    <a:pt x="10" y="10"/>
                  </a:lnTo>
                  <a:lnTo>
                    <a:pt x="0" y="0"/>
                  </a:lnTo>
                  <a:lnTo>
                    <a:pt x="19" y="0"/>
                  </a:lnTo>
                  <a:lnTo>
                    <a:pt x="38" y="0"/>
                  </a:lnTo>
                  <a:lnTo>
                    <a:pt x="38" y="10"/>
                  </a:lnTo>
                  <a:lnTo>
                    <a:pt x="29" y="10"/>
                  </a:lnTo>
                  <a:lnTo>
                    <a:pt x="19"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83" name="Freeform 475">
              <a:extLst>
                <a:ext uri="{FF2B5EF4-FFF2-40B4-BE49-F238E27FC236}">
                  <a16:creationId xmlns:a16="http://schemas.microsoft.com/office/drawing/2014/main" id="{1FDB9C59-D55C-46D9-904C-9607DF6B759C}"/>
                </a:ext>
              </a:extLst>
            </p:cNvPr>
            <p:cNvSpPr>
              <a:spLocks/>
            </p:cNvSpPr>
            <p:nvPr/>
          </p:nvSpPr>
          <p:spPr bwMode="gray">
            <a:xfrm>
              <a:off x="3999" y="2462"/>
              <a:ext cx="48" cy="28"/>
            </a:xfrm>
            <a:custGeom>
              <a:avLst/>
              <a:gdLst>
                <a:gd name="T0" fmla="*/ 48 w 48"/>
                <a:gd name="T1" fmla="*/ 9 h 28"/>
                <a:gd name="T2" fmla="*/ 39 w 48"/>
                <a:gd name="T3" fmla="*/ 9 h 28"/>
                <a:gd name="T4" fmla="*/ 29 w 48"/>
                <a:gd name="T5" fmla="*/ 9 h 28"/>
                <a:gd name="T6" fmla="*/ 19 w 48"/>
                <a:gd name="T7" fmla="*/ 0 h 28"/>
                <a:gd name="T8" fmla="*/ 10 w 48"/>
                <a:gd name="T9" fmla="*/ 0 h 28"/>
                <a:gd name="T10" fmla="*/ 0 w 48"/>
                <a:gd name="T11" fmla="*/ 9 h 28"/>
                <a:gd name="T12" fmla="*/ 10 w 48"/>
                <a:gd name="T13" fmla="*/ 19 h 28"/>
                <a:gd name="T14" fmla="*/ 10 w 48"/>
                <a:gd name="T15" fmla="*/ 28 h 28"/>
                <a:gd name="T16" fmla="*/ 48 w 48"/>
                <a:gd name="T17" fmla="*/ 28 h 28"/>
                <a:gd name="T18" fmla="*/ 48 w 48"/>
                <a:gd name="T19" fmla="*/ 9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28"/>
                <a:gd name="T32" fmla="*/ 48 w 48"/>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28">
                  <a:moveTo>
                    <a:pt x="48" y="9"/>
                  </a:moveTo>
                  <a:lnTo>
                    <a:pt x="39" y="9"/>
                  </a:lnTo>
                  <a:lnTo>
                    <a:pt x="29" y="9"/>
                  </a:lnTo>
                  <a:lnTo>
                    <a:pt x="19" y="0"/>
                  </a:lnTo>
                  <a:lnTo>
                    <a:pt x="10" y="0"/>
                  </a:lnTo>
                  <a:lnTo>
                    <a:pt x="0" y="9"/>
                  </a:lnTo>
                  <a:lnTo>
                    <a:pt x="10" y="19"/>
                  </a:lnTo>
                  <a:lnTo>
                    <a:pt x="10" y="28"/>
                  </a:lnTo>
                  <a:lnTo>
                    <a:pt x="48" y="28"/>
                  </a:lnTo>
                  <a:lnTo>
                    <a:pt x="48"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84" name="Freeform 476">
              <a:extLst>
                <a:ext uri="{FF2B5EF4-FFF2-40B4-BE49-F238E27FC236}">
                  <a16:creationId xmlns:a16="http://schemas.microsoft.com/office/drawing/2014/main" id="{BE2078EF-CD45-492C-B054-89444E2294C3}"/>
                </a:ext>
              </a:extLst>
            </p:cNvPr>
            <p:cNvSpPr>
              <a:spLocks/>
            </p:cNvSpPr>
            <p:nvPr/>
          </p:nvSpPr>
          <p:spPr bwMode="gray">
            <a:xfrm>
              <a:off x="2694" y="2538"/>
              <a:ext cx="238" cy="172"/>
            </a:xfrm>
            <a:custGeom>
              <a:avLst/>
              <a:gdLst>
                <a:gd name="T0" fmla="*/ 181 w 238"/>
                <a:gd name="T1" fmla="*/ 0 h 172"/>
                <a:gd name="T2" fmla="*/ 85 w 238"/>
                <a:gd name="T3" fmla="*/ 67 h 172"/>
                <a:gd name="T4" fmla="*/ 66 w 238"/>
                <a:gd name="T5" fmla="*/ 67 h 172"/>
                <a:gd name="T6" fmla="*/ 47 w 238"/>
                <a:gd name="T7" fmla="*/ 124 h 172"/>
                <a:gd name="T8" fmla="*/ 28 w 238"/>
                <a:gd name="T9" fmla="*/ 124 h 172"/>
                <a:gd name="T10" fmla="*/ 28 w 238"/>
                <a:gd name="T11" fmla="*/ 124 h 172"/>
                <a:gd name="T12" fmla="*/ 0 w 238"/>
                <a:gd name="T13" fmla="*/ 124 h 172"/>
                <a:gd name="T14" fmla="*/ 0 w 238"/>
                <a:gd name="T15" fmla="*/ 134 h 172"/>
                <a:gd name="T16" fmla="*/ 9 w 238"/>
                <a:gd name="T17" fmla="*/ 143 h 172"/>
                <a:gd name="T18" fmla="*/ 19 w 238"/>
                <a:gd name="T19" fmla="*/ 143 h 172"/>
                <a:gd name="T20" fmla="*/ 19 w 238"/>
                <a:gd name="T21" fmla="*/ 153 h 172"/>
                <a:gd name="T22" fmla="*/ 28 w 238"/>
                <a:gd name="T23" fmla="*/ 162 h 172"/>
                <a:gd name="T24" fmla="*/ 38 w 238"/>
                <a:gd name="T25" fmla="*/ 172 h 172"/>
                <a:gd name="T26" fmla="*/ 47 w 238"/>
                <a:gd name="T27" fmla="*/ 162 h 172"/>
                <a:gd name="T28" fmla="*/ 47 w 238"/>
                <a:gd name="T29" fmla="*/ 162 h 172"/>
                <a:gd name="T30" fmla="*/ 57 w 238"/>
                <a:gd name="T31" fmla="*/ 153 h 172"/>
                <a:gd name="T32" fmla="*/ 66 w 238"/>
                <a:gd name="T33" fmla="*/ 143 h 172"/>
                <a:gd name="T34" fmla="*/ 95 w 238"/>
                <a:gd name="T35" fmla="*/ 143 h 172"/>
                <a:gd name="T36" fmla="*/ 104 w 238"/>
                <a:gd name="T37" fmla="*/ 153 h 172"/>
                <a:gd name="T38" fmla="*/ 114 w 238"/>
                <a:gd name="T39" fmla="*/ 153 h 172"/>
                <a:gd name="T40" fmla="*/ 133 w 238"/>
                <a:gd name="T41" fmla="*/ 153 h 172"/>
                <a:gd name="T42" fmla="*/ 143 w 238"/>
                <a:gd name="T43" fmla="*/ 153 h 172"/>
                <a:gd name="T44" fmla="*/ 152 w 238"/>
                <a:gd name="T45" fmla="*/ 143 h 172"/>
                <a:gd name="T46" fmla="*/ 181 w 238"/>
                <a:gd name="T47" fmla="*/ 153 h 172"/>
                <a:gd name="T48" fmla="*/ 200 w 238"/>
                <a:gd name="T49" fmla="*/ 143 h 172"/>
                <a:gd name="T50" fmla="*/ 200 w 238"/>
                <a:gd name="T51" fmla="*/ 124 h 172"/>
                <a:gd name="T52" fmla="*/ 228 w 238"/>
                <a:gd name="T53" fmla="*/ 95 h 172"/>
                <a:gd name="T54" fmla="*/ 228 w 238"/>
                <a:gd name="T55" fmla="*/ 57 h 172"/>
                <a:gd name="T56" fmla="*/ 238 w 238"/>
                <a:gd name="T57" fmla="*/ 48 h 172"/>
                <a:gd name="T58" fmla="*/ 228 w 238"/>
                <a:gd name="T59" fmla="*/ 38 h 172"/>
                <a:gd name="T60" fmla="*/ 219 w 238"/>
                <a:gd name="T61" fmla="*/ 9 h 172"/>
                <a:gd name="T62" fmla="*/ 181 w 238"/>
                <a:gd name="T63" fmla="*/ 0 h 1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8"/>
                <a:gd name="T97" fmla="*/ 0 h 172"/>
                <a:gd name="T98" fmla="*/ 238 w 238"/>
                <a:gd name="T99" fmla="*/ 172 h 17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8" h="172">
                  <a:moveTo>
                    <a:pt x="181" y="0"/>
                  </a:moveTo>
                  <a:lnTo>
                    <a:pt x="85" y="67"/>
                  </a:lnTo>
                  <a:lnTo>
                    <a:pt x="66" y="67"/>
                  </a:lnTo>
                  <a:lnTo>
                    <a:pt x="47" y="124"/>
                  </a:lnTo>
                  <a:lnTo>
                    <a:pt x="28" y="124"/>
                  </a:lnTo>
                  <a:lnTo>
                    <a:pt x="0" y="124"/>
                  </a:lnTo>
                  <a:lnTo>
                    <a:pt x="0" y="134"/>
                  </a:lnTo>
                  <a:lnTo>
                    <a:pt x="9" y="143"/>
                  </a:lnTo>
                  <a:lnTo>
                    <a:pt x="19" y="143"/>
                  </a:lnTo>
                  <a:lnTo>
                    <a:pt x="19" y="153"/>
                  </a:lnTo>
                  <a:lnTo>
                    <a:pt x="28" y="162"/>
                  </a:lnTo>
                  <a:lnTo>
                    <a:pt x="38" y="172"/>
                  </a:lnTo>
                  <a:lnTo>
                    <a:pt x="47" y="162"/>
                  </a:lnTo>
                  <a:lnTo>
                    <a:pt x="57" y="153"/>
                  </a:lnTo>
                  <a:lnTo>
                    <a:pt x="66" y="143"/>
                  </a:lnTo>
                  <a:lnTo>
                    <a:pt x="95" y="143"/>
                  </a:lnTo>
                  <a:lnTo>
                    <a:pt x="104" y="153"/>
                  </a:lnTo>
                  <a:lnTo>
                    <a:pt x="114" y="153"/>
                  </a:lnTo>
                  <a:lnTo>
                    <a:pt x="133" y="153"/>
                  </a:lnTo>
                  <a:lnTo>
                    <a:pt x="143" y="153"/>
                  </a:lnTo>
                  <a:lnTo>
                    <a:pt x="152" y="143"/>
                  </a:lnTo>
                  <a:lnTo>
                    <a:pt x="181" y="153"/>
                  </a:lnTo>
                  <a:lnTo>
                    <a:pt x="200" y="143"/>
                  </a:lnTo>
                  <a:lnTo>
                    <a:pt x="200" y="124"/>
                  </a:lnTo>
                  <a:lnTo>
                    <a:pt x="228" y="95"/>
                  </a:lnTo>
                  <a:lnTo>
                    <a:pt x="228" y="57"/>
                  </a:lnTo>
                  <a:lnTo>
                    <a:pt x="238" y="48"/>
                  </a:lnTo>
                  <a:lnTo>
                    <a:pt x="228" y="38"/>
                  </a:lnTo>
                  <a:lnTo>
                    <a:pt x="219" y="9"/>
                  </a:lnTo>
                  <a:lnTo>
                    <a:pt x="181"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85" name="Freeform 477">
              <a:extLst>
                <a:ext uri="{FF2B5EF4-FFF2-40B4-BE49-F238E27FC236}">
                  <a16:creationId xmlns:a16="http://schemas.microsoft.com/office/drawing/2014/main" id="{E178564E-B69F-4A35-949F-0005F739C9A5}"/>
                </a:ext>
              </a:extLst>
            </p:cNvPr>
            <p:cNvSpPr>
              <a:spLocks/>
            </p:cNvSpPr>
            <p:nvPr/>
          </p:nvSpPr>
          <p:spPr bwMode="gray">
            <a:xfrm>
              <a:off x="3685" y="2261"/>
              <a:ext cx="105" cy="67"/>
            </a:xfrm>
            <a:custGeom>
              <a:avLst/>
              <a:gdLst>
                <a:gd name="T0" fmla="*/ 105 w 105"/>
                <a:gd name="T1" fmla="*/ 57 h 67"/>
                <a:gd name="T2" fmla="*/ 105 w 105"/>
                <a:gd name="T3" fmla="*/ 48 h 67"/>
                <a:gd name="T4" fmla="*/ 105 w 105"/>
                <a:gd name="T5" fmla="*/ 38 h 67"/>
                <a:gd name="T6" fmla="*/ 95 w 105"/>
                <a:gd name="T7" fmla="*/ 38 h 67"/>
                <a:gd name="T8" fmla="*/ 86 w 105"/>
                <a:gd name="T9" fmla="*/ 19 h 67"/>
                <a:gd name="T10" fmla="*/ 76 w 105"/>
                <a:gd name="T11" fmla="*/ 29 h 67"/>
                <a:gd name="T12" fmla="*/ 67 w 105"/>
                <a:gd name="T13" fmla="*/ 29 h 67"/>
                <a:gd name="T14" fmla="*/ 67 w 105"/>
                <a:gd name="T15" fmla="*/ 19 h 67"/>
                <a:gd name="T16" fmla="*/ 48 w 105"/>
                <a:gd name="T17" fmla="*/ 19 h 67"/>
                <a:gd name="T18" fmla="*/ 48 w 105"/>
                <a:gd name="T19" fmla="*/ 19 h 67"/>
                <a:gd name="T20" fmla="*/ 38 w 105"/>
                <a:gd name="T21" fmla="*/ 19 h 67"/>
                <a:gd name="T22" fmla="*/ 28 w 105"/>
                <a:gd name="T23" fmla="*/ 29 h 67"/>
                <a:gd name="T24" fmla="*/ 28 w 105"/>
                <a:gd name="T25" fmla="*/ 19 h 67"/>
                <a:gd name="T26" fmla="*/ 38 w 105"/>
                <a:gd name="T27" fmla="*/ 10 h 67"/>
                <a:gd name="T28" fmla="*/ 38 w 105"/>
                <a:gd name="T29" fmla="*/ 0 h 67"/>
                <a:gd name="T30" fmla="*/ 48 w 105"/>
                <a:gd name="T31" fmla="*/ 0 h 67"/>
                <a:gd name="T32" fmla="*/ 38 w 105"/>
                <a:gd name="T33" fmla="*/ 0 h 67"/>
                <a:gd name="T34" fmla="*/ 19 w 105"/>
                <a:gd name="T35" fmla="*/ 0 h 67"/>
                <a:gd name="T36" fmla="*/ 19 w 105"/>
                <a:gd name="T37" fmla="*/ 10 h 67"/>
                <a:gd name="T38" fmla="*/ 9 w 105"/>
                <a:gd name="T39" fmla="*/ 19 h 67"/>
                <a:gd name="T40" fmla="*/ 0 w 105"/>
                <a:gd name="T41" fmla="*/ 19 h 67"/>
                <a:gd name="T42" fmla="*/ 0 w 105"/>
                <a:gd name="T43" fmla="*/ 38 h 67"/>
                <a:gd name="T44" fmla="*/ 9 w 105"/>
                <a:gd name="T45" fmla="*/ 38 h 67"/>
                <a:gd name="T46" fmla="*/ 0 w 105"/>
                <a:gd name="T47" fmla="*/ 48 h 67"/>
                <a:gd name="T48" fmla="*/ 0 w 105"/>
                <a:gd name="T49" fmla="*/ 57 h 67"/>
                <a:gd name="T50" fmla="*/ 9 w 105"/>
                <a:gd name="T51" fmla="*/ 67 h 67"/>
                <a:gd name="T52" fmla="*/ 38 w 105"/>
                <a:gd name="T53" fmla="*/ 57 h 67"/>
                <a:gd name="T54" fmla="*/ 38 w 105"/>
                <a:gd name="T55" fmla="*/ 48 h 67"/>
                <a:gd name="T56" fmla="*/ 48 w 105"/>
                <a:gd name="T57" fmla="*/ 38 h 67"/>
                <a:gd name="T58" fmla="*/ 57 w 105"/>
                <a:gd name="T59" fmla="*/ 38 h 67"/>
                <a:gd name="T60" fmla="*/ 57 w 105"/>
                <a:gd name="T61" fmla="*/ 57 h 67"/>
                <a:gd name="T62" fmla="*/ 57 w 105"/>
                <a:gd name="T63" fmla="*/ 67 h 67"/>
                <a:gd name="T64" fmla="*/ 76 w 105"/>
                <a:gd name="T65" fmla="*/ 67 h 67"/>
                <a:gd name="T66" fmla="*/ 86 w 105"/>
                <a:gd name="T67" fmla="*/ 57 h 67"/>
                <a:gd name="T68" fmla="*/ 95 w 105"/>
                <a:gd name="T69" fmla="*/ 57 h 67"/>
                <a:gd name="T70" fmla="*/ 105 w 105"/>
                <a:gd name="T71" fmla="*/ 57 h 6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5"/>
                <a:gd name="T109" fmla="*/ 0 h 67"/>
                <a:gd name="T110" fmla="*/ 105 w 105"/>
                <a:gd name="T111" fmla="*/ 67 h 6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5" h="67">
                  <a:moveTo>
                    <a:pt x="105" y="57"/>
                  </a:moveTo>
                  <a:lnTo>
                    <a:pt x="105" y="48"/>
                  </a:lnTo>
                  <a:lnTo>
                    <a:pt x="105" y="38"/>
                  </a:lnTo>
                  <a:lnTo>
                    <a:pt x="95" y="38"/>
                  </a:lnTo>
                  <a:lnTo>
                    <a:pt x="86" y="19"/>
                  </a:lnTo>
                  <a:lnTo>
                    <a:pt x="76" y="29"/>
                  </a:lnTo>
                  <a:lnTo>
                    <a:pt x="67" y="29"/>
                  </a:lnTo>
                  <a:lnTo>
                    <a:pt x="67" y="19"/>
                  </a:lnTo>
                  <a:lnTo>
                    <a:pt x="48" y="19"/>
                  </a:lnTo>
                  <a:lnTo>
                    <a:pt x="38" y="19"/>
                  </a:lnTo>
                  <a:lnTo>
                    <a:pt x="28" y="29"/>
                  </a:lnTo>
                  <a:lnTo>
                    <a:pt x="28" y="19"/>
                  </a:lnTo>
                  <a:lnTo>
                    <a:pt x="38" y="10"/>
                  </a:lnTo>
                  <a:lnTo>
                    <a:pt x="38" y="0"/>
                  </a:lnTo>
                  <a:lnTo>
                    <a:pt x="48" y="0"/>
                  </a:lnTo>
                  <a:lnTo>
                    <a:pt x="38" y="0"/>
                  </a:lnTo>
                  <a:lnTo>
                    <a:pt x="19" y="0"/>
                  </a:lnTo>
                  <a:lnTo>
                    <a:pt x="19" y="10"/>
                  </a:lnTo>
                  <a:lnTo>
                    <a:pt x="9" y="19"/>
                  </a:lnTo>
                  <a:lnTo>
                    <a:pt x="0" y="19"/>
                  </a:lnTo>
                  <a:lnTo>
                    <a:pt x="0" y="38"/>
                  </a:lnTo>
                  <a:lnTo>
                    <a:pt x="9" y="38"/>
                  </a:lnTo>
                  <a:lnTo>
                    <a:pt x="0" y="48"/>
                  </a:lnTo>
                  <a:lnTo>
                    <a:pt x="0" y="57"/>
                  </a:lnTo>
                  <a:lnTo>
                    <a:pt x="9" y="67"/>
                  </a:lnTo>
                  <a:lnTo>
                    <a:pt x="38" y="57"/>
                  </a:lnTo>
                  <a:lnTo>
                    <a:pt x="38" y="48"/>
                  </a:lnTo>
                  <a:lnTo>
                    <a:pt x="48" y="38"/>
                  </a:lnTo>
                  <a:lnTo>
                    <a:pt x="57" y="38"/>
                  </a:lnTo>
                  <a:lnTo>
                    <a:pt x="57" y="57"/>
                  </a:lnTo>
                  <a:lnTo>
                    <a:pt x="57" y="67"/>
                  </a:lnTo>
                  <a:lnTo>
                    <a:pt x="76" y="67"/>
                  </a:lnTo>
                  <a:lnTo>
                    <a:pt x="86" y="57"/>
                  </a:lnTo>
                  <a:lnTo>
                    <a:pt x="95" y="57"/>
                  </a:lnTo>
                  <a:lnTo>
                    <a:pt x="105" y="5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86" name="Freeform 478">
              <a:extLst>
                <a:ext uri="{FF2B5EF4-FFF2-40B4-BE49-F238E27FC236}">
                  <a16:creationId xmlns:a16="http://schemas.microsoft.com/office/drawing/2014/main" id="{E1243DE7-CBA6-4AF0-A463-4681915B193B}"/>
                </a:ext>
              </a:extLst>
            </p:cNvPr>
            <p:cNvSpPr>
              <a:spLocks/>
            </p:cNvSpPr>
            <p:nvPr/>
          </p:nvSpPr>
          <p:spPr bwMode="gray">
            <a:xfrm>
              <a:off x="4047" y="2462"/>
              <a:ext cx="134" cy="267"/>
            </a:xfrm>
            <a:custGeom>
              <a:avLst/>
              <a:gdLst>
                <a:gd name="T0" fmla="*/ 124 w 134"/>
                <a:gd name="T1" fmla="*/ 114 h 267"/>
                <a:gd name="T2" fmla="*/ 105 w 134"/>
                <a:gd name="T3" fmla="*/ 124 h 267"/>
                <a:gd name="T4" fmla="*/ 95 w 134"/>
                <a:gd name="T5" fmla="*/ 133 h 267"/>
                <a:gd name="T6" fmla="*/ 95 w 134"/>
                <a:gd name="T7" fmla="*/ 133 h 267"/>
                <a:gd name="T8" fmla="*/ 86 w 134"/>
                <a:gd name="T9" fmla="*/ 133 h 267"/>
                <a:gd name="T10" fmla="*/ 86 w 134"/>
                <a:gd name="T11" fmla="*/ 152 h 267"/>
                <a:gd name="T12" fmla="*/ 95 w 134"/>
                <a:gd name="T13" fmla="*/ 162 h 267"/>
                <a:gd name="T14" fmla="*/ 95 w 134"/>
                <a:gd name="T15" fmla="*/ 181 h 267"/>
                <a:gd name="T16" fmla="*/ 95 w 134"/>
                <a:gd name="T17" fmla="*/ 190 h 267"/>
                <a:gd name="T18" fmla="*/ 105 w 134"/>
                <a:gd name="T19" fmla="*/ 210 h 267"/>
                <a:gd name="T20" fmla="*/ 105 w 134"/>
                <a:gd name="T21" fmla="*/ 238 h 267"/>
                <a:gd name="T22" fmla="*/ 105 w 134"/>
                <a:gd name="T23" fmla="*/ 248 h 267"/>
                <a:gd name="T24" fmla="*/ 105 w 134"/>
                <a:gd name="T25" fmla="*/ 257 h 267"/>
                <a:gd name="T26" fmla="*/ 95 w 134"/>
                <a:gd name="T27" fmla="*/ 267 h 267"/>
                <a:gd name="T28" fmla="*/ 95 w 134"/>
                <a:gd name="T29" fmla="*/ 248 h 267"/>
                <a:gd name="T30" fmla="*/ 95 w 134"/>
                <a:gd name="T31" fmla="*/ 238 h 267"/>
                <a:gd name="T32" fmla="*/ 95 w 134"/>
                <a:gd name="T33" fmla="*/ 229 h 267"/>
                <a:gd name="T34" fmla="*/ 95 w 134"/>
                <a:gd name="T35" fmla="*/ 219 h 267"/>
                <a:gd name="T36" fmla="*/ 86 w 134"/>
                <a:gd name="T37" fmla="*/ 210 h 267"/>
                <a:gd name="T38" fmla="*/ 86 w 134"/>
                <a:gd name="T39" fmla="*/ 200 h 267"/>
                <a:gd name="T40" fmla="*/ 86 w 134"/>
                <a:gd name="T41" fmla="*/ 181 h 267"/>
                <a:gd name="T42" fmla="*/ 76 w 134"/>
                <a:gd name="T43" fmla="*/ 171 h 267"/>
                <a:gd name="T44" fmla="*/ 76 w 134"/>
                <a:gd name="T45" fmla="*/ 171 h 267"/>
                <a:gd name="T46" fmla="*/ 67 w 134"/>
                <a:gd name="T47" fmla="*/ 181 h 267"/>
                <a:gd name="T48" fmla="*/ 57 w 134"/>
                <a:gd name="T49" fmla="*/ 181 h 267"/>
                <a:gd name="T50" fmla="*/ 38 w 134"/>
                <a:gd name="T51" fmla="*/ 190 h 267"/>
                <a:gd name="T52" fmla="*/ 29 w 134"/>
                <a:gd name="T53" fmla="*/ 190 h 267"/>
                <a:gd name="T54" fmla="*/ 38 w 134"/>
                <a:gd name="T55" fmla="*/ 181 h 267"/>
                <a:gd name="T56" fmla="*/ 29 w 134"/>
                <a:gd name="T57" fmla="*/ 171 h 267"/>
                <a:gd name="T58" fmla="*/ 29 w 134"/>
                <a:gd name="T59" fmla="*/ 152 h 267"/>
                <a:gd name="T60" fmla="*/ 19 w 134"/>
                <a:gd name="T61" fmla="*/ 143 h 267"/>
                <a:gd name="T62" fmla="*/ 19 w 134"/>
                <a:gd name="T63" fmla="*/ 133 h 267"/>
                <a:gd name="T64" fmla="*/ 0 w 134"/>
                <a:gd name="T65" fmla="*/ 124 h 267"/>
                <a:gd name="T66" fmla="*/ 0 w 134"/>
                <a:gd name="T67" fmla="*/ 114 h 267"/>
                <a:gd name="T68" fmla="*/ 10 w 134"/>
                <a:gd name="T69" fmla="*/ 105 h 267"/>
                <a:gd name="T70" fmla="*/ 10 w 134"/>
                <a:gd name="T71" fmla="*/ 95 h 267"/>
                <a:gd name="T72" fmla="*/ 19 w 134"/>
                <a:gd name="T73" fmla="*/ 95 h 267"/>
                <a:gd name="T74" fmla="*/ 19 w 134"/>
                <a:gd name="T75" fmla="*/ 76 h 267"/>
                <a:gd name="T76" fmla="*/ 19 w 134"/>
                <a:gd name="T77" fmla="*/ 76 h 267"/>
                <a:gd name="T78" fmla="*/ 29 w 134"/>
                <a:gd name="T79" fmla="*/ 66 h 267"/>
                <a:gd name="T80" fmla="*/ 29 w 134"/>
                <a:gd name="T81" fmla="*/ 66 h 267"/>
                <a:gd name="T82" fmla="*/ 48 w 134"/>
                <a:gd name="T83" fmla="*/ 19 h 267"/>
                <a:gd name="T84" fmla="*/ 67 w 134"/>
                <a:gd name="T85" fmla="*/ 9 h 267"/>
                <a:gd name="T86" fmla="*/ 76 w 134"/>
                <a:gd name="T87" fmla="*/ 0 h 267"/>
                <a:gd name="T88" fmla="*/ 86 w 134"/>
                <a:gd name="T89" fmla="*/ 0 h 267"/>
                <a:gd name="T90" fmla="*/ 95 w 134"/>
                <a:gd name="T91" fmla="*/ 19 h 267"/>
                <a:gd name="T92" fmla="*/ 95 w 134"/>
                <a:gd name="T93" fmla="*/ 38 h 267"/>
                <a:gd name="T94" fmla="*/ 86 w 134"/>
                <a:gd name="T95" fmla="*/ 47 h 267"/>
                <a:gd name="T96" fmla="*/ 86 w 134"/>
                <a:gd name="T97" fmla="*/ 66 h 267"/>
                <a:gd name="T98" fmla="*/ 95 w 134"/>
                <a:gd name="T99" fmla="*/ 66 h 267"/>
                <a:gd name="T100" fmla="*/ 105 w 134"/>
                <a:gd name="T101" fmla="*/ 85 h 267"/>
                <a:gd name="T102" fmla="*/ 105 w 134"/>
                <a:gd name="T103" fmla="*/ 95 h 267"/>
                <a:gd name="T104" fmla="*/ 124 w 134"/>
                <a:gd name="T105" fmla="*/ 95 h 267"/>
                <a:gd name="T106" fmla="*/ 124 w 134"/>
                <a:gd name="T107" fmla="*/ 95 h 267"/>
                <a:gd name="T108" fmla="*/ 134 w 134"/>
                <a:gd name="T109" fmla="*/ 105 h 267"/>
                <a:gd name="T110" fmla="*/ 134 w 134"/>
                <a:gd name="T111" fmla="*/ 105 h 267"/>
                <a:gd name="T112" fmla="*/ 134 w 134"/>
                <a:gd name="T113" fmla="*/ 105 h 267"/>
                <a:gd name="T114" fmla="*/ 124 w 134"/>
                <a:gd name="T115" fmla="*/ 114 h 26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4"/>
                <a:gd name="T175" fmla="*/ 0 h 267"/>
                <a:gd name="T176" fmla="*/ 134 w 134"/>
                <a:gd name="T177" fmla="*/ 267 h 26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4" h="267">
                  <a:moveTo>
                    <a:pt x="124" y="114"/>
                  </a:moveTo>
                  <a:lnTo>
                    <a:pt x="105" y="124"/>
                  </a:lnTo>
                  <a:lnTo>
                    <a:pt x="95" y="133"/>
                  </a:lnTo>
                  <a:lnTo>
                    <a:pt x="86" y="133"/>
                  </a:lnTo>
                  <a:lnTo>
                    <a:pt x="86" y="152"/>
                  </a:lnTo>
                  <a:lnTo>
                    <a:pt x="95" y="162"/>
                  </a:lnTo>
                  <a:lnTo>
                    <a:pt x="95" y="181"/>
                  </a:lnTo>
                  <a:lnTo>
                    <a:pt x="95" y="190"/>
                  </a:lnTo>
                  <a:lnTo>
                    <a:pt x="105" y="210"/>
                  </a:lnTo>
                  <a:lnTo>
                    <a:pt x="105" y="238"/>
                  </a:lnTo>
                  <a:lnTo>
                    <a:pt x="105" y="248"/>
                  </a:lnTo>
                  <a:lnTo>
                    <a:pt x="105" y="257"/>
                  </a:lnTo>
                  <a:lnTo>
                    <a:pt x="95" y="267"/>
                  </a:lnTo>
                  <a:lnTo>
                    <a:pt x="95" y="248"/>
                  </a:lnTo>
                  <a:lnTo>
                    <a:pt x="95" y="238"/>
                  </a:lnTo>
                  <a:lnTo>
                    <a:pt x="95" y="229"/>
                  </a:lnTo>
                  <a:lnTo>
                    <a:pt x="95" y="219"/>
                  </a:lnTo>
                  <a:lnTo>
                    <a:pt x="86" y="210"/>
                  </a:lnTo>
                  <a:lnTo>
                    <a:pt x="86" y="200"/>
                  </a:lnTo>
                  <a:lnTo>
                    <a:pt x="86" y="181"/>
                  </a:lnTo>
                  <a:lnTo>
                    <a:pt x="76" y="171"/>
                  </a:lnTo>
                  <a:lnTo>
                    <a:pt x="67" y="181"/>
                  </a:lnTo>
                  <a:lnTo>
                    <a:pt x="57" y="181"/>
                  </a:lnTo>
                  <a:lnTo>
                    <a:pt x="38" y="190"/>
                  </a:lnTo>
                  <a:lnTo>
                    <a:pt x="29" y="190"/>
                  </a:lnTo>
                  <a:lnTo>
                    <a:pt x="38" y="181"/>
                  </a:lnTo>
                  <a:lnTo>
                    <a:pt x="29" y="171"/>
                  </a:lnTo>
                  <a:lnTo>
                    <a:pt x="29" y="152"/>
                  </a:lnTo>
                  <a:lnTo>
                    <a:pt x="19" y="143"/>
                  </a:lnTo>
                  <a:lnTo>
                    <a:pt x="19" y="133"/>
                  </a:lnTo>
                  <a:lnTo>
                    <a:pt x="0" y="124"/>
                  </a:lnTo>
                  <a:lnTo>
                    <a:pt x="0" y="114"/>
                  </a:lnTo>
                  <a:lnTo>
                    <a:pt x="10" y="105"/>
                  </a:lnTo>
                  <a:lnTo>
                    <a:pt x="10" y="95"/>
                  </a:lnTo>
                  <a:lnTo>
                    <a:pt x="19" y="95"/>
                  </a:lnTo>
                  <a:lnTo>
                    <a:pt x="19" y="76"/>
                  </a:lnTo>
                  <a:lnTo>
                    <a:pt x="29" y="66"/>
                  </a:lnTo>
                  <a:lnTo>
                    <a:pt x="48" y="19"/>
                  </a:lnTo>
                  <a:lnTo>
                    <a:pt x="67" y="9"/>
                  </a:lnTo>
                  <a:lnTo>
                    <a:pt x="76" y="0"/>
                  </a:lnTo>
                  <a:lnTo>
                    <a:pt x="86" y="0"/>
                  </a:lnTo>
                  <a:lnTo>
                    <a:pt x="95" y="19"/>
                  </a:lnTo>
                  <a:lnTo>
                    <a:pt x="95" y="38"/>
                  </a:lnTo>
                  <a:lnTo>
                    <a:pt x="86" y="47"/>
                  </a:lnTo>
                  <a:lnTo>
                    <a:pt x="86" y="66"/>
                  </a:lnTo>
                  <a:lnTo>
                    <a:pt x="95" y="66"/>
                  </a:lnTo>
                  <a:lnTo>
                    <a:pt x="105" y="85"/>
                  </a:lnTo>
                  <a:lnTo>
                    <a:pt x="105" y="95"/>
                  </a:lnTo>
                  <a:lnTo>
                    <a:pt x="124" y="95"/>
                  </a:lnTo>
                  <a:lnTo>
                    <a:pt x="134" y="105"/>
                  </a:lnTo>
                  <a:lnTo>
                    <a:pt x="124" y="11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87" name="Freeform 479">
              <a:extLst>
                <a:ext uri="{FF2B5EF4-FFF2-40B4-BE49-F238E27FC236}">
                  <a16:creationId xmlns:a16="http://schemas.microsoft.com/office/drawing/2014/main" id="{6148C4A5-BE83-42C6-96C6-8E27D96810EE}"/>
                </a:ext>
              </a:extLst>
            </p:cNvPr>
            <p:cNvSpPr>
              <a:spLocks/>
            </p:cNvSpPr>
            <p:nvPr/>
          </p:nvSpPr>
          <p:spPr bwMode="gray">
            <a:xfrm>
              <a:off x="4524" y="2223"/>
              <a:ext cx="95" cy="95"/>
            </a:xfrm>
            <a:custGeom>
              <a:avLst/>
              <a:gdLst>
                <a:gd name="T0" fmla="*/ 95 w 95"/>
                <a:gd name="T1" fmla="*/ 10 h 95"/>
                <a:gd name="T2" fmla="*/ 95 w 95"/>
                <a:gd name="T3" fmla="*/ 0 h 95"/>
                <a:gd name="T4" fmla="*/ 85 w 95"/>
                <a:gd name="T5" fmla="*/ 0 h 95"/>
                <a:gd name="T6" fmla="*/ 66 w 95"/>
                <a:gd name="T7" fmla="*/ 10 h 95"/>
                <a:gd name="T8" fmla="*/ 57 w 95"/>
                <a:gd name="T9" fmla="*/ 10 h 95"/>
                <a:gd name="T10" fmla="*/ 57 w 95"/>
                <a:gd name="T11" fmla="*/ 19 h 95"/>
                <a:gd name="T12" fmla="*/ 57 w 95"/>
                <a:gd name="T13" fmla="*/ 29 h 95"/>
                <a:gd name="T14" fmla="*/ 47 w 95"/>
                <a:gd name="T15" fmla="*/ 29 h 95"/>
                <a:gd name="T16" fmla="*/ 47 w 95"/>
                <a:gd name="T17" fmla="*/ 19 h 95"/>
                <a:gd name="T18" fmla="*/ 38 w 95"/>
                <a:gd name="T19" fmla="*/ 19 h 95"/>
                <a:gd name="T20" fmla="*/ 28 w 95"/>
                <a:gd name="T21" fmla="*/ 38 h 95"/>
                <a:gd name="T22" fmla="*/ 9 w 95"/>
                <a:gd name="T23" fmla="*/ 38 h 95"/>
                <a:gd name="T24" fmla="*/ 0 w 95"/>
                <a:gd name="T25" fmla="*/ 57 h 95"/>
                <a:gd name="T26" fmla="*/ 0 w 95"/>
                <a:gd name="T27" fmla="*/ 57 h 95"/>
                <a:gd name="T28" fmla="*/ 9 w 95"/>
                <a:gd name="T29" fmla="*/ 57 h 95"/>
                <a:gd name="T30" fmla="*/ 9 w 95"/>
                <a:gd name="T31" fmla="*/ 57 h 95"/>
                <a:gd name="T32" fmla="*/ 9 w 95"/>
                <a:gd name="T33" fmla="*/ 67 h 95"/>
                <a:gd name="T34" fmla="*/ 19 w 95"/>
                <a:gd name="T35" fmla="*/ 76 h 95"/>
                <a:gd name="T36" fmla="*/ 9 w 95"/>
                <a:gd name="T37" fmla="*/ 86 h 95"/>
                <a:gd name="T38" fmla="*/ 9 w 95"/>
                <a:gd name="T39" fmla="*/ 95 h 95"/>
                <a:gd name="T40" fmla="*/ 19 w 95"/>
                <a:gd name="T41" fmla="*/ 95 h 95"/>
                <a:gd name="T42" fmla="*/ 28 w 95"/>
                <a:gd name="T43" fmla="*/ 86 h 95"/>
                <a:gd name="T44" fmla="*/ 28 w 95"/>
                <a:gd name="T45" fmla="*/ 86 h 95"/>
                <a:gd name="T46" fmla="*/ 38 w 95"/>
                <a:gd name="T47" fmla="*/ 76 h 95"/>
                <a:gd name="T48" fmla="*/ 66 w 95"/>
                <a:gd name="T49" fmla="*/ 76 h 95"/>
                <a:gd name="T50" fmla="*/ 57 w 95"/>
                <a:gd name="T51" fmla="*/ 67 h 95"/>
                <a:gd name="T52" fmla="*/ 47 w 95"/>
                <a:gd name="T53" fmla="*/ 67 h 95"/>
                <a:gd name="T54" fmla="*/ 47 w 95"/>
                <a:gd name="T55" fmla="*/ 57 h 95"/>
                <a:gd name="T56" fmla="*/ 47 w 95"/>
                <a:gd name="T57" fmla="*/ 48 h 95"/>
                <a:gd name="T58" fmla="*/ 57 w 95"/>
                <a:gd name="T59" fmla="*/ 48 h 95"/>
                <a:gd name="T60" fmla="*/ 76 w 95"/>
                <a:gd name="T61" fmla="*/ 38 h 95"/>
                <a:gd name="T62" fmla="*/ 85 w 95"/>
                <a:gd name="T63" fmla="*/ 29 h 95"/>
                <a:gd name="T64" fmla="*/ 85 w 95"/>
                <a:gd name="T65" fmla="*/ 19 h 95"/>
                <a:gd name="T66" fmla="*/ 85 w 95"/>
                <a:gd name="T67" fmla="*/ 10 h 95"/>
                <a:gd name="T68" fmla="*/ 95 w 95"/>
                <a:gd name="T69" fmla="*/ 10 h 9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5"/>
                <a:gd name="T106" fmla="*/ 0 h 95"/>
                <a:gd name="T107" fmla="*/ 95 w 95"/>
                <a:gd name="T108" fmla="*/ 95 h 9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5" h="95">
                  <a:moveTo>
                    <a:pt x="95" y="10"/>
                  </a:moveTo>
                  <a:lnTo>
                    <a:pt x="95" y="0"/>
                  </a:lnTo>
                  <a:lnTo>
                    <a:pt x="85" y="0"/>
                  </a:lnTo>
                  <a:lnTo>
                    <a:pt x="66" y="10"/>
                  </a:lnTo>
                  <a:lnTo>
                    <a:pt x="57" y="10"/>
                  </a:lnTo>
                  <a:lnTo>
                    <a:pt x="57" y="19"/>
                  </a:lnTo>
                  <a:lnTo>
                    <a:pt x="57" y="29"/>
                  </a:lnTo>
                  <a:lnTo>
                    <a:pt x="47" y="29"/>
                  </a:lnTo>
                  <a:lnTo>
                    <a:pt x="47" y="19"/>
                  </a:lnTo>
                  <a:lnTo>
                    <a:pt x="38" y="19"/>
                  </a:lnTo>
                  <a:lnTo>
                    <a:pt x="28" y="38"/>
                  </a:lnTo>
                  <a:lnTo>
                    <a:pt x="9" y="38"/>
                  </a:lnTo>
                  <a:lnTo>
                    <a:pt x="0" y="57"/>
                  </a:lnTo>
                  <a:lnTo>
                    <a:pt x="9" y="57"/>
                  </a:lnTo>
                  <a:lnTo>
                    <a:pt x="9" y="67"/>
                  </a:lnTo>
                  <a:lnTo>
                    <a:pt x="19" y="76"/>
                  </a:lnTo>
                  <a:lnTo>
                    <a:pt x="9" y="86"/>
                  </a:lnTo>
                  <a:lnTo>
                    <a:pt x="9" y="95"/>
                  </a:lnTo>
                  <a:lnTo>
                    <a:pt x="19" y="95"/>
                  </a:lnTo>
                  <a:lnTo>
                    <a:pt x="28" y="86"/>
                  </a:lnTo>
                  <a:lnTo>
                    <a:pt x="38" y="76"/>
                  </a:lnTo>
                  <a:lnTo>
                    <a:pt x="66" y="76"/>
                  </a:lnTo>
                  <a:lnTo>
                    <a:pt x="57" y="67"/>
                  </a:lnTo>
                  <a:lnTo>
                    <a:pt x="47" y="67"/>
                  </a:lnTo>
                  <a:lnTo>
                    <a:pt x="47" y="57"/>
                  </a:lnTo>
                  <a:lnTo>
                    <a:pt x="47" y="48"/>
                  </a:lnTo>
                  <a:lnTo>
                    <a:pt x="57" y="48"/>
                  </a:lnTo>
                  <a:lnTo>
                    <a:pt x="76" y="38"/>
                  </a:lnTo>
                  <a:lnTo>
                    <a:pt x="85" y="29"/>
                  </a:lnTo>
                  <a:lnTo>
                    <a:pt x="85" y="19"/>
                  </a:lnTo>
                  <a:lnTo>
                    <a:pt x="85" y="10"/>
                  </a:lnTo>
                  <a:lnTo>
                    <a:pt x="95"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88" name="Freeform 480">
              <a:extLst>
                <a:ext uri="{FF2B5EF4-FFF2-40B4-BE49-F238E27FC236}">
                  <a16:creationId xmlns:a16="http://schemas.microsoft.com/office/drawing/2014/main" id="{A2BED93F-1187-4723-AAA0-C6638FF36274}"/>
                </a:ext>
              </a:extLst>
            </p:cNvPr>
            <p:cNvSpPr>
              <a:spLocks/>
            </p:cNvSpPr>
            <p:nvPr/>
          </p:nvSpPr>
          <p:spPr bwMode="gray">
            <a:xfrm>
              <a:off x="3323" y="3034"/>
              <a:ext cx="105" cy="191"/>
            </a:xfrm>
            <a:custGeom>
              <a:avLst/>
              <a:gdLst>
                <a:gd name="T0" fmla="*/ 85 w 105"/>
                <a:gd name="T1" fmla="*/ 0 h 191"/>
                <a:gd name="T2" fmla="*/ 95 w 105"/>
                <a:gd name="T3" fmla="*/ 0 h 191"/>
                <a:gd name="T4" fmla="*/ 95 w 105"/>
                <a:gd name="T5" fmla="*/ 0 h 191"/>
                <a:gd name="T6" fmla="*/ 95 w 105"/>
                <a:gd name="T7" fmla="*/ 19 h 191"/>
                <a:gd name="T8" fmla="*/ 105 w 105"/>
                <a:gd name="T9" fmla="*/ 38 h 191"/>
                <a:gd name="T10" fmla="*/ 105 w 105"/>
                <a:gd name="T11" fmla="*/ 48 h 191"/>
                <a:gd name="T12" fmla="*/ 95 w 105"/>
                <a:gd name="T13" fmla="*/ 48 h 191"/>
                <a:gd name="T14" fmla="*/ 95 w 105"/>
                <a:gd name="T15" fmla="*/ 67 h 191"/>
                <a:gd name="T16" fmla="*/ 95 w 105"/>
                <a:gd name="T17" fmla="*/ 77 h 191"/>
                <a:gd name="T18" fmla="*/ 85 w 105"/>
                <a:gd name="T19" fmla="*/ 105 h 191"/>
                <a:gd name="T20" fmla="*/ 76 w 105"/>
                <a:gd name="T21" fmla="*/ 134 h 191"/>
                <a:gd name="T22" fmla="*/ 66 w 105"/>
                <a:gd name="T23" fmla="*/ 143 h 191"/>
                <a:gd name="T24" fmla="*/ 66 w 105"/>
                <a:gd name="T25" fmla="*/ 172 h 191"/>
                <a:gd name="T26" fmla="*/ 57 w 105"/>
                <a:gd name="T27" fmla="*/ 181 h 191"/>
                <a:gd name="T28" fmla="*/ 47 w 105"/>
                <a:gd name="T29" fmla="*/ 181 h 191"/>
                <a:gd name="T30" fmla="*/ 28 w 105"/>
                <a:gd name="T31" fmla="*/ 191 h 191"/>
                <a:gd name="T32" fmla="*/ 19 w 105"/>
                <a:gd name="T33" fmla="*/ 191 h 191"/>
                <a:gd name="T34" fmla="*/ 9 w 105"/>
                <a:gd name="T35" fmla="*/ 181 h 191"/>
                <a:gd name="T36" fmla="*/ 9 w 105"/>
                <a:gd name="T37" fmla="*/ 162 h 191"/>
                <a:gd name="T38" fmla="*/ 0 w 105"/>
                <a:gd name="T39" fmla="*/ 153 h 191"/>
                <a:gd name="T40" fmla="*/ 0 w 105"/>
                <a:gd name="T41" fmla="*/ 134 h 191"/>
                <a:gd name="T42" fmla="*/ 19 w 105"/>
                <a:gd name="T43" fmla="*/ 115 h 191"/>
                <a:gd name="T44" fmla="*/ 19 w 105"/>
                <a:gd name="T45" fmla="*/ 96 h 191"/>
                <a:gd name="T46" fmla="*/ 9 w 105"/>
                <a:gd name="T47" fmla="*/ 86 h 191"/>
                <a:gd name="T48" fmla="*/ 19 w 105"/>
                <a:gd name="T49" fmla="*/ 67 h 191"/>
                <a:gd name="T50" fmla="*/ 19 w 105"/>
                <a:gd name="T51" fmla="*/ 57 h 191"/>
                <a:gd name="T52" fmla="*/ 28 w 105"/>
                <a:gd name="T53" fmla="*/ 57 h 191"/>
                <a:gd name="T54" fmla="*/ 28 w 105"/>
                <a:gd name="T55" fmla="*/ 48 h 191"/>
                <a:gd name="T56" fmla="*/ 38 w 105"/>
                <a:gd name="T57" fmla="*/ 48 h 191"/>
                <a:gd name="T58" fmla="*/ 47 w 105"/>
                <a:gd name="T59" fmla="*/ 48 h 191"/>
                <a:gd name="T60" fmla="*/ 57 w 105"/>
                <a:gd name="T61" fmla="*/ 38 h 191"/>
                <a:gd name="T62" fmla="*/ 66 w 105"/>
                <a:gd name="T63" fmla="*/ 38 h 191"/>
                <a:gd name="T64" fmla="*/ 66 w 105"/>
                <a:gd name="T65" fmla="*/ 29 h 191"/>
                <a:gd name="T66" fmla="*/ 66 w 105"/>
                <a:gd name="T67" fmla="*/ 19 h 191"/>
                <a:gd name="T68" fmla="*/ 76 w 105"/>
                <a:gd name="T69" fmla="*/ 19 h 191"/>
                <a:gd name="T70" fmla="*/ 85 w 105"/>
                <a:gd name="T71" fmla="*/ 10 h 191"/>
                <a:gd name="T72" fmla="*/ 85 w 105"/>
                <a:gd name="T73" fmla="*/ 0 h 19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5"/>
                <a:gd name="T112" fmla="*/ 0 h 191"/>
                <a:gd name="T113" fmla="*/ 105 w 105"/>
                <a:gd name="T114" fmla="*/ 191 h 19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5" h="191">
                  <a:moveTo>
                    <a:pt x="85" y="0"/>
                  </a:moveTo>
                  <a:lnTo>
                    <a:pt x="95" y="0"/>
                  </a:lnTo>
                  <a:lnTo>
                    <a:pt x="95" y="19"/>
                  </a:lnTo>
                  <a:lnTo>
                    <a:pt x="105" y="38"/>
                  </a:lnTo>
                  <a:lnTo>
                    <a:pt x="105" y="48"/>
                  </a:lnTo>
                  <a:lnTo>
                    <a:pt x="95" y="48"/>
                  </a:lnTo>
                  <a:lnTo>
                    <a:pt x="95" y="67"/>
                  </a:lnTo>
                  <a:lnTo>
                    <a:pt x="95" y="77"/>
                  </a:lnTo>
                  <a:lnTo>
                    <a:pt x="85" y="105"/>
                  </a:lnTo>
                  <a:lnTo>
                    <a:pt x="76" y="134"/>
                  </a:lnTo>
                  <a:lnTo>
                    <a:pt x="66" y="143"/>
                  </a:lnTo>
                  <a:lnTo>
                    <a:pt x="66" y="172"/>
                  </a:lnTo>
                  <a:lnTo>
                    <a:pt x="57" y="181"/>
                  </a:lnTo>
                  <a:lnTo>
                    <a:pt x="47" y="181"/>
                  </a:lnTo>
                  <a:lnTo>
                    <a:pt x="28" y="191"/>
                  </a:lnTo>
                  <a:lnTo>
                    <a:pt x="19" y="191"/>
                  </a:lnTo>
                  <a:lnTo>
                    <a:pt x="9" y="181"/>
                  </a:lnTo>
                  <a:lnTo>
                    <a:pt x="9" y="162"/>
                  </a:lnTo>
                  <a:lnTo>
                    <a:pt x="0" y="153"/>
                  </a:lnTo>
                  <a:lnTo>
                    <a:pt x="0" y="134"/>
                  </a:lnTo>
                  <a:lnTo>
                    <a:pt x="19" y="115"/>
                  </a:lnTo>
                  <a:lnTo>
                    <a:pt x="19" y="96"/>
                  </a:lnTo>
                  <a:lnTo>
                    <a:pt x="9" y="86"/>
                  </a:lnTo>
                  <a:lnTo>
                    <a:pt x="19" y="67"/>
                  </a:lnTo>
                  <a:lnTo>
                    <a:pt x="19" y="57"/>
                  </a:lnTo>
                  <a:lnTo>
                    <a:pt x="28" y="57"/>
                  </a:lnTo>
                  <a:lnTo>
                    <a:pt x="28" y="48"/>
                  </a:lnTo>
                  <a:lnTo>
                    <a:pt x="38" y="48"/>
                  </a:lnTo>
                  <a:lnTo>
                    <a:pt x="47" y="48"/>
                  </a:lnTo>
                  <a:lnTo>
                    <a:pt x="57" y="38"/>
                  </a:lnTo>
                  <a:lnTo>
                    <a:pt x="66" y="38"/>
                  </a:lnTo>
                  <a:lnTo>
                    <a:pt x="66" y="29"/>
                  </a:lnTo>
                  <a:lnTo>
                    <a:pt x="66" y="19"/>
                  </a:lnTo>
                  <a:lnTo>
                    <a:pt x="76" y="19"/>
                  </a:lnTo>
                  <a:lnTo>
                    <a:pt x="85" y="10"/>
                  </a:lnTo>
                  <a:lnTo>
                    <a:pt x="85"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89" name="Freeform 481">
              <a:extLst>
                <a:ext uri="{FF2B5EF4-FFF2-40B4-BE49-F238E27FC236}">
                  <a16:creationId xmlns:a16="http://schemas.microsoft.com/office/drawing/2014/main" id="{DA972E83-A7EE-4743-8154-E033373D6735}"/>
                </a:ext>
              </a:extLst>
            </p:cNvPr>
            <p:cNvSpPr>
              <a:spLocks/>
            </p:cNvSpPr>
            <p:nvPr/>
          </p:nvSpPr>
          <p:spPr bwMode="gray">
            <a:xfrm>
              <a:off x="3037" y="1946"/>
              <a:ext cx="133" cy="115"/>
            </a:xfrm>
            <a:custGeom>
              <a:avLst/>
              <a:gdLst>
                <a:gd name="T0" fmla="*/ 114 w 133"/>
                <a:gd name="T1" fmla="*/ 96 h 115"/>
                <a:gd name="T2" fmla="*/ 105 w 133"/>
                <a:gd name="T3" fmla="*/ 96 h 115"/>
                <a:gd name="T4" fmla="*/ 105 w 133"/>
                <a:gd name="T5" fmla="*/ 105 h 115"/>
                <a:gd name="T6" fmla="*/ 95 w 133"/>
                <a:gd name="T7" fmla="*/ 105 h 115"/>
                <a:gd name="T8" fmla="*/ 66 w 133"/>
                <a:gd name="T9" fmla="*/ 96 h 115"/>
                <a:gd name="T10" fmla="*/ 66 w 133"/>
                <a:gd name="T11" fmla="*/ 105 h 115"/>
                <a:gd name="T12" fmla="*/ 47 w 133"/>
                <a:gd name="T13" fmla="*/ 96 h 115"/>
                <a:gd name="T14" fmla="*/ 47 w 133"/>
                <a:gd name="T15" fmla="*/ 96 h 115"/>
                <a:gd name="T16" fmla="*/ 38 w 133"/>
                <a:gd name="T17" fmla="*/ 96 h 115"/>
                <a:gd name="T18" fmla="*/ 19 w 133"/>
                <a:gd name="T19" fmla="*/ 96 h 115"/>
                <a:gd name="T20" fmla="*/ 9 w 133"/>
                <a:gd name="T21" fmla="*/ 115 h 115"/>
                <a:gd name="T22" fmla="*/ 9 w 133"/>
                <a:gd name="T23" fmla="*/ 96 h 115"/>
                <a:gd name="T24" fmla="*/ 0 w 133"/>
                <a:gd name="T25" fmla="*/ 86 h 115"/>
                <a:gd name="T26" fmla="*/ 9 w 133"/>
                <a:gd name="T27" fmla="*/ 77 h 115"/>
                <a:gd name="T28" fmla="*/ 0 w 133"/>
                <a:gd name="T29" fmla="*/ 67 h 115"/>
                <a:gd name="T30" fmla="*/ 0 w 133"/>
                <a:gd name="T31" fmla="*/ 48 h 115"/>
                <a:gd name="T32" fmla="*/ 9 w 133"/>
                <a:gd name="T33" fmla="*/ 57 h 115"/>
                <a:gd name="T34" fmla="*/ 19 w 133"/>
                <a:gd name="T35" fmla="*/ 48 h 115"/>
                <a:gd name="T36" fmla="*/ 19 w 133"/>
                <a:gd name="T37" fmla="*/ 48 h 115"/>
                <a:gd name="T38" fmla="*/ 28 w 133"/>
                <a:gd name="T39" fmla="*/ 38 h 115"/>
                <a:gd name="T40" fmla="*/ 38 w 133"/>
                <a:gd name="T41" fmla="*/ 29 h 115"/>
                <a:gd name="T42" fmla="*/ 47 w 133"/>
                <a:gd name="T43" fmla="*/ 19 h 115"/>
                <a:gd name="T44" fmla="*/ 47 w 133"/>
                <a:gd name="T45" fmla="*/ 19 h 115"/>
                <a:gd name="T46" fmla="*/ 66 w 133"/>
                <a:gd name="T47" fmla="*/ 0 h 115"/>
                <a:gd name="T48" fmla="*/ 76 w 133"/>
                <a:gd name="T49" fmla="*/ 0 h 115"/>
                <a:gd name="T50" fmla="*/ 76 w 133"/>
                <a:gd name="T51" fmla="*/ 10 h 115"/>
                <a:gd name="T52" fmla="*/ 85 w 133"/>
                <a:gd name="T53" fmla="*/ 10 h 115"/>
                <a:gd name="T54" fmla="*/ 95 w 133"/>
                <a:gd name="T55" fmla="*/ 10 h 115"/>
                <a:gd name="T56" fmla="*/ 105 w 133"/>
                <a:gd name="T57" fmla="*/ 19 h 115"/>
                <a:gd name="T58" fmla="*/ 105 w 133"/>
                <a:gd name="T59" fmla="*/ 38 h 115"/>
                <a:gd name="T60" fmla="*/ 114 w 133"/>
                <a:gd name="T61" fmla="*/ 48 h 115"/>
                <a:gd name="T62" fmla="*/ 133 w 133"/>
                <a:gd name="T63" fmla="*/ 67 h 115"/>
                <a:gd name="T64" fmla="*/ 124 w 133"/>
                <a:gd name="T65" fmla="*/ 77 h 115"/>
                <a:gd name="T66" fmla="*/ 124 w 133"/>
                <a:gd name="T67" fmla="*/ 77 h 115"/>
                <a:gd name="T68" fmla="*/ 114 w 133"/>
                <a:gd name="T69" fmla="*/ 67 h 115"/>
                <a:gd name="T70" fmla="*/ 105 w 133"/>
                <a:gd name="T71" fmla="*/ 67 h 115"/>
                <a:gd name="T72" fmla="*/ 105 w 133"/>
                <a:gd name="T73" fmla="*/ 77 h 115"/>
                <a:gd name="T74" fmla="*/ 114 w 133"/>
                <a:gd name="T75" fmla="*/ 86 h 115"/>
                <a:gd name="T76" fmla="*/ 114 w 133"/>
                <a:gd name="T77" fmla="*/ 96 h 11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3"/>
                <a:gd name="T118" fmla="*/ 0 h 115"/>
                <a:gd name="T119" fmla="*/ 133 w 133"/>
                <a:gd name="T120" fmla="*/ 115 h 11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3" h="115">
                  <a:moveTo>
                    <a:pt x="114" y="96"/>
                  </a:moveTo>
                  <a:lnTo>
                    <a:pt x="105" y="96"/>
                  </a:lnTo>
                  <a:lnTo>
                    <a:pt x="105" y="105"/>
                  </a:lnTo>
                  <a:lnTo>
                    <a:pt x="95" y="105"/>
                  </a:lnTo>
                  <a:lnTo>
                    <a:pt x="66" y="96"/>
                  </a:lnTo>
                  <a:lnTo>
                    <a:pt x="66" y="105"/>
                  </a:lnTo>
                  <a:lnTo>
                    <a:pt x="47" y="96"/>
                  </a:lnTo>
                  <a:lnTo>
                    <a:pt x="38" y="96"/>
                  </a:lnTo>
                  <a:lnTo>
                    <a:pt x="19" y="96"/>
                  </a:lnTo>
                  <a:lnTo>
                    <a:pt x="9" y="115"/>
                  </a:lnTo>
                  <a:lnTo>
                    <a:pt x="9" y="96"/>
                  </a:lnTo>
                  <a:lnTo>
                    <a:pt x="0" y="86"/>
                  </a:lnTo>
                  <a:lnTo>
                    <a:pt x="9" y="77"/>
                  </a:lnTo>
                  <a:lnTo>
                    <a:pt x="0" y="67"/>
                  </a:lnTo>
                  <a:lnTo>
                    <a:pt x="0" y="48"/>
                  </a:lnTo>
                  <a:lnTo>
                    <a:pt x="9" y="57"/>
                  </a:lnTo>
                  <a:lnTo>
                    <a:pt x="19" y="48"/>
                  </a:lnTo>
                  <a:lnTo>
                    <a:pt x="28" y="38"/>
                  </a:lnTo>
                  <a:lnTo>
                    <a:pt x="38" y="29"/>
                  </a:lnTo>
                  <a:lnTo>
                    <a:pt x="47" y="19"/>
                  </a:lnTo>
                  <a:lnTo>
                    <a:pt x="66" y="0"/>
                  </a:lnTo>
                  <a:lnTo>
                    <a:pt x="76" y="0"/>
                  </a:lnTo>
                  <a:lnTo>
                    <a:pt x="76" y="10"/>
                  </a:lnTo>
                  <a:lnTo>
                    <a:pt x="85" y="10"/>
                  </a:lnTo>
                  <a:lnTo>
                    <a:pt x="95" y="10"/>
                  </a:lnTo>
                  <a:lnTo>
                    <a:pt x="105" y="19"/>
                  </a:lnTo>
                  <a:lnTo>
                    <a:pt x="105" y="38"/>
                  </a:lnTo>
                  <a:lnTo>
                    <a:pt x="114" y="48"/>
                  </a:lnTo>
                  <a:lnTo>
                    <a:pt x="133" y="67"/>
                  </a:lnTo>
                  <a:lnTo>
                    <a:pt x="124" y="77"/>
                  </a:lnTo>
                  <a:lnTo>
                    <a:pt x="114" y="67"/>
                  </a:lnTo>
                  <a:lnTo>
                    <a:pt x="105" y="67"/>
                  </a:lnTo>
                  <a:lnTo>
                    <a:pt x="105" y="77"/>
                  </a:lnTo>
                  <a:lnTo>
                    <a:pt x="114" y="86"/>
                  </a:lnTo>
                  <a:lnTo>
                    <a:pt x="114" y="96"/>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90" name="Freeform 482">
              <a:extLst>
                <a:ext uri="{FF2B5EF4-FFF2-40B4-BE49-F238E27FC236}">
                  <a16:creationId xmlns:a16="http://schemas.microsoft.com/office/drawing/2014/main" id="{D5979B9E-BC6E-49F1-868B-9B25C5BB15D9}"/>
                </a:ext>
              </a:extLst>
            </p:cNvPr>
            <p:cNvSpPr>
              <a:spLocks/>
            </p:cNvSpPr>
            <p:nvPr/>
          </p:nvSpPr>
          <p:spPr bwMode="gray">
            <a:xfrm>
              <a:off x="3580" y="2299"/>
              <a:ext cx="210" cy="153"/>
            </a:xfrm>
            <a:custGeom>
              <a:avLst/>
              <a:gdLst>
                <a:gd name="T0" fmla="*/ 0 w 210"/>
                <a:gd name="T1" fmla="*/ 143 h 153"/>
                <a:gd name="T2" fmla="*/ 19 w 210"/>
                <a:gd name="T3" fmla="*/ 143 h 153"/>
                <a:gd name="T4" fmla="*/ 29 w 210"/>
                <a:gd name="T5" fmla="*/ 143 h 153"/>
                <a:gd name="T6" fmla="*/ 57 w 210"/>
                <a:gd name="T7" fmla="*/ 153 h 153"/>
                <a:gd name="T8" fmla="*/ 86 w 210"/>
                <a:gd name="T9" fmla="*/ 143 h 153"/>
                <a:gd name="T10" fmla="*/ 86 w 210"/>
                <a:gd name="T11" fmla="*/ 134 h 153"/>
                <a:gd name="T12" fmla="*/ 86 w 210"/>
                <a:gd name="T13" fmla="*/ 124 h 153"/>
                <a:gd name="T14" fmla="*/ 95 w 210"/>
                <a:gd name="T15" fmla="*/ 115 h 153"/>
                <a:gd name="T16" fmla="*/ 105 w 210"/>
                <a:gd name="T17" fmla="*/ 115 h 153"/>
                <a:gd name="T18" fmla="*/ 124 w 210"/>
                <a:gd name="T19" fmla="*/ 115 h 153"/>
                <a:gd name="T20" fmla="*/ 124 w 210"/>
                <a:gd name="T21" fmla="*/ 96 h 153"/>
                <a:gd name="T22" fmla="*/ 143 w 210"/>
                <a:gd name="T23" fmla="*/ 77 h 153"/>
                <a:gd name="T24" fmla="*/ 153 w 210"/>
                <a:gd name="T25" fmla="*/ 77 h 153"/>
                <a:gd name="T26" fmla="*/ 162 w 210"/>
                <a:gd name="T27" fmla="*/ 58 h 153"/>
                <a:gd name="T28" fmla="*/ 162 w 210"/>
                <a:gd name="T29" fmla="*/ 38 h 153"/>
                <a:gd name="T30" fmla="*/ 191 w 210"/>
                <a:gd name="T31" fmla="*/ 29 h 153"/>
                <a:gd name="T32" fmla="*/ 200 w 210"/>
                <a:gd name="T33" fmla="*/ 29 h 153"/>
                <a:gd name="T34" fmla="*/ 210 w 210"/>
                <a:gd name="T35" fmla="*/ 29 h 153"/>
                <a:gd name="T36" fmla="*/ 210 w 210"/>
                <a:gd name="T37" fmla="*/ 19 h 153"/>
                <a:gd name="T38" fmla="*/ 200 w 210"/>
                <a:gd name="T39" fmla="*/ 19 h 153"/>
                <a:gd name="T40" fmla="*/ 191 w 210"/>
                <a:gd name="T41" fmla="*/ 19 h 153"/>
                <a:gd name="T42" fmla="*/ 181 w 210"/>
                <a:gd name="T43" fmla="*/ 29 h 153"/>
                <a:gd name="T44" fmla="*/ 162 w 210"/>
                <a:gd name="T45" fmla="*/ 29 h 153"/>
                <a:gd name="T46" fmla="*/ 162 w 210"/>
                <a:gd name="T47" fmla="*/ 19 h 153"/>
                <a:gd name="T48" fmla="*/ 162 w 210"/>
                <a:gd name="T49" fmla="*/ 0 h 153"/>
                <a:gd name="T50" fmla="*/ 153 w 210"/>
                <a:gd name="T51" fmla="*/ 0 h 153"/>
                <a:gd name="T52" fmla="*/ 143 w 210"/>
                <a:gd name="T53" fmla="*/ 10 h 153"/>
                <a:gd name="T54" fmla="*/ 143 w 210"/>
                <a:gd name="T55" fmla="*/ 19 h 153"/>
                <a:gd name="T56" fmla="*/ 114 w 210"/>
                <a:gd name="T57" fmla="*/ 29 h 153"/>
                <a:gd name="T58" fmla="*/ 105 w 210"/>
                <a:gd name="T59" fmla="*/ 19 h 153"/>
                <a:gd name="T60" fmla="*/ 86 w 210"/>
                <a:gd name="T61" fmla="*/ 19 h 153"/>
                <a:gd name="T62" fmla="*/ 67 w 210"/>
                <a:gd name="T63" fmla="*/ 19 h 153"/>
                <a:gd name="T64" fmla="*/ 57 w 210"/>
                <a:gd name="T65" fmla="*/ 38 h 153"/>
                <a:gd name="T66" fmla="*/ 29 w 210"/>
                <a:gd name="T67" fmla="*/ 48 h 153"/>
                <a:gd name="T68" fmla="*/ 29 w 210"/>
                <a:gd name="T69" fmla="*/ 58 h 153"/>
                <a:gd name="T70" fmla="*/ 19 w 210"/>
                <a:gd name="T71" fmla="*/ 48 h 153"/>
                <a:gd name="T72" fmla="*/ 10 w 210"/>
                <a:gd name="T73" fmla="*/ 48 h 153"/>
                <a:gd name="T74" fmla="*/ 10 w 210"/>
                <a:gd name="T75" fmla="*/ 58 h 153"/>
                <a:gd name="T76" fmla="*/ 0 w 210"/>
                <a:gd name="T77" fmla="*/ 77 h 153"/>
                <a:gd name="T78" fmla="*/ 0 w 210"/>
                <a:gd name="T79" fmla="*/ 96 h 153"/>
                <a:gd name="T80" fmla="*/ 0 w 210"/>
                <a:gd name="T81" fmla="*/ 115 h 153"/>
                <a:gd name="T82" fmla="*/ 10 w 210"/>
                <a:gd name="T83" fmla="*/ 115 h 153"/>
                <a:gd name="T84" fmla="*/ 10 w 210"/>
                <a:gd name="T85" fmla="*/ 115 h 153"/>
                <a:gd name="T86" fmla="*/ 19 w 210"/>
                <a:gd name="T87" fmla="*/ 124 h 153"/>
                <a:gd name="T88" fmla="*/ 10 w 210"/>
                <a:gd name="T89" fmla="*/ 134 h 153"/>
                <a:gd name="T90" fmla="*/ 0 w 210"/>
                <a:gd name="T91" fmla="*/ 143 h 15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0"/>
                <a:gd name="T139" fmla="*/ 0 h 153"/>
                <a:gd name="T140" fmla="*/ 210 w 210"/>
                <a:gd name="T141" fmla="*/ 153 h 15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10" h="153">
                  <a:moveTo>
                    <a:pt x="0" y="143"/>
                  </a:moveTo>
                  <a:lnTo>
                    <a:pt x="19" y="143"/>
                  </a:lnTo>
                  <a:lnTo>
                    <a:pt x="29" y="143"/>
                  </a:lnTo>
                  <a:lnTo>
                    <a:pt x="57" y="153"/>
                  </a:lnTo>
                  <a:lnTo>
                    <a:pt x="86" y="143"/>
                  </a:lnTo>
                  <a:lnTo>
                    <a:pt x="86" y="134"/>
                  </a:lnTo>
                  <a:lnTo>
                    <a:pt x="86" y="124"/>
                  </a:lnTo>
                  <a:lnTo>
                    <a:pt x="95" y="115"/>
                  </a:lnTo>
                  <a:lnTo>
                    <a:pt x="105" y="115"/>
                  </a:lnTo>
                  <a:lnTo>
                    <a:pt x="124" y="115"/>
                  </a:lnTo>
                  <a:lnTo>
                    <a:pt x="124" y="96"/>
                  </a:lnTo>
                  <a:lnTo>
                    <a:pt x="143" y="77"/>
                  </a:lnTo>
                  <a:lnTo>
                    <a:pt x="153" y="77"/>
                  </a:lnTo>
                  <a:lnTo>
                    <a:pt x="162" y="58"/>
                  </a:lnTo>
                  <a:lnTo>
                    <a:pt x="162" y="38"/>
                  </a:lnTo>
                  <a:lnTo>
                    <a:pt x="191" y="29"/>
                  </a:lnTo>
                  <a:lnTo>
                    <a:pt x="200" y="29"/>
                  </a:lnTo>
                  <a:lnTo>
                    <a:pt x="210" y="29"/>
                  </a:lnTo>
                  <a:lnTo>
                    <a:pt x="210" y="19"/>
                  </a:lnTo>
                  <a:lnTo>
                    <a:pt x="200" y="19"/>
                  </a:lnTo>
                  <a:lnTo>
                    <a:pt x="191" y="19"/>
                  </a:lnTo>
                  <a:lnTo>
                    <a:pt x="181" y="29"/>
                  </a:lnTo>
                  <a:lnTo>
                    <a:pt x="162" y="29"/>
                  </a:lnTo>
                  <a:lnTo>
                    <a:pt x="162" y="19"/>
                  </a:lnTo>
                  <a:lnTo>
                    <a:pt x="162" y="0"/>
                  </a:lnTo>
                  <a:lnTo>
                    <a:pt x="153" y="0"/>
                  </a:lnTo>
                  <a:lnTo>
                    <a:pt x="143" y="10"/>
                  </a:lnTo>
                  <a:lnTo>
                    <a:pt x="143" y="19"/>
                  </a:lnTo>
                  <a:lnTo>
                    <a:pt x="114" y="29"/>
                  </a:lnTo>
                  <a:lnTo>
                    <a:pt x="105" y="19"/>
                  </a:lnTo>
                  <a:lnTo>
                    <a:pt x="86" y="19"/>
                  </a:lnTo>
                  <a:lnTo>
                    <a:pt x="67" y="19"/>
                  </a:lnTo>
                  <a:lnTo>
                    <a:pt x="57" y="38"/>
                  </a:lnTo>
                  <a:lnTo>
                    <a:pt x="29" y="48"/>
                  </a:lnTo>
                  <a:lnTo>
                    <a:pt x="29" y="58"/>
                  </a:lnTo>
                  <a:lnTo>
                    <a:pt x="19" y="48"/>
                  </a:lnTo>
                  <a:lnTo>
                    <a:pt x="10" y="48"/>
                  </a:lnTo>
                  <a:lnTo>
                    <a:pt x="10" y="58"/>
                  </a:lnTo>
                  <a:lnTo>
                    <a:pt x="0" y="77"/>
                  </a:lnTo>
                  <a:lnTo>
                    <a:pt x="0" y="96"/>
                  </a:lnTo>
                  <a:lnTo>
                    <a:pt x="0" y="115"/>
                  </a:lnTo>
                  <a:lnTo>
                    <a:pt x="10" y="115"/>
                  </a:lnTo>
                  <a:lnTo>
                    <a:pt x="19" y="124"/>
                  </a:lnTo>
                  <a:lnTo>
                    <a:pt x="10" y="134"/>
                  </a:lnTo>
                  <a:lnTo>
                    <a:pt x="0" y="143"/>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91" name="Freeform 483">
              <a:extLst>
                <a:ext uri="{FF2B5EF4-FFF2-40B4-BE49-F238E27FC236}">
                  <a16:creationId xmlns:a16="http://schemas.microsoft.com/office/drawing/2014/main" id="{F59BC743-5FDB-47AB-B427-729E20BED70C}"/>
                </a:ext>
              </a:extLst>
            </p:cNvPr>
            <p:cNvSpPr>
              <a:spLocks/>
            </p:cNvSpPr>
            <p:nvPr/>
          </p:nvSpPr>
          <p:spPr bwMode="gray">
            <a:xfrm>
              <a:off x="3122" y="2881"/>
              <a:ext cx="20" cy="20"/>
            </a:xfrm>
            <a:custGeom>
              <a:avLst/>
              <a:gdLst>
                <a:gd name="T0" fmla="*/ 0 w 20"/>
                <a:gd name="T1" fmla="*/ 0 h 20"/>
                <a:gd name="T2" fmla="*/ 10 w 20"/>
                <a:gd name="T3" fmla="*/ 0 h 20"/>
                <a:gd name="T4" fmla="*/ 10 w 20"/>
                <a:gd name="T5" fmla="*/ 0 h 20"/>
                <a:gd name="T6" fmla="*/ 20 w 20"/>
                <a:gd name="T7" fmla="*/ 0 h 20"/>
                <a:gd name="T8" fmla="*/ 20 w 20"/>
                <a:gd name="T9" fmla="*/ 0 h 20"/>
                <a:gd name="T10" fmla="*/ 20 w 20"/>
                <a:gd name="T11" fmla="*/ 10 h 20"/>
                <a:gd name="T12" fmla="*/ 20 w 20"/>
                <a:gd name="T13" fmla="*/ 10 h 20"/>
                <a:gd name="T14" fmla="*/ 10 w 20"/>
                <a:gd name="T15" fmla="*/ 20 h 20"/>
                <a:gd name="T16" fmla="*/ 10 w 20"/>
                <a:gd name="T17" fmla="*/ 20 h 20"/>
                <a:gd name="T18" fmla="*/ 10 w 20"/>
                <a:gd name="T19" fmla="*/ 20 h 20"/>
                <a:gd name="T20" fmla="*/ 0 w 20"/>
                <a:gd name="T21" fmla="*/ 20 h 20"/>
                <a:gd name="T22" fmla="*/ 0 w 20"/>
                <a:gd name="T23" fmla="*/ 20 h 20"/>
                <a:gd name="T24" fmla="*/ 0 w 20"/>
                <a:gd name="T25" fmla="*/ 20 h 20"/>
                <a:gd name="T26" fmla="*/ 0 w 20"/>
                <a:gd name="T27" fmla="*/ 0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0"/>
                <a:gd name="T44" fmla="*/ 20 w 20"/>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0">
                  <a:moveTo>
                    <a:pt x="0" y="0"/>
                  </a:moveTo>
                  <a:lnTo>
                    <a:pt x="10" y="0"/>
                  </a:lnTo>
                  <a:lnTo>
                    <a:pt x="20" y="0"/>
                  </a:lnTo>
                  <a:lnTo>
                    <a:pt x="20" y="10"/>
                  </a:lnTo>
                  <a:lnTo>
                    <a:pt x="10" y="20"/>
                  </a:lnTo>
                  <a:lnTo>
                    <a:pt x="0" y="2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92" name="Freeform 484">
              <a:extLst>
                <a:ext uri="{FF2B5EF4-FFF2-40B4-BE49-F238E27FC236}">
                  <a16:creationId xmlns:a16="http://schemas.microsoft.com/office/drawing/2014/main" id="{8203E738-C8D9-4A26-A4C5-6F628814154B}"/>
                </a:ext>
              </a:extLst>
            </p:cNvPr>
            <p:cNvSpPr>
              <a:spLocks/>
            </p:cNvSpPr>
            <p:nvPr/>
          </p:nvSpPr>
          <p:spPr bwMode="gray">
            <a:xfrm>
              <a:off x="3170" y="2996"/>
              <a:ext cx="38" cy="105"/>
            </a:xfrm>
            <a:custGeom>
              <a:avLst/>
              <a:gdLst>
                <a:gd name="T0" fmla="*/ 0 w 38"/>
                <a:gd name="T1" fmla="*/ 0 h 105"/>
                <a:gd name="T2" fmla="*/ 10 w 38"/>
                <a:gd name="T3" fmla="*/ 10 h 105"/>
                <a:gd name="T4" fmla="*/ 10 w 38"/>
                <a:gd name="T5" fmla="*/ 29 h 105"/>
                <a:gd name="T6" fmla="*/ 10 w 38"/>
                <a:gd name="T7" fmla="*/ 38 h 105"/>
                <a:gd name="T8" fmla="*/ 0 w 38"/>
                <a:gd name="T9" fmla="*/ 57 h 105"/>
                <a:gd name="T10" fmla="*/ 10 w 38"/>
                <a:gd name="T11" fmla="*/ 57 h 105"/>
                <a:gd name="T12" fmla="*/ 10 w 38"/>
                <a:gd name="T13" fmla="*/ 67 h 105"/>
                <a:gd name="T14" fmla="*/ 19 w 38"/>
                <a:gd name="T15" fmla="*/ 67 h 105"/>
                <a:gd name="T16" fmla="*/ 29 w 38"/>
                <a:gd name="T17" fmla="*/ 76 h 105"/>
                <a:gd name="T18" fmla="*/ 29 w 38"/>
                <a:gd name="T19" fmla="*/ 86 h 105"/>
                <a:gd name="T20" fmla="*/ 29 w 38"/>
                <a:gd name="T21" fmla="*/ 95 h 105"/>
                <a:gd name="T22" fmla="*/ 38 w 38"/>
                <a:gd name="T23" fmla="*/ 105 h 105"/>
                <a:gd name="T24" fmla="*/ 38 w 38"/>
                <a:gd name="T25" fmla="*/ 105 h 105"/>
                <a:gd name="T26" fmla="*/ 38 w 38"/>
                <a:gd name="T27" fmla="*/ 95 h 105"/>
                <a:gd name="T28" fmla="*/ 38 w 38"/>
                <a:gd name="T29" fmla="*/ 86 h 105"/>
                <a:gd name="T30" fmla="*/ 38 w 38"/>
                <a:gd name="T31" fmla="*/ 67 h 105"/>
                <a:gd name="T32" fmla="*/ 38 w 38"/>
                <a:gd name="T33" fmla="*/ 57 h 105"/>
                <a:gd name="T34" fmla="*/ 29 w 38"/>
                <a:gd name="T35" fmla="*/ 48 h 105"/>
                <a:gd name="T36" fmla="*/ 29 w 38"/>
                <a:gd name="T37" fmla="*/ 29 h 105"/>
                <a:gd name="T38" fmla="*/ 29 w 38"/>
                <a:gd name="T39" fmla="*/ 10 h 105"/>
                <a:gd name="T40" fmla="*/ 19 w 38"/>
                <a:gd name="T41" fmla="*/ 0 h 105"/>
                <a:gd name="T42" fmla="*/ 10 w 38"/>
                <a:gd name="T43" fmla="*/ 0 h 105"/>
                <a:gd name="T44" fmla="*/ 0 w 38"/>
                <a:gd name="T45" fmla="*/ 0 h 10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8"/>
                <a:gd name="T70" fmla="*/ 0 h 105"/>
                <a:gd name="T71" fmla="*/ 38 w 38"/>
                <a:gd name="T72" fmla="*/ 105 h 10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8" h="105">
                  <a:moveTo>
                    <a:pt x="0" y="0"/>
                  </a:moveTo>
                  <a:lnTo>
                    <a:pt x="10" y="10"/>
                  </a:lnTo>
                  <a:lnTo>
                    <a:pt x="10" y="29"/>
                  </a:lnTo>
                  <a:lnTo>
                    <a:pt x="10" y="38"/>
                  </a:lnTo>
                  <a:lnTo>
                    <a:pt x="0" y="57"/>
                  </a:lnTo>
                  <a:lnTo>
                    <a:pt x="10" y="57"/>
                  </a:lnTo>
                  <a:lnTo>
                    <a:pt x="10" y="67"/>
                  </a:lnTo>
                  <a:lnTo>
                    <a:pt x="19" y="67"/>
                  </a:lnTo>
                  <a:lnTo>
                    <a:pt x="29" y="76"/>
                  </a:lnTo>
                  <a:lnTo>
                    <a:pt x="29" y="86"/>
                  </a:lnTo>
                  <a:lnTo>
                    <a:pt x="29" y="95"/>
                  </a:lnTo>
                  <a:lnTo>
                    <a:pt x="38" y="105"/>
                  </a:lnTo>
                  <a:lnTo>
                    <a:pt x="38" y="95"/>
                  </a:lnTo>
                  <a:lnTo>
                    <a:pt x="38" y="86"/>
                  </a:lnTo>
                  <a:lnTo>
                    <a:pt x="38" y="67"/>
                  </a:lnTo>
                  <a:lnTo>
                    <a:pt x="38" y="57"/>
                  </a:lnTo>
                  <a:lnTo>
                    <a:pt x="29" y="48"/>
                  </a:lnTo>
                  <a:lnTo>
                    <a:pt x="29" y="29"/>
                  </a:lnTo>
                  <a:lnTo>
                    <a:pt x="29" y="10"/>
                  </a:lnTo>
                  <a:lnTo>
                    <a:pt x="19" y="0"/>
                  </a:lnTo>
                  <a:lnTo>
                    <a:pt x="10" y="0"/>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93" name="Freeform 485">
              <a:extLst>
                <a:ext uri="{FF2B5EF4-FFF2-40B4-BE49-F238E27FC236}">
                  <a16:creationId xmlns:a16="http://schemas.microsoft.com/office/drawing/2014/main" id="{CA2F6B19-16A6-4EBC-9C43-86633E9B9862}"/>
                </a:ext>
              </a:extLst>
            </p:cNvPr>
            <p:cNvSpPr>
              <a:spLocks/>
            </p:cNvSpPr>
            <p:nvPr/>
          </p:nvSpPr>
          <p:spPr bwMode="gray">
            <a:xfrm>
              <a:off x="3218" y="2624"/>
              <a:ext cx="95" cy="76"/>
            </a:xfrm>
            <a:custGeom>
              <a:avLst/>
              <a:gdLst>
                <a:gd name="T0" fmla="*/ 95 w 95"/>
                <a:gd name="T1" fmla="*/ 67 h 76"/>
                <a:gd name="T2" fmla="*/ 95 w 95"/>
                <a:gd name="T3" fmla="*/ 76 h 76"/>
                <a:gd name="T4" fmla="*/ 86 w 95"/>
                <a:gd name="T5" fmla="*/ 76 h 76"/>
                <a:gd name="T6" fmla="*/ 76 w 95"/>
                <a:gd name="T7" fmla="*/ 57 h 76"/>
                <a:gd name="T8" fmla="*/ 57 w 95"/>
                <a:gd name="T9" fmla="*/ 48 h 76"/>
                <a:gd name="T10" fmla="*/ 38 w 95"/>
                <a:gd name="T11" fmla="*/ 48 h 76"/>
                <a:gd name="T12" fmla="*/ 0 w 95"/>
                <a:gd name="T13" fmla="*/ 48 h 76"/>
                <a:gd name="T14" fmla="*/ 9 w 95"/>
                <a:gd name="T15" fmla="*/ 28 h 76"/>
                <a:gd name="T16" fmla="*/ 19 w 95"/>
                <a:gd name="T17" fmla="*/ 9 h 76"/>
                <a:gd name="T18" fmla="*/ 38 w 95"/>
                <a:gd name="T19" fmla="*/ 0 h 76"/>
                <a:gd name="T20" fmla="*/ 38 w 95"/>
                <a:gd name="T21" fmla="*/ 9 h 76"/>
                <a:gd name="T22" fmla="*/ 57 w 95"/>
                <a:gd name="T23" fmla="*/ 28 h 76"/>
                <a:gd name="T24" fmla="*/ 57 w 95"/>
                <a:gd name="T25" fmla="*/ 38 h 76"/>
                <a:gd name="T26" fmla="*/ 76 w 95"/>
                <a:gd name="T27" fmla="*/ 48 h 76"/>
                <a:gd name="T28" fmla="*/ 95 w 95"/>
                <a:gd name="T29" fmla="*/ 67 h 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5"/>
                <a:gd name="T46" fmla="*/ 0 h 76"/>
                <a:gd name="T47" fmla="*/ 95 w 95"/>
                <a:gd name="T48" fmla="*/ 76 h 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5" h="76">
                  <a:moveTo>
                    <a:pt x="95" y="67"/>
                  </a:moveTo>
                  <a:lnTo>
                    <a:pt x="95" y="76"/>
                  </a:lnTo>
                  <a:lnTo>
                    <a:pt x="86" y="76"/>
                  </a:lnTo>
                  <a:lnTo>
                    <a:pt x="76" y="57"/>
                  </a:lnTo>
                  <a:lnTo>
                    <a:pt x="57" y="48"/>
                  </a:lnTo>
                  <a:lnTo>
                    <a:pt x="38" y="48"/>
                  </a:lnTo>
                  <a:lnTo>
                    <a:pt x="0" y="48"/>
                  </a:lnTo>
                  <a:lnTo>
                    <a:pt x="9" y="28"/>
                  </a:lnTo>
                  <a:lnTo>
                    <a:pt x="19" y="9"/>
                  </a:lnTo>
                  <a:lnTo>
                    <a:pt x="38" y="0"/>
                  </a:lnTo>
                  <a:lnTo>
                    <a:pt x="38" y="9"/>
                  </a:lnTo>
                  <a:lnTo>
                    <a:pt x="57" y="28"/>
                  </a:lnTo>
                  <a:lnTo>
                    <a:pt x="57" y="38"/>
                  </a:lnTo>
                  <a:lnTo>
                    <a:pt x="76" y="48"/>
                  </a:lnTo>
                  <a:lnTo>
                    <a:pt x="95" y="6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94" name="Freeform 486">
              <a:extLst>
                <a:ext uri="{FF2B5EF4-FFF2-40B4-BE49-F238E27FC236}">
                  <a16:creationId xmlns:a16="http://schemas.microsoft.com/office/drawing/2014/main" id="{B37C3C8A-1DF0-40A6-9871-12F5C8EF1FBD}"/>
                </a:ext>
              </a:extLst>
            </p:cNvPr>
            <p:cNvSpPr>
              <a:spLocks/>
            </p:cNvSpPr>
            <p:nvPr/>
          </p:nvSpPr>
          <p:spPr bwMode="gray">
            <a:xfrm>
              <a:off x="3294" y="2700"/>
              <a:ext cx="143" cy="181"/>
            </a:xfrm>
            <a:custGeom>
              <a:avLst/>
              <a:gdLst>
                <a:gd name="T0" fmla="*/ 10 w 143"/>
                <a:gd name="T1" fmla="*/ 181 h 181"/>
                <a:gd name="T2" fmla="*/ 19 w 143"/>
                <a:gd name="T3" fmla="*/ 162 h 181"/>
                <a:gd name="T4" fmla="*/ 29 w 143"/>
                <a:gd name="T5" fmla="*/ 153 h 181"/>
                <a:gd name="T6" fmla="*/ 48 w 143"/>
                <a:gd name="T7" fmla="*/ 143 h 181"/>
                <a:gd name="T8" fmla="*/ 67 w 143"/>
                <a:gd name="T9" fmla="*/ 134 h 181"/>
                <a:gd name="T10" fmla="*/ 76 w 143"/>
                <a:gd name="T11" fmla="*/ 124 h 181"/>
                <a:gd name="T12" fmla="*/ 86 w 143"/>
                <a:gd name="T13" fmla="*/ 115 h 181"/>
                <a:gd name="T14" fmla="*/ 105 w 143"/>
                <a:gd name="T15" fmla="*/ 96 h 181"/>
                <a:gd name="T16" fmla="*/ 114 w 143"/>
                <a:gd name="T17" fmla="*/ 86 h 181"/>
                <a:gd name="T18" fmla="*/ 114 w 143"/>
                <a:gd name="T19" fmla="*/ 76 h 181"/>
                <a:gd name="T20" fmla="*/ 124 w 143"/>
                <a:gd name="T21" fmla="*/ 67 h 181"/>
                <a:gd name="T22" fmla="*/ 143 w 143"/>
                <a:gd name="T23" fmla="*/ 48 h 181"/>
                <a:gd name="T24" fmla="*/ 143 w 143"/>
                <a:gd name="T25" fmla="*/ 29 h 181"/>
                <a:gd name="T26" fmla="*/ 143 w 143"/>
                <a:gd name="T27" fmla="*/ 10 h 181"/>
                <a:gd name="T28" fmla="*/ 143 w 143"/>
                <a:gd name="T29" fmla="*/ 0 h 181"/>
                <a:gd name="T30" fmla="*/ 134 w 143"/>
                <a:gd name="T31" fmla="*/ 0 h 181"/>
                <a:gd name="T32" fmla="*/ 124 w 143"/>
                <a:gd name="T33" fmla="*/ 10 h 181"/>
                <a:gd name="T34" fmla="*/ 105 w 143"/>
                <a:gd name="T35" fmla="*/ 10 h 181"/>
                <a:gd name="T36" fmla="*/ 105 w 143"/>
                <a:gd name="T37" fmla="*/ 10 h 181"/>
                <a:gd name="T38" fmla="*/ 95 w 143"/>
                <a:gd name="T39" fmla="*/ 10 h 181"/>
                <a:gd name="T40" fmla="*/ 76 w 143"/>
                <a:gd name="T41" fmla="*/ 19 h 181"/>
                <a:gd name="T42" fmla="*/ 57 w 143"/>
                <a:gd name="T43" fmla="*/ 19 h 181"/>
                <a:gd name="T44" fmla="*/ 48 w 143"/>
                <a:gd name="T45" fmla="*/ 29 h 181"/>
                <a:gd name="T46" fmla="*/ 48 w 143"/>
                <a:gd name="T47" fmla="*/ 29 h 181"/>
                <a:gd name="T48" fmla="*/ 29 w 143"/>
                <a:gd name="T49" fmla="*/ 10 h 181"/>
                <a:gd name="T50" fmla="*/ 19 w 143"/>
                <a:gd name="T51" fmla="*/ 19 h 181"/>
                <a:gd name="T52" fmla="*/ 19 w 143"/>
                <a:gd name="T53" fmla="*/ 29 h 181"/>
                <a:gd name="T54" fmla="*/ 29 w 143"/>
                <a:gd name="T55" fmla="*/ 38 h 181"/>
                <a:gd name="T56" fmla="*/ 38 w 143"/>
                <a:gd name="T57" fmla="*/ 38 h 181"/>
                <a:gd name="T58" fmla="*/ 57 w 143"/>
                <a:gd name="T59" fmla="*/ 48 h 181"/>
                <a:gd name="T60" fmla="*/ 95 w 143"/>
                <a:gd name="T61" fmla="*/ 57 h 181"/>
                <a:gd name="T62" fmla="*/ 105 w 143"/>
                <a:gd name="T63" fmla="*/ 57 h 181"/>
                <a:gd name="T64" fmla="*/ 95 w 143"/>
                <a:gd name="T65" fmla="*/ 67 h 181"/>
                <a:gd name="T66" fmla="*/ 48 w 143"/>
                <a:gd name="T67" fmla="*/ 96 h 181"/>
                <a:gd name="T68" fmla="*/ 19 w 143"/>
                <a:gd name="T69" fmla="*/ 105 h 181"/>
                <a:gd name="T70" fmla="*/ 10 w 143"/>
                <a:gd name="T71" fmla="*/ 115 h 181"/>
                <a:gd name="T72" fmla="*/ 0 w 143"/>
                <a:gd name="T73" fmla="*/ 115 h 181"/>
                <a:gd name="T74" fmla="*/ 0 w 143"/>
                <a:gd name="T75" fmla="*/ 181 h 181"/>
                <a:gd name="T76" fmla="*/ 10 w 143"/>
                <a:gd name="T77" fmla="*/ 181 h 18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3"/>
                <a:gd name="T118" fmla="*/ 0 h 181"/>
                <a:gd name="T119" fmla="*/ 143 w 143"/>
                <a:gd name="T120" fmla="*/ 181 h 18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3" h="181">
                  <a:moveTo>
                    <a:pt x="10" y="181"/>
                  </a:moveTo>
                  <a:lnTo>
                    <a:pt x="19" y="162"/>
                  </a:lnTo>
                  <a:lnTo>
                    <a:pt x="29" y="153"/>
                  </a:lnTo>
                  <a:lnTo>
                    <a:pt x="48" y="143"/>
                  </a:lnTo>
                  <a:lnTo>
                    <a:pt x="67" y="134"/>
                  </a:lnTo>
                  <a:lnTo>
                    <a:pt x="76" y="124"/>
                  </a:lnTo>
                  <a:lnTo>
                    <a:pt x="86" y="115"/>
                  </a:lnTo>
                  <a:lnTo>
                    <a:pt x="105" y="96"/>
                  </a:lnTo>
                  <a:lnTo>
                    <a:pt x="114" y="86"/>
                  </a:lnTo>
                  <a:lnTo>
                    <a:pt x="114" y="76"/>
                  </a:lnTo>
                  <a:lnTo>
                    <a:pt x="124" y="67"/>
                  </a:lnTo>
                  <a:lnTo>
                    <a:pt x="143" y="48"/>
                  </a:lnTo>
                  <a:lnTo>
                    <a:pt x="143" y="29"/>
                  </a:lnTo>
                  <a:lnTo>
                    <a:pt x="143" y="10"/>
                  </a:lnTo>
                  <a:lnTo>
                    <a:pt x="143" y="0"/>
                  </a:lnTo>
                  <a:lnTo>
                    <a:pt x="134" y="0"/>
                  </a:lnTo>
                  <a:lnTo>
                    <a:pt x="124" y="10"/>
                  </a:lnTo>
                  <a:lnTo>
                    <a:pt x="105" y="10"/>
                  </a:lnTo>
                  <a:lnTo>
                    <a:pt x="95" y="10"/>
                  </a:lnTo>
                  <a:lnTo>
                    <a:pt x="76" y="19"/>
                  </a:lnTo>
                  <a:lnTo>
                    <a:pt x="57" y="19"/>
                  </a:lnTo>
                  <a:lnTo>
                    <a:pt x="48" y="29"/>
                  </a:lnTo>
                  <a:lnTo>
                    <a:pt x="29" y="10"/>
                  </a:lnTo>
                  <a:lnTo>
                    <a:pt x="19" y="19"/>
                  </a:lnTo>
                  <a:lnTo>
                    <a:pt x="19" y="29"/>
                  </a:lnTo>
                  <a:lnTo>
                    <a:pt x="29" y="38"/>
                  </a:lnTo>
                  <a:lnTo>
                    <a:pt x="38" y="38"/>
                  </a:lnTo>
                  <a:lnTo>
                    <a:pt x="57" y="48"/>
                  </a:lnTo>
                  <a:lnTo>
                    <a:pt x="95" y="57"/>
                  </a:lnTo>
                  <a:lnTo>
                    <a:pt x="105" y="57"/>
                  </a:lnTo>
                  <a:lnTo>
                    <a:pt x="95" y="67"/>
                  </a:lnTo>
                  <a:lnTo>
                    <a:pt x="48" y="96"/>
                  </a:lnTo>
                  <a:lnTo>
                    <a:pt x="19" y="105"/>
                  </a:lnTo>
                  <a:lnTo>
                    <a:pt x="10" y="115"/>
                  </a:lnTo>
                  <a:lnTo>
                    <a:pt x="0" y="115"/>
                  </a:lnTo>
                  <a:lnTo>
                    <a:pt x="0" y="181"/>
                  </a:lnTo>
                  <a:lnTo>
                    <a:pt x="10" y="181"/>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95" name="Freeform 487">
              <a:extLst>
                <a:ext uri="{FF2B5EF4-FFF2-40B4-BE49-F238E27FC236}">
                  <a16:creationId xmlns:a16="http://schemas.microsoft.com/office/drawing/2014/main" id="{1AAE1BB0-894E-49DE-A37E-D2E691900350}"/>
                </a:ext>
              </a:extLst>
            </p:cNvPr>
            <p:cNvSpPr>
              <a:spLocks/>
            </p:cNvSpPr>
            <p:nvPr/>
          </p:nvSpPr>
          <p:spPr bwMode="gray">
            <a:xfrm>
              <a:off x="2903" y="2710"/>
              <a:ext cx="191" cy="124"/>
            </a:xfrm>
            <a:custGeom>
              <a:avLst/>
              <a:gdLst>
                <a:gd name="T0" fmla="*/ 19 w 191"/>
                <a:gd name="T1" fmla="*/ 124 h 124"/>
                <a:gd name="T2" fmla="*/ 0 w 191"/>
                <a:gd name="T3" fmla="*/ 86 h 124"/>
                <a:gd name="T4" fmla="*/ 0 w 191"/>
                <a:gd name="T5" fmla="*/ 76 h 124"/>
                <a:gd name="T6" fmla="*/ 19 w 191"/>
                <a:gd name="T7" fmla="*/ 57 h 124"/>
                <a:gd name="T8" fmla="*/ 67 w 191"/>
                <a:gd name="T9" fmla="*/ 47 h 124"/>
                <a:gd name="T10" fmla="*/ 67 w 191"/>
                <a:gd name="T11" fmla="*/ 38 h 124"/>
                <a:gd name="T12" fmla="*/ 86 w 191"/>
                <a:gd name="T13" fmla="*/ 38 h 124"/>
                <a:gd name="T14" fmla="*/ 105 w 191"/>
                <a:gd name="T15" fmla="*/ 19 h 124"/>
                <a:gd name="T16" fmla="*/ 115 w 191"/>
                <a:gd name="T17" fmla="*/ 0 h 124"/>
                <a:gd name="T18" fmla="*/ 124 w 191"/>
                <a:gd name="T19" fmla="*/ 0 h 124"/>
                <a:gd name="T20" fmla="*/ 134 w 191"/>
                <a:gd name="T21" fmla="*/ 0 h 124"/>
                <a:gd name="T22" fmla="*/ 134 w 191"/>
                <a:gd name="T23" fmla="*/ 9 h 124"/>
                <a:gd name="T24" fmla="*/ 134 w 191"/>
                <a:gd name="T25" fmla="*/ 9 h 124"/>
                <a:gd name="T26" fmla="*/ 143 w 191"/>
                <a:gd name="T27" fmla="*/ 19 h 124"/>
                <a:gd name="T28" fmla="*/ 143 w 191"/>
                <a:gd name="T29" fmla="*/ 38 h 124"/>
                <a:gd name="T30" fmla="*/ 143 w 191"/>
                <a:gd name="T31" fmla="*/ 38 h 124"/>
                <a:gd name="T32" fmla="*/ 153 w 191"/>
                <a:gd name="T33" fmla="*/ 47 h 124"/>
                <a:gd name="T34" fmla="*/ 162 w 191"/>
                <a:gd name="T35" fmla="*/ 47 h 124"/>
                <a:gd name="T36" fmla="*/ 172 w 191"/>
                <a:gd name="T37" fmla="*/ 57 h 124"/>
                <a:gd name="T38" fmla="*/ 172 w 191"/>
                <a:gd name="T39" fmla="*/ 66 h 124"/>
                <a:gd name="T40" fmla="*/ 191 w 191"/>
                <a:gd name="T41" fmla="*/ 76 h 124"/>
                <a:gd name="T42" fmla="*/ 191 w 191"/>
                <a:gd name="T43" fmla="*/ 86 h 124"/>
                <a:gd name="T44" fmla="*/ 162 w 191"/>
                <a:gd name="T45" fmla="*/ 86 h 124"/>
                <a:gd name="T46" fmla="*/ 134 w 191"/>
                <a:gd name="T47" fmla="*/ 95 h 124"/>
                <a:gd name="T48" fmla="*/ 115 w 191"/>
                <a:gd name="T49" fmla="*/ 105 h 124"/>
                <a:gd name="T50" fmla="*/ 96 w 191"/>
                <a:gd name="T51" fmla="*/ 95 h 124"/>
                <a:gd name="T52" fmla="*/ 86 w 191"/>
                <a:gd name="T53" fmla="*/ 86 h 124"/>
                <a:gd name="T54" fmla="*/ 57 w 191"/>
                <a:gd name="T55" fmla="*/ 95 h 124"/>
                <a:gd name="T56" fmla="*/ 57 w 191"/>
                <a:gd name="T57" fmla="*/ 105 h 124"/>
                <a:gd name="T58" fmla="*/ 48 w 191"/>
                <a:gd name="T59" fmla="*/ 105 h 124"/>
                <a:gd name="T60" fmla="*/ 38 w 191"/>
                <a:gd name="T61" fmla="*/ 105 h 124"/>
                <a:gd name="T62" fmla="*/ 29 w 191"/>
                <a:gd name="T63" fmla="*/ 114 h 124"/>
                <a:gd name="T64" fmla="*/ 19 w 191"/>
                <a:gd name="T65" fmla="*/ 124 h 12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1"/>
                <a:gd name="T100" fmla="*/ 0 h 124"/>
                <a:gd name="T101" fmla="*/ 191 w 191"/>
                <a:gd name="T102" fmla="*/ 124 h 12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1" h="124">
                  <a:moveTo>
                    <a:pt x="19" y="124"/>
                  </a:moveTo>
                  <a:lnTo>
                    <a:pt x="0" y="86"/>
                  </a:lnTo>
                  <a:lnTo>
                    <a:pt x="0" y="76"/>
                  </a:lnTo>
                  <a:lnTo>
                    <a:pt x="19" y="57"/>
                  </a:lnTo>
                  <a:lnTo>
                    <a:pt x="67" y="47"/>
                  </a:lnTo>
                  <a:lnTo>
                    <a:pt x="67" y="38"/>
                  </a:lnTo>
                  <a:lnTo>
                    <a:pt x="86" y="38"/>
                  </a:lnTo>
                  <a:lnTo>
                    <a:pt x="105" y="19"/>
                  </a:lnTo>
                  <a:lnTo>
                    <a:pt x="115" y="0"/>
                  </a:lnTo>
                  <a:lnTo>
                    <a:pt x="124" y="0"/>
                  </a:lnTo>
                  <a:lnTo>
                    <a:pt x="134" y="0"/>
                  </a:lnTo>
                  <a:lnTo>
                    <a:pt x="134" y="9"/>
                  </a:lnTo>
                  <a:lnTo>
                    <a:pt x="143" y="19"/>
                  </a:lnTo>
                  <a:lnTo>
                    <a:pt x="143" y="38"/>
                  </a:lnTo>
                  <a:lnTo>
                    <a:pt x="153" y="47"/>
                  </a:lnTo>
                  <a:lnTo>
                    <a:pt x="162" y="47"/>
                  </a:lnTo>
                  <a:lnTo>
                    <a:pt x="172" y="57"/>
                  </a:lnTo>
                  <a:lnTo>
                    <a:pt x="172" y="66"/>
                  </a:lnTo>
                  <a:lnTo>
                    <a:pt x="191" y="76"/>
                  </a:lnTo>
                  <a:lnTo>
                    <a:pt x="191" y="86"/>
                  </a:lnTo>
                  <a:lnTo>
                    <a:pt x="162" y="86"/>
                  </a:lnTo>
                  <a:lnTo>
                    <a:pt x="134" y="95"/>
                  </a:lnTo>
                  <a:lnTo>
                    <a:pt x="115" y="105"/>
                  </a:lnTo>
                  <a:lnTo>
                    <a:pt x="96" y="95"/>
                  </a:lnTo>
                  <a:lnTo>
                    <a:pt x="86" y="86"/>
                  </a:lnTo>
                  <a:lnTo>
                    <a:pt x="57" y="95"/>
                  </a:lnTo>
                  <a:lnTo>
                    <a:pt x="57" y="105"/>
                  </a:lnTo>
                  <a:lnTo>
                    <a:pt x="48" y="105"/>
                  </a:lnTo>
                  <a:lnTo>
                    <a:pt x="38" y="105"/>
                  </a:lnTo>
                  <a:lnTo>
                    <a:pt x="29" y="114"/>
                  </a:lnTo>
                  <a:lnTo>
                    <a:pt x="19" y="12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96" name="Freeform 488">
              <a:extLst>
                <a:ext uri="{FF2B5EF4-FFF2-40B4-BE49-F238E27FC236}">
                  <a16:creationId xmlns:a16="http://schemas.microsoft.com/office/drawing/2014/main" id="{261B15EE-7E2C-498F-AC49-040C594A77E4}"/>
                </a:ext>
              </a:extLst>
            </p:cNvPr>
            <p:cNvSpPr>
              <a:spLocks/>
            </p:cNvSpPr>
            <p:nvPr/>
          </p:nvSpPr>
          <p:spPr bwMode="gray">
            <a:xfrm>
              <a:off x="2827" y="2834"/>
              <a:ext cx="76" cy="95"/>
            </a:xfrm>
            <a:custGeom>
              <a:avLst/>
              <a:gdLst>
                <a:gd name="T0" fmla="*/ 38 w 76"/>
                <a:gd name="T1" fmla="*/ 95 h 95"/>
                <a:gd name="T2" fmla="*/ 19 w 76"/>
                <a:gd name="T3" fmla="*/ 76 h 95"/>
                <a:gd name="T4" fmla="*/ 10 w 76"/>
                <a:gd name="T5" fmla="*/ 67 h 95"/>
                <a:gd name="T6" fmla="*/ 0 w 76"/>
                <a:gd name="T7" fmla="*/ 47 h 95"/>
                <a:gd name="T8" fmla="*/ 10 w 76"/>
                <a:gd name="T9" fmla="*/ 28 h 95"/>
                <a:gd name="T10" fmla="*/ 0 w 76"/>
                <a:gd name="T11" fmla="*/ 19 h 95"/>
                <a:gd name="T12" fmla="*/ 10 w 76"/>
                <a:gd name="T13" fmla="*/ 19 h 95"/>
                <a:gd name="T14" fmla="*/ 29 w 76"/>
                <a:gd name="T15" fmla="*/ 19 h 95"/>
                <a:gd name="T16" fmla="*/ 29 w 76"/>
                <a:gd name="T17" fmla="*/ 0 h 95"/>
                <a:gd name="T18" fmla="*/ 57 w 76"/>
                <a:gd name="T19" fmla="*/ 0 h 95"/>
                <a:gd name="T20" fmla="*/ 48 w 76"/>
                <a:gd name="T21" fmla="*/ 9 h 95"/>
                <a:gd name="T22" fmla="*/ 67 w 76"/>
                <a:gd name="T23" fmla="*/ 19 h 95"/>
                <a:gd name="T24" fmla="*/ 76 w 76"/>
                <a:gd name="T25" fmla="*/ 19 h 95"/>
                <a:gd name="T26" fmla="*/ 76 w 76"/>
                <a:gd name="T27" fmla="*/ 19 h 95"/>
                <a:gd name="T28" fmla="*/ 76 w 76"/>
                <a:gd name="T29" fmla="*/ 28 h 95"/>
                <a:gd name="T30" fmla="*/ 67 w 76"/>
                <a:gd name="T31" fmla="*/ 38 h 95"/>
                <a:gd name="T32" fmla="*/ 67 w 76"/>
                <a:gd name="T33" fmla="*/ 47 h 95"/>
                <a:gd name="T34" fmla="*/ 67 w 76"/>
                <a:gd name="T35" fmla="*/ 47 h 95"/>
                <a:gd name="T36" fmla="*/ 76 w 76"/>
                <a:gd name="T37" fmla="*/ 47 h 95"/>
                <a:gd name="T38" fmla="*/ 67 w 76"/>
                <a:gd name="T39" fmla="*/ 76 h 95"/>
                <a:gd name="T40" fmla="*/ 57 w 76"/>
                <a:gd name="T41" fmla="*/ 67 h 95"/>
                <a:gd name="T42" fmla="*/ 57 w 76"/>
                <a:gd name="T43" fmla="*/ 57 h 95"/>
                <a:gd name="T44" fmla="*/ 38 w 76"/>
                <a:gd name="T45" fmla="*/ 57 h 95"/>
                <a:gd name="T46" fmla="*/ 38 w 76"/>
                <a:gd name="T47" fmla="*/ 67 h 95"/>
                <a:gd name="T48" fmla="*/ 38 w 76"/>
                <a:gd name="T49" fmla="*/ 67 h 95"/>
                <a:gd name="T50" fmla="*/ 38 w 76"/>
                <a:gd name="T51" fmla="*/ 67 h 95"/>
                <a:gd name="T52" fmla="*/ 38 w 76"/>
                <a:gd name="T53" fmla="*/ 76 h 95"/>
                <a:gd name="T54" fmla="*/ 48 w 76"/>
                <a:gd name="T55" fmla="*/ 86 h 95"/>
                <a:gd name="T56" fmla="*/ 38 w 76"/>
                <a:gd name="T57" fmla="*/ 95 h 9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6"/>
                <a:gd name="T88" fmla="*/ 0 h 95"/>
                <a:gd name="T89" fmla="*/ 76 w 76"/>
                <a:gd name="T90" fmla="*/ 95 h 9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6" h="95">
                  <a:moveTo>
                    <a:pt x="38" y="95"/>
                  </a:moveTo>
                  <a:lnTo>
                    <a:pt x="19" y="76"/>
                  </a:lnTo>
                  <a:lnTo>
                    <a:pt x="10" y="67"/>
                  </a:lnTo>
                  <a:lnTo>
                    <a:pt x="0" y="47"/>
                  </a:lnTo>
                  <a:lnTo>
                    <a:pt x="10" y="28"/>
                  </a:lnTo>
                  <a:lnTo>
                    <a:pt x="0" y="19"/>
                  </a:lnTo>
                  <a:lnTo>
                    <a:pt x="10" y="19"/>
                  </a:lnTo>
                  <a:lnTo>
                    <a:pt x="29" y="19"/>
                  </a:lnTo>
                  <a:lnTo>
                    <a:pt x="29" y="0"/>
                  </a:lnTo>
                  <a:lnTo>
                    <a:pt x="57" y="0"/>
                  </a:lnTo>
                  <a:lnTo>
                    <a:pt x="48" y="9"/>
                  </a:lnTo>
                  <a:lnTo>
                    <a:pt x="67" y="19"/>
                  </a:lnTo>
                  <a:lnTo>
                    <a:pt x="76" y="19"/>
                  </a:lnTo>
                  <a:lnTo>
                    <a:pt x="76" y="28"/>
                  </a:lnTo>
                  <a:lnTo>
                    <a:pt x="67" y="38"/>
                  </a:lnTo>
                  <a:lnTo>
                    <a:pt x="67" y="47"/>
                  </a:lnTo>
                  <a:lnTo>
                    <a:pt x="76" y="47"/>
                  </a:lnTo>
                  <a:lnTo>
                    <a:pt x="67" y="76"/>
                  </a:lnTo>
                  <a:lnTo>
                    <a:pt x="57" y="67"/>
                  </a:lnTo>
                  <a:lnTo>
                    <a:pt x="57" y="57"/>
                  </a:lnTo>
                  <a:lnTo>
                    <a:pt x="38" y="57"/>
                  </a:lnTo>
                  <a:lnTo>
                    <a:pt x="38" y="67"/>
                  </a:lnTo>
                  <a:lnTo>
                    <a:pt x="38" y="76"/>
                  </a:lnTo>
                  <a:lnTo>
                    <a:pt x="48" y="86"/>
                  </a:lnTo>
                  <a:lnTo>
                    <a:pt x="38" y="95"/>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97" name="Freeform 489">
              <a:extLst>
                <a:ext uri="{FF2B5EF4-FFF2-40B4-BE49-F238E27FC236}">
                  <a16:creationId xmlns:a16="http://schemas.microsoft.com/office/drawing/2014/main" id="{47343564-A346-4B0A-B151-4412C2782058}"/>
                </a:ext>
              </a:extLst>
            </p:cNvPr>
            <p:cNvSpPr>
              <a:spLocks/>
            </p:cNvSpPr>
            <p:nvPr/>
          </p:nvSpPr>
          <p:spPr bwMode="gray">
            <a:xfrm>
              <a:off x="2865" y="2948"/>
              <a:ext cx="181" cy="163"/>
            </a:xfrm>
            <a:custGeom>
              <a:avLst/>
              <a:gdLst>
                <a:gd name="T0" fmla="*/ 0 w 181"/>
                <a:gd name="T1" fmla="*/ 153 h 163"/>
                <a:gd name="T2" fmla="*/ 0 w 181"/>
                <a:gd name="T3" fmla="*/ 143 h 163"/>
                <a:gd name="T4" fmla="*/ 0 w 181"/>
                <a:gd name="T5" fmla="*/ 134 h 163"/>
                <a:gd name="T6" fmla="*/ 19 w 181"/>
                <a:gd name="T7" fmla="*/ 96 h 163"/>
                <a:gd name="T8" fmla="*/ 19 w 181"/>
                <a:gd name="T9" fmla="*/ 96 h 163"/>
                <a:gd name="T10" fmla="*/ 29 w 181"/>
                <a:gd name="T11" fmla="*/ 77 h 163"/>
                <a:gd name="T12" fmla="*/ 29 w 181"/>
                <a:gd name="T13" fmla="*/ 67 h 163"/>
                <a:gd name="T14" fmla="*/ 19 w 181"/>
                <a:gd name="T15" fmla="*/ 58 h 163"/>
                <a:gd name="T16" fmla="*/ 19 w 181"/>
                <a:gd name="T17" fmla="*/ 29 h 163"/>
                <a:gd name="T18" fmla="*/ 19 w 181"/>
                <a:gd name="T19" fmla="*/ 19 h 163"/>
                <a:gd name="T20" fmla="*/ 10 w 181"/>
                <a:gd name="T21" fmla="*/ 10 h 163"/>
                <a:gd name="T22" fmla="*/ 19 w 181"/>
                <a:gd name="T23" fmla="*/ 0 h 163"/>
                <a:gd name="T24" fmla="*/ 76 w 181"/>
                <a:gd name="T25" fmla="*/ 0 h 163"/>
                <a:gd name="T26" fmla="*/ 86 w 181"/>
                <a:gd name="T27" fmla="*/ 10 h 163"/>
                <a:gd name="T28" fmla="*/ 86 w 181"/>
                <a:gd name="T29" fmla="*/ 29 h 163"/>
                <a:gd name="T30" fmla="*/ 115 w 181"/>
                <a:gd name="T31" fmla="*/ 29 h 163"/>
                <a:gd name="T32" fmla="*/ 115 w 181"/>
                <a:gd name="T33" fmla="*/ 10 h 163"/>
                <a:gd name="T34" fmla="*/ 124 w 181"/>
                <a:gd name="T35" fmla="*/ 10 h 163"/>
                <a:gd name="T36" fmla="*/ 134 w 181"/>
                <a:gd name="T37" fmla="*/ 19 h 163"/>
                <a:gd name="T38" fmla="*/ 153 w 181"/>
                <a:gd name="T39" fmla="*/ 19 h 163"/>
                <a:gd name="T40" fmla="*/ 153 w 181"/>
                <a:gd name="T41" fmla="*/ 58 h 163"/>
                <a:gd name="T42" fmla="*/ 162 w 181"/>
                <a:gd name="T43" fmla="*/ 67 h 163"/>
                <a:gd name="T44" fmla="*/ 181 w 181"/>
                <a:gd name="T45" fmla="*/ 67 h 163"/>
                <a:gd name="T46" fmla="*/ 181 w 181"/>
                <a:gd name="T47" fmla="*/ 77 h 163"/>
                <a:gd name="T48" fmla="*/ 181 w 181"/>
                <a:gd name="T49" fmla="*/ 96 h 163"/>
                <a:gd name="T50" fmla="*/ 153 w 181"/>
                <a:gd name="T51" fmla="*/ 96 h 163"/>
                <a:gd name="T52" fmla="*/ 153 w 181"/>
                <a:gd name="T53" fmla="*/ 143 h 163"/>
                <a:gd name="T54" fmla="*/ 162 w 181"/>
                <a:gd name="T55" fmla="*/ 153 h 163"/>
                <a:gd name="T56" fmla="*/ 153 w 181"/>
                <a:gd name="T57" fmla="*/ 163 h 163"/>
                <a:gd name="T58" fmla="*/ 134 w 181"/>
                <a:gd name="T59" fmla="*/ 163 h 163"/>
                <a:gd name="T60" fmla="*/ 124 w 181"/>
                <a:gd name="T61" fmla="*/ 163 h 163"/>
                <a:gd name="T62" fmla="*/ 105 w 181"/>
                <a:gd name="T63" fmla="*/ 163 h 163"/>
                <a:gd name="T64" fmla="*/ 95 w 181"/>
                <a:gd name="T65" fmla="*/ 153 h 163"/>
                <a:gd name="T66" fmla="*/ 48 w 181"/>
                <a:gd name="T67" fmla="*/ 153 h 163"/>
                <a:gd name="T68" fmla="*/ 38 w 181"/>
                <a:gd name="T69" fmla="*/ 153 h 163"/>
                <a:gd name="T70" fmla="*/ 29 w 181"/>
                <a:gd name="T71" fmla="*/ 153 h 163"/>
                <a:gd name="T72" fmla="*/ 10 w 181"/>
                <a:gd name="T73" fmla="*/ 153 h 163"/>
                <a:gd name="T74" fmla="*/ 0 w 181"/>
                <a:gd name="T75" fmla="*/ 153 h 16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81"/>
                <a:gd name="T115" fmla="*/ 0 h 163"/>
                <a:gd name="T116" fmla="*/ 181 w 181"/>
                <a:gd name="T117" fmla="*/ 163 h 16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81" h="163">
                  <a:moveTo>
                    <a:pt x="0" y="153"/>
                  </a:moveTo>
                  <a:lnTo>
                    <a:pt x="0" y="143"/>
                  </a:lnTo>
                  <a:lnTo>
                    <a:pt x="0" y="134"/>
                  </a:lnTo>
                  <a:lnTo>
                    <a:pt x="19" y="96"/>
                  </a:lnTo>
                  <a:lnTo>
                    <a:pt x="29" y="77"/>
                  </a:lnTo>
                  <a:lnTo>
                    <a:pt x="29" y="67"/>
                  </a:lnTo>
                  <a:lnTo>
                    <a:pt x="19" y="58"/>
                  </a:lnTo>
                  <a:lnTo>
                    <a:pt x="19" y="29"/>
                  </a:lnTo>
                  <a:lnTo>
                    <a:pt x="19" y="19"/>
                  </a:lnTo>
                  <a:lnTo>
                    <a:pt x="10" y="10"/>
                  </a:lnTo>
                  <a:lnTo>
                    <a:pt x="19" y="0"/>
                  </a:lnTo>
                  <a:lnTo>
                    <a:pt x="76" y="0"/>
                  </a:lnTo>
                  <a:lnTo>
                    <a:pt x="86" y="10"/>
                  </a:lnTo>
                  <a:lnTo>
                    <a:pt x="86" y="29"/>
                  </a:lnTo>
                  <a:lnTo>
                    <a:pt x="115" y="29"/>
                  </a:lnTo>
                  <a:lnTo>
                    <a:pt x="115" y="10"/>
                  </a:lnTo>
                  <a:lnTo>
                    <a:pt x="124" y="10"/>
                  </a:lnTo>
                  <a:lnTo>
                    <a:pt x="134" y="19"/>
                  </a:lnTo>
                  <a:lnTo>
                    <a:pt x="153" y="19"/>
                  </a:lnTo>
                  <a:lnTo>
                    <a:pt x="153" y="58"/>
                  </a:lnTo>
                  <a:lnTo>
                    <a:pt x="162" y="67"/>
                  </a:lnTo>
                  <a:lnTo>
                    <a:pt x="181" y="67"/>
                  </a:lnTo>
                  <a:lnTo>
                    <a:pt x="181" y="77"/>
                  </a:lnTo>
                  <a:lnTo>
                    <a:pt x="181" y="96"/>
                  </a:lnTo>
                  <a:lnTo>
                    <a:pt x="153" y="96"/>
                  </a:lnTo>
                  <a:lnTo>
                    <a:pt x="153" y="143"/>
                  </a:lnTo>
                  <a:lnTo>
                    <a:pt x="162" y="153"/>
                  </a:lnTo>
                  <a:lnTo>
                    <a:pt x="153" y="163"/>
                  </a:lnTo>
                  <a:lnTo>
                    <a:pt x="134" y="163"/>
                  </a:lnTo>
                  <a:lnTo>
                    <a:pt x="124" y="163"/>
                  </a:lnTo>
                  <a:lnTo>
                    <a:pt x="105" y="163"/>
                  </a:lnTo>
                  <a:lnTo>
                    <a:pt x="95" y="153"/>
                  </a:lnTo>
                  <a:lnTo>
                    <a:pt x="48" y="153"/>
                  </a:lnTo>
                  <a:lnTo>
                    <a:pt x="38" y="153"/>
                  </a:lnTo>
                  <a:lnTo>
                    <a:pt x="29" y="153"/>
                  </a:lnTo>
                  <a:lnTo>
                    <a:pt x="10" y="153"/>
                  </a:lnTo>
                  <a:lnTo>
                    <a:pt x="0" y="153"/>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98" name="Freeform 490">
              <a:extLst>
                <a:ext uri="{FF2B5EF4-FFF2-40B4-BE49-F238E27FC236}">
                  <a16:creationId xmlns:a16="http://schemas.microsoft.com/office/drawing/2014/main" id="{4E9CECFD-A73F-4CD7-A886-FB0E0384DDD1}"/>
                </a:ext>
              </a:extLst>
            </p:cNvPr>
            <p:cNvSpPr>
              <a:spLocks/>
            </p:cNvSpPr>
            <p:nvPr/>
          </p:nvSpPr>
          <p:spPr bwMode="gray">
            <a:xfrm>
              <a:off x="2865" y="2815"/>
              <a:ext cx="95" cy="124"/>
            </a:xfrm>
            <a:custGeom>
              <a:avLst/>
              <a:gdLst>
                <a:gd name="T0" fmla="*/ 19 w 95"/>
                <a:gd name="T1" fmla="*/ 124 h 124"/>
                <a:gd name="T2" fmla="*/ 29 w 95"/>
                <a:gd name="T3" fmla="*/ 114 h 124"/>
                <a:gd name="T4" fmla="*/ 29 w 95"/>
                <a:gd name="T5" fmla="*/ 114 h 124"/>
                <a:gd name="T6" fmla="*/ 29 w 95"/>
                <a:gd name="T7" fmla="*/ 124 h 124"/>
                <a:gd name="T8" fmla="*/ 57 w 95"/>
                <a:gd name="T9" fmla="*/ 105 h 124"/>
                <a:gd name="T10" fmla="*/ 67 w 95"/>
                <a:gd name="T11" fmla="*/ 76 h 124"/>
                <a:gd name="T12" fmla="*/ 76 w 95"/>
                <a:gd name="T13" fmla="*/ 66 h 124"/>
                <a:gd name="T14" fmla="*/ 86 w 95"/>
                <a:gd name="T15" fmla="*/ 47 h 124"/>
                <a:gd name="T16" fmla="*/ 86 w 95"/>
                <a:gd name="T17" fmla="*/ 28 h 124"/>
                <a:gd name="T18" fmla="*/ 95 w 95"/>
                <a:gd name="T19" fmla="*/ 19 h 124"/>
                <a:gd name="T20" fmla="*/ 95 w 95"/>
                <a:gd name="T21" fmla="*/ 0 h 124"/>
                <a:gd name="T22" fmla="*/ 86 w 95"/>
                <a:gd name="T23" fmla="*/ 0 h 124"/>
                <a:gd name="T24" fmla="*/ 76 w 95"/>
                <a:gd name="T25" fmla="*/ 0 h 124"/>
                <a:gd name="T26" fmla="*/ 67 w 95"/>
                <a:gd name="T27" fmla="*/ 9 h 124"/>
                <a:gd name="T28" fmla="*/ 57 w 95"/>
                <a:gd name="T29" fmla="*/ 19 h 124"/>
                <a:gd name="T30" fmla="*/ 48 w 95"/>
                <a:gd name="T31" fmla="*/ 28 h 124"/>
                <a:gd name="T32" fmla="*/ 38 w 95"/>
                <a:gd name="T33" fmla="*/ 19 h 124"/>
                <a:gd name="T34" fmla="*/ 19 w 95"/>
                <a:gd name="T35" fmla="*/ 19 h 124"/>
                <a:gd name="T36" fmla="*/ 10 w 95"/>
                <a:gd name="T37" fmla="*/ 28 h 124"/>
                <a:gd name="T38" fmla="*/ 29 w 95"/>
                <a:gd name="T39" fmla="*/ 38 h 124"/>
                <a:gd name="T40" fmla="*/ 38 w 95"/>
                <a:gd name="T41" fmla="*/ 38 h 124"/>
                <a:gd name="T42" fmla="*/ 38 w 95"/>
                <a:gd name="T43" fmla="*/ 38 h 124"/>
                <a:gd name="T44" fmla="*/ 38 w 95"/>
                <a:gd name="T45" fmla="*/ 47 h 124"/>
                <a:gd name="T46" fmla="*/ 29 w 95"/>
                <a:gd name="T47" fmla="*/ 57 h 124"/>
                <a:gd name="T48" fmla="*/ 29 w 95"/>
                <a:gd name="T49" fmla="*/ 66 h 124"/>
                <a:gd name="T50" fmla="*/ 29 w 95"/>
                <a:gd name="T51" fmla="*/ 66 h 124"/>
                <a:gd name="T52" fmla="*/ 38 w 95"/>
                <a:gd name="T53" fmla="*/ 66 h 124"/>
                <a:gd name="T54" fmla="*/ 29 w 95"/>
                <a:gd name="T55" fmla="*/ 95 h 124"/>
                <a:gd name="T56" fmla="*/ 19 w 95"/>
                <a:gd name="T57" fmla="*/ 86 h 124"/>
                <a:gd name="T58" fmla="*/ 19 w 95"/>
                <a:gd name="T59" fmla="*/ 76 h 124"/>
                <a:gd name="T60" fmla="*/ 10 w 95"/>
                <a:gd name="T61" fmla="*/ 76 h 124"/>
                <a:gd name="T62" fmla="*/ 0 w 95"/>
                <a:gd name="T63" fmla="*/ 86 h 124"/>
                <a:gd name="T64" fmla="*/ 0 w 95"/>
                <a:gd name="T65" fmla="*/ 86 h 124"/>
                <a:gd name="T66" fmla="*/ 0 w 95"/>
                <a:gd name="T67" fmla="*/ 86 h 124"/>
                <a:gd name="T68" fmla="*/ 0 w 95"/>
                <a:gd name="T69" fmla="*/ 95 h 124"/>
                <a:gd name="T70" fmla="*/ 10 w 95"/>
                <a:gd name="T71" fmla="*/ 105 h 124"/>
                <a:gd name="T72" fmla="*/ 0 w 95"/>
                <a:gd name="T73" fmla="*/ 114 h 124"/>
                <a:gd name="T74" fmla="*/ 0 w 95"/>
                <a:gd name="T75" fmla="*/ 124 h 124"/>
                <a:gd name="T76" fmla="*/ 19 w 95"/>
                <a:gd name="T77" fmla="*/ 114 h 124"/>
                <a:gd name="T78" fmla="*/ 19 w 95"/>
                <a:gd name="T79" fmla="*/ 114 h 124"/>
                <a:gd name="T80" fmla="*/ 19 w 95"/>
                <a:gd name="T81" fmla="*/ 124 h 1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5"/>
                <a:gd name="T124" fmla="*/ 0 h 124"/>
                <a:gd name="T125" fmla="*/ 95 w 95"/>
                <a:gd name="T126" fmla="*/ 124 h 1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5" h="124">
                  <a:moveTo>
                    <a:pt x="19" y="124"/>
                  </a:moveTo>
                  <a:lnTo>
                    <a:pt x="29" y="114"/>
                  </a:lnTo>
                  <a:lnTo>
                    <a:pt x="29" y="124"/>
                  </a:lnTo>
                  <a:lnTo>
                    <a:pt x="57" y="105"/>
                  </a:lnTo>
                  <a:lnTo>
                    <a:pt x="67" y="76"/>
                  </a:lnTo>
                  <a:lnTo>
                    <a:pt x="76" y="66"/>
                  </a:lnTo>
                  <a:lnTo>
                    <a:pt x="86" y="47"/>
                  </a:lnTo>
                  <a:lnTo>
                    <a:pt x="86" y="28"/>
                  </a:lnTo>
                  <a:lnTo>
                    <a:pt x="95" y="19"/>
                  </a:lnTo>
                  <a:lnTo>
                    <a:pt x="95" y="0"/>
                  </a:lnTo>
                  <a:lnTo>
                    <a:pt x="86" y="0"/>
                  </a:lnTo>
                  <a:lnTo>
                    <a:pt x="76" y="0"/>
                  </a:lnTo>
                  <a:lnTo>
                    <a:pt x="67" y="9"/>
                  </a:lnTo>
                  <a:lnTo>
                    <a:pt x="57" y="19"/>
                  </a:lnTo>
                  <a:lnTo>
                    <a:pt x="48" y="28"/>
                  </a:lnTo>
                  <a:lnTo>
                    <a:pt x="38" y="19"/>
                  </a:lnTo>
                  <a:lnTo>
                    <a:pt x="19" y="19"/>
                  </a:lnTo>
                  <a:lnTo>
                    <a:pt x="10" y="28"/>
                  </a:lnTo>
                  <a:lnTo>
                    <a:pt x="29" y="38"/>
                  </a:lnTo>
                  <a:lnTo>
                    <a:pt x="38" y="38"/>
                  </a:lnTo>
                  <a:lnTo>
                    <a:pt x="38" y="47"/>
                  </a:lnTo>
                  <a:lnTo>
                    <a:pt x="29" y="57"/>
                  </a:lnTo>
                  <a:lnTo>
                    <a:pt x="29" y="66"/>
                  </a:lnTo>
                  <a:lnTo>
                    <a:pt x="38" y="66"/>
                  </a:lnTo>
                  <a:lnTo>
                    <a:pt x="29" y="95"/>
                  </a:lnTo>
                  <a:lnTo>
                    <a:pt x="19" y="86"/>
                  </a:lnTo>
                  <a:lnTo>
                    <a:pt x="19" y="76"/>
                  </a:lnTo>
                  <a:lnTo>
                    <a:pt x="10" y="76"/>
                  </a:lnTo>
                  <a:lnTo>
                    <a:pt x="0" y="86"/>
                  </a:lnTo>
                  <a:lnTo>
                    <a:pt x="0" y="95"/>
                  </a:lnTo>
                  <a:lnTo>
                    <a:pt x="10" y="105"/>
                  </a:lnTo>
                  <a:lnTo>
                    <a:pt x="0" y="114"/>
                  </a:lnTo>
                  <a:lnTo>
                    <a:pt x="0" y="124"/>
                  </a:lnTo>
                  <a:lnTo>
                    <a:pt x="19" y="114"/>
                  </a:lnTo>
                  <a:lnTo>
                    <a:pt x="19" y="124"/>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499" name="Freeform 491">
              <a:extLst>
                <a:ext uri="{FF2B5EF4-FFF2-40B4-BE49-F238E27FC236}">
                  <a16:creationId xmlns:a16="http://schemas.microsoft.com/office/drawing/2014/main" id="{34DC8B19-F8A6-4A08-9D91-53F2FB531C32}"/>
                </a:ext>
              </a:extLst>
            </p:cNvPr>
            <p:cNvSpPr>
              <a:spLocks/>
            </p:cNvSpPr>
            <p:nvPr/>
          </p:nvSpPr>
          <p:spPr bwMode="gray">
            <a:xfrm>
              <a:off x="3122" y="2901"/>
              <a:ext cx="20" cy="19"/>
            </a:xfrm>
            <a:custGeom>
              <a:avLst/>
              <a:gdLst>
                <a:gd name="T0" fmla="*/ 0 w 20"/>
                <a:gd name="T1" fmla="*/ 0 h 19"/>
                <a:gd name="T2" fmla="*/ 0 w 20"/>
                <a:gd name="T3" fmla="*/ 0 h 19"/>
                <a:gd name="T4" fmla="*/ 0 w 20"/>
                <a:gd name="T5" fmla="*/ 0 h 19"/>
                <a:gd name="T6" fmla="*/ 10 w 20"/>
                <a:gd name="T7" fmla="*/ 0 h 19"/>
                <a:gd name="T8" fmla="*/ 10 w 20"/>
                <a:gd name="T9" fmla="*/ 0 h 19"/>
                <a:gd name="T10" fmla="*/ 10 w 20"/>
                <a:gd name="T11" fmla="*/ 0 h 19"/>
                <a:gd name="T12" fmla="*/ 20 w 20"/>
                <a:gd name="T13" fmla="*/ 0 h 19"/>
                <a:gd name="T14" fmla="*/ 20 w 20"/>
                <a:gd name="T15" fmla="*/ 9 h 19"/>
                <a:gd name="T16" fmla="*/ 10 w 20"/>
                <a:gd name="T17" fmla="*/ 9 h 19"/>
                <a:gd name="T18" fmla="*/ 10 w 20"/>
                <a:gd name="T19" fmla="*/ 19 h 19"/>
                <a:gd name="T20" fmla="*/ 0 w 20"/>
                <a:gd name="T21" fmla="*/ 19 h 19"/>
                <a:gd name="T22" fmla="*/ 0 w 20"/>
                <a:gd name="T23" fmla="*/ 9 h 19"/>
                <a:gd name="T24" fmla="*/ 0 w 20"/>
                <a:gd name="T25" fmla="*/ 9 h 19"/>
                <a:gd name="T26" fmla="*/ 0 w 20"/>
                <a:gd name="T27" fmla="*/ 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9"/>
                <a:gd name="T44" fmla="*/ 20 w 20"/>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9">
                  <a:moveTo>
                    <a:pt x="0" y="0"/>
                  </a:moveTo>
                  <a:lnTo>
                    <a:pt x="0" y="0"/>
                  </a:lnTo>
                  <a:lnTo>
                    <a:pt x="10" y="0"/>
                  </a:lnTo>
                  <a:lnTo>
                    <a:pt x="20" y="0"/>
                  </a:lnTo>
                  <a:lnTo>
                    <a:pt x="20" y="9"/>
                  </a:lnTo>
                  <a:lnTo>
                    <a:pt x="10" y="9"/>
                  </a:lnTo>
                  <a:lnTo>
                    <a:pt x="10" y="19"/>
                  </a:lnTo>
                  <a:lnTo>
                    <a:pt x="0" y="19"/>
                  </a:lnTo>
                  <a:lnTo>
                    <a:pt x="0" y="9"/>
                  </a:lnTo>
                  <a:lnTo>
                    <a:pt x="0"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00" name="Freeform 492">
              <a:extLst>
                <a:ext uri="{FF2B5EF4-FFF2-40B4-BE49-F238E27FC236}">
                  <a16:creationId xmlns:a16="http://schemas.microsoft.com/office/drawing/2014/main" id="{38F54540-C99D-4995-8B4A-9275D4B39EFE}"/>
                </a:ext>
              </a:extLst>
            </p:cNvPr>
            <p:cNvSpPr>
              <a:spLocks/>
            </p:cNvSpPr>
            <p:nvPr/>
          </p:nvSpPr>
          <p:spPr bwMode="gray">
            <a:xfrm>
              <a:off x="2760" y="1555"/>
              <a:ext cx="382" cy="353"/>
            </a:xfrm>
            <a:custGeom>
              <a:avLst/>
              <a:gdLst>
                <a:gd name="T0" fmla="*/ 324 w 382"/>
                <a:gd name="T1" fmla="*/ 19 h 353"/>
                <a:gd name="T2" fmla="*/ 296 w 382"/>
                <a:gd name="T3" fmla="*/ 48 h 353"/>
                <a:gd name="T4" fmla="*/ 267 w 382"/>
                <a:gd name="T5" fmla="*/ 48 h 353"/>
                <a:gd name="T6" fmla="*/ 229 w 382"/>
                <a:gd name="T7" fmla="*/ 38 h 353"/>
                <a:gd name="T8" fmla="*/ 200 w 382"/>
                <a:gd name="T9" fmla="*/ 57 h 353"/>
                <a:gd name="T10" fmla="*/ 162 w 382"/>
                <a:gd name="T11" fmla="*/ 76 h 353"/>
                <a:gd name="T12" fmla="*/ 143 w 382"/>
                <a:gd name="T13" fmla="*/ 105 h 353"/>
                <a:gd name="T14" fmla="*/ 134 w 382"/>
                <a:gd name="T15" fmla="*/ 162 h 353"/>
                <a:gd name="T16" fmla="*/ 105 w 382"/>
                <a:gd name="T17" fmla="*/ 191 h 353"/>
                <a:gd name="T18" fmla="*/ 115 w 382"/>
                <a:gd name="T19" fmla="*/ 267 h 353"/>
                <a:gd name="T20" fmla="*/ 115 w 382"/>
                <a:gd name="T21" fmla="*/ 286 h 353"/>
                <a:gd name="T22" fmla="*/ 96 w 382"/>
                <a:gd name="T23" fmla="*/ 334 h 353"/>
                <a:gd name="T24" fmla="*/ 96 w 382"/>
                <a:gd name="T25" fmla="*/ 305 h 353"/>
                <a:gd name="T26" fmla="*/ 77 w 382"/>
                <a:gd name="T27" fmla="*/ 324 h 353"/>
                <a:gd name="T28" fmla="*/ 67 w 382"/>
                <a:gd name="T29" fmla="*/ 324 h 353"/>
                <a:gd name="T30" fmla="*/ 29 w 382"/>
                <a:gd name="T31" fmla="*/ 353 h 353"/>
                <a:gd name="T32" fmla="*/ 29 w 382"/>
                <a:gd name="T33" fmla="*/ 343 h 353"/>
                <a:gd name="T34" fmla="*/ 10 w 382"/>
                <a:gd name="T35" fmla="*/ 324 h 353"/>
                <a:gd name="T36" fmla="*/ 19 w 382"/>
                <a:gd name="T37" fmla="*/ 305 h 353"/>
                <a:gd name="T38" fmla="*/ 10 w 382"/>
                <a:gd name="T39" fmla="*/ 305 h 353"/>
                <a:gd name="T40" fmla="*/ 29 w 382"/>
                <a:gd name="T41" fmla="*/ 286 h 353"/>
                <a:gd name="T42" fmla="*/ 10 w 382"/>
                <a:gd name="T43" fmla="*/ 286 h 353"/>
                <a:gd name="T44" fmla="*/ 10 w 382"/>
                <a:gd name="T45" fmla="*/ 277 h 353"/>
                <a:gd name="T46" fmla="*/ 29 w 382"/>
                <a:gd name="T47" fmla="*/ 267 h 353"/>
                <a:gd name="T48" fmla="*/ 29 w 382"/>
                <a:gd name="T49" fmla="*/ 258 h 353"/>
                <a:gd name="T50" fmla="*/ 0 w 382"/>
                <a:gd name="T51" fmla="*/ 267 h 353"/>
                <a:gd name="T52" fmla="*/ 10 w 382"/>
                <a:gd name="T53" fmla="*/ 239 h 353"/>
                <a:gd name="T54" fmla="*/ 29 w 382"/>
                <a:gd name="T55" fmla="*/ 229 h 353"/>
                <a:gd name="T56" fmla="*/ 38 w 382"/>
                <a:gd name="T57" fmla="*/ 219 h 353"/>
                <a:gd name="T58" fmla="*/ 48 w 382"/>
                <a:gd name="T59" fmla="*/ 200 h 353"/>
                <a:gd name="T60" fmla="*/ 67 w 382"/>
                <a:gd name="T61" fmla="*/ 191 h 353"/>
                <a:gd name="T62" fmla="*/ 105 w 382"/>
                <a:gd name="T63" fmla="*/ 143 h 353"/>
                <a:gd name="T64" fmla="*/ 115 w 382"/>
                <a:gd name="T65" fmla="*/ 134 h 353"/>
                <a:gd name="T66" fmla="*/ 124 w 382"/>
                <a:gd name="T67" fmla="*/ 114 h 353"/>
                <a:gd name="T68" fmla="*/ 124 w 382"/>
                <a:gd name="T69" fmla="*/ 95 h 353"/>
                <a:gd name="T70" fmla="*/ 143 w 382"/>
                <a:gd name="T71" fmla="*/ 86 h 353"/>
                <a:gd name="T72" fmla="*/ 153 w 382"/>
                <a:gd name="T73" fmla="*/ 76 h 353"/>
                <a:gd name="T74" fmla="*/ 162 w 382"/>
                <a:gd name="T75" fmla="*/ 67 h 353"/>
                <a:gd name="T76" fmla="*/ 181 w 382"/>
                <a:gd name="T77" fmla="*/ 57 h 353"/>
                <a:gd name="T78" fmla="*/ 172 w 382"/>
                <a:gd name="T79" fmla="*/ 48 h 353"/>
                <a:gd name="T80" fmla="*/ 191 w 382"/>
                <a:gd name="T81" fmla="*/ 38 h 353"/>
                <a:gd name="T82" fmla="*/ 210 w 382"/>
                <a:gd name="T83" fmla="*/ 38 h 353"/>
                <a:gd name="T84" fmla="*/ 210 w 382"/>
                <a:gd name="T85" fmla="*/ 29 h 353"/>
                <a:gd name="T86" fmla="*/ 220 w 382"/>
                <a:gd name="T87" fmla="*/ 29 h 353"/>
                <a:gd name="T88" fmla="*/ 229 w 382"/>
                <a:gd name="T89" fmla="*/ 38 h 353"/>
                <a:gd name="T90" fmla="*/ 239 w 382"/>
                <a:gd name="T91" fmla="*/ 29 h 353"/>
                <a:gd name="T92" fmla="*/ 258 w 382"/>
                <a:gd name="T93" fmla="*/ 29 h 353"/>
                <a:gd name="T94" fmla="*/ 248 w 382"/>
                <a:gd name="T95" fmla="*/ 9 h 353"/>
                <a:gd name="T96" fmla="*/ 277 w 382"/>
                <a:gd name="T97" fmla="*/ 19 h 353"/>
                <a:gd name="T98" fmla="*/ 296 w 382"/>
                <a:gd name="T99" fmla="*/ 9 h 353"/>
                <a:gd name="T100" fmla="*/ 296 w 382"/>
                <a:gd name="T101" fmla="*/ 0 h 353"/>
                <a:gd name="T102" fmla="*/ 296 w 382"/>
                <a:gd name="T103" fmla="*/ 9 h 353"/>
                <a:gd name="T104" fmla="*/ 315 w 382"/>
                <a:gd name="T105" fmla="*/ 0 h 353"/>
                <a:gd name="T106" fmla="*/ 334 w 382"/>
                <a:gd name="T107" fmla="*/ 0 h 353"/>
                <a:gd name="T108" fmla="*/ 343 w 382"/>
                <a:gd name="T109" fmla="*/ 0 h 353"/>
                <a:gd name="T110" fmla="*/ 382 w 382"/>
                <a:gd name="T111" fmla="*/ 9 h 353"/>
                <a:gd name="T112" fmla="*/ 362 w 382"/>
                <a:gd name="T113" fmla="*/ 19 h 353"/>
                <a:gd name="T114" fmla="*/ 382 w 382"/>
                <a:gd name="T115" fmla="*/ 29 h 35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2"/>
                <a:gd name="T175" fmla="*/ 0 h 353"/>
                <a:gd name="T176" fmla="*/ 382 w 382"/>
                <a:gd name="T177" fmla="*/ 353 h 35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2" h="353">
                  <a:moveTo>
                    <a:pt x="353" y="38"/>
                  </a:moveTo>
                  <a:lnTo>
                    <a:pt x="353" y="29"/>
                  </a:lnTo>
                  <a:lnTo>
                    <a:pt x="343" y="19"/>
                  </a:lnTo>
                  <a:lnTo>
                    <a:pt x="324" y="19"/>
                  </a:lnTo>
                  <a:lnTo>
                    <a:pt x="315" y="29"/>
                  </a:lnTo>
                  <a:lnTo>
                    <a:pt x="315" y="48"/>
                  </a:lnTo>
                  <a:lnTo>
                    <a:pt x="305" y="48"/>
                  </a:lnTo>
                  <a:lnTo>
                    <a:pt x="296" y="48"/>
                  </a:lnTo>
                  <a:lnTo>
                    <a:pt x="286" y="48"/>
                  </a:lnTo>
                  <a:lnTo>
                    <a:pt x="277" y="48"/>
                  </a:lnTo>
                  <a:lnTo>
                    <a:pt x="267" y="48"/>
                  </a:lnTo>
                  <a:lnTo>
                    <a:pt x="248" y="38"/>
                  </a:lnTo>
                  <a:lnTo>
                    <a:pt x="239" y="38"/>
                  </a:lnTo>
                  <a:lnTo>
                    <a:pt x="229" y="38"/>
                  </a:lnTo>
                  <a:lnTo>
                    <a:pt x="220" y="57"/>
                  </a:lnTo>
                  <a:lnTo>
                    <a:pt x="210" y="57"/>
                  </a:lnTo>
                  <a:lnTo>
                    <a:pt x="200" y="57"/>
                  </a:lnTo>
                  <a:lnTo>
                    <a:pt x="181" y="67"/>
                  </a:lnTo>
                  <a:lnTo>
                    <a:pt x="181" y="76"/>
                  </a:lnTo>
                  <a:lnTo>
                    <a:pt x="162" y="76"/>
                  </a:lnTo>
                  <a:lnTo>
                    <a:pt x="172" y="86"/>
                  </a:lnTo>
                  <a:lnTo>
                    <a:pt x="153" y="105"/>
                  </a:lnTo>
                  <a:lnTo>
                    <a:pt x="143" y="105"/>
                  </a:lnTo>
                  <a:lnTo>
                    <a:pt x="143" y="114"/>
                  </a:lnTo>
                  <a:lnTo>
                    <a:pt x="143" y="124"/>
                  </a:lnTo>
                  <a:lnTo>
                    <a:pt x="143" y="153"/>
                  </a:lnTo>
                  <a:lnTo>
                    <a:pt x="134" y="162"/>
                  </a:lnTo>
                  <a:lnTo>
                    <a:pt x="143" y="172"/>
                  </a:lnTo>
                  <a:lnTo>
                    <a:pt x="134" y="181"/>
                  </a:lnTo>
                  <a:lnTo>
                    <a:pt x="115" y="181"/>
                  </a:lnTo>
                  <a:lnTo>
                    <a:pt x="105" y="191"/>
                  </a:lnTo>
                  <a:lnTo>
                    <a:pt x="105" y="210"/>
                  </a:lnTo>
                  <a:lnTo>
                    <a:pt x="115" y="248"/>
                  </a:lnTo>
                  <a:lnTo>
                    <a:pt x="115" y="267"/>
                  </a:lnTo>
                  <a:lnTo>
                    <a:pt x="105" y="267"/>
                  </a:lnTo>
                  <a:lnTo>
                    <a:pt x="115" y="277"/>
                  </a:lnTo>
                  <a:lnTo>
                    <a:pt x="115" y="286"/>
                  </a:lnTo>
                  <a:lnTo>
                    <a:pt x="105" y="296"/>
                  </a:lnTo>
                  <a:lnTo>
                    <a:pt x="105" y="315"/>
                  </a:lnTo>
                  <a:lnTo>
                    <a:pt x="105" y="324"/>
                  </a:lnTo>
                  <a:lnTo>
                    <a:pt x="96" y="334"/>
                  </a:lnTo>
                  <a:lnTo>
                    <a:pt x="96" y="324"/>
                  </a:lnTo>
                  <a:lnTo>
                    <a:pt x="86" y="315"/>
                  </a:lnTo>
                  <a:lnTo>
                    <a:pt x="96" y="305"/>
                  </a:lnTo>
                  <a:lnTo>
                    <a:pt x="86" y="305"/>
                  </a:lnTo>
                  <a:lnTo>
                    <a:pt x="86" y="315"/>
                  </a:lnTo>
                  <a:lnTo>
                    <a:pt x="77" y="324"/>
                  </a:lnTo>
                  <a:lnTo>
                    <a:pt x="67" y="324"/>
                  </a:lnTo>
                  <a:lnTo>
                    <a:pt x="67" y="315"/>
                  </a:lnTo>
                  <a:lnTo>
                    <a:pt x="67" y="324"/>
                  </a:lnTo>
                  <a:lnTo>
                    <a:pt x="57" y="343"/>
                  </a:lnTo>
                  <a:lnTo>
                    <a:pt x="48" y="343"/>
                  </a:lnTo>
                  <a:lnTo>
                    <a:pt x="38" y="343"/>
                  </a:lnTo>
                  <a:lnTo>
                    <a:pt x="29" y="353"/>
                  </a:lnTo>
                  <a:lnTo>
                    <a:pt x="29" y="343"/>
                  </a:lnTo>
                  <a:lnTo>
                    <a:pt x="29" y="334"/>
                  </a:lnTo>
                  <a:lnTo>
                    <a:pt x="29" y="343"/>
                  </a:lnTo>
                  <a:lnTo>
                    <a:pt x="19" y="343"/>
                  </a:lnTo>
                  <a:lnTo>
                    <a:pt x="19" y="334"/>
                  </a:lnTo>
                  <a:lnTo>
                    <a:pt x="10" y="334"/>
                  </a:lnTo>
                  <a:lnTo>
                    <a:pt x="10" y="324"/>
                  </a:lnTo>
                  <a:lnTo>
                    <a:pt x="19" y="324"/>
                  </a:lnTo>
                  <a:lnTo>
                    <a:pt x="19" y="315"/>
                  </a:lnTo>
                  <a:lnTo>
                    <a:pt x="19" y="305"/>
                  </a:lnTo>
                  <a:lnTo>
                    <a:pt x="19" y="315"/>
                  </a:lnTo>
                  <a:lnTo>
                    <a:pt x="10" y="315"/>
                  </a:lnTo>
                  <a:lnTo>
                    <a:pt x="10" y="305"/>
                  </a:lnTo>
                  <a:lnTo>
                    <a:pt x="19" y="296"/>
                  </a:lnTo>
                  <a:lnTo>
                    <a:pt x="29" y="286"/>
                  </a:lnTo>
                  <a:lnTo>
                    <a:pt x="29" y="277"/>
                  </a:lnTo>
                  <a:lnTo>
                    <a:pt x="19" y="286"/>
                  </a:lnTo>
                  <a:lnTo>
                    <a:pt x="10" y="286"/>
                  </a:lnTo>
                  <a:lnTo>
                    <a:pt x="10" y="277"/>
                  </a:lnTo>
                  <a:lnTo>
                    <a:pt x="10" y="267"/>
                  </a:lnTo>
                  <a:lnTo>
                    <a:pt x="19" y="267"/>
                  </a:lnTo>
                  <a:lnTo>
                    <a:pt x="29" y="267"/>
                  </a:lnTo>
                  <a:lnTo>
                    <a:pt x="38" y="267"/>
                  </a:lnTo>
                  <a:lnTo>
                    <a:pt x="38" y="258"/>
                  </a:lnTo>
                  <a:lnTo>
                    <a:pt x="29" y="258"/>
                  </a:lnTo>
                  <a:lnTo>
                    <a:pt x="29" y="267"/>
                  </a:lnTo>
                  <a:lnTo>
                    <a:pt x="10" y="267"/>
                  </a:lnTo>
                  <a:lnTo>
                    <a:pt x="0" y="267"/>
                  </a:lnTo>
                  <a:lnTo>
                    <a:pt x="0" y="258"/>
                  </a:lnTo>
                  <a:lnTo>
                    <a:pt x="0" y="248"/>
                  </a:lnTo>
                  <a:lnTo>
                    <a:pt x="10" y="248"/>
                  </a:lnTo>
                  <a:lnTo>
                    <a:pt x="10" y="239"/>
                  </a:lnTo>
                  <a:lnTo>
                    <a:pt x="19" y="239"/>
                  </a:lnTo>
                  <a:lnTo>
                    <a:pt x="19" y="229"/>
                  </a:lnTo>
                  <a:lnTo>
                    <a:pt x="29" y="229"/>
                  </a:lnTo>
                  <a:lnTo>
                    <a:pt x="29" y="219"/>
                  </a:lnTo>
                  <a:lnTo>
                    <a:pt x="38" y="219"/>
                  </a:lnTo>
                  <a:lnTo>
                    <a:pt x="38" y="210"/>
                  </a:lnTo>
                  <a:lnTo>
                    <a:pt x="48" y="210"/>
                  </a:lnTo>
                  <a:lnTo>
                    <a:pt x="48" y="200"/>
                  </a:lnTo>
                  <a:lnTo>
                    <a:pt x="57" y="200"/>
                  </a:lnTo>
                  <a:lnTo>
                    <a:pt x="67" y="200"/>
                  </a:lnTo>
                  <a:lnTo>
                    <a:pt x="67" y="191"/>
                  </a:lnTo>
                  <a:lnTo>
                    <a:pt x="67" y="181"/>
                  </a:lnTo>
                  <a:lnTo>
                    <a:pt x="96" y="162"/>
                  </a:lnTo>
                  <a:lnTo>
                    <a:pt x="105" y="143"/>
                  </a:lnTo>
                  <a:lnTo>
                    <a:pt x="115" y="143"/>
                  </a:lnTo>
                  <a:lnTo>
                    <a:pt x="115" y="134"/>
                  </a:lnTo>
                  <a:lnTo>
                    <a:pt x="115" y="124"/>
                  </a:lnTo>
                  <a:lnTo>
                    <a:pt x="115" y="114"/>
                  </a:lnTo>
                  <a:lnTo>
                    <a:pt x="124" y="114"/>
                  </a:lnTo>
                  <a:lnTo>
                    <a:pt x="134" y="105"/>
                  </a:lnTo>
                  <a:lnTo>
                    <a:pt x="124" y="105"/>
                  </a:lnTo>
                  <a:lnTo>
                    <a:pt x="124" y="95"/>
                  </a:lnTo>
                  <a:lnTo>
                    <a:pt x="134" y="86"/>
                  </a:lnTo>
                  <a:lnTo>
                    <a:pt x="143" y="86"/>
                  </a:lnTo>
                  <a:lnTo>
                    <a:pt x="153" y="86"/>
                  </a:lnTo>
                  <a:lnTo>
                    <a:pt x="143" y="76"/>
                  </a:lnTo>
                  <a:lnTo>
                    <a:pt x="153" y="76"/>
                  </a:lnTo>
                  <a:lnTo>
                    <a:pt x="162" y="76"/>
                  </a:lnTo>
                  <a:lnTo>
                    <a:pt x="153" y="76"/>
                  </a:lnTo>
                  <a:lnTo>
                    <a:pt x="162" y="67"/>
                  </a:lnTo>
                  <a:lnTo>
                    <a:pt x="172" y="67"/>
                  </a:lnTo>
                  <a:lnTo>
                    <a:pt x="172" y="57"/>
                  </a:lnTo>
                  <a:lnTo>
                    <a:pt x="181" y="57"/>
                  </a:lnTo>
                  <a:lnTo>
                    <a:pt x="172" y="57"/>
                  </a:lnTo>
                  <a:lnTo>
                    <a:pt x="172" y="48"/>
                  </a:lnTo>
                  <a:lnTo>
                    <a:pt x="181" y="57"/>
                  </a:lnTo>
                  <a:lnTo>
                    <a:pt x="191" y="48"/>
                  </a:lnTo>
                  <a:lnTo>
                    <a:pt x="191" y="38"/>
                  </a:lnTo>
                  <a:lnTo>
                    <a:pt x="200" y="38"/>
                  </a:lnTo>
                  <a:lnTo>
                    <a:pt x="210" y="38"/>
                  </a:lnTo>
                  <a:lnTo>
                    <a:pt x="220" y="38"/>
                  </a:lnTo>
                  <a:lnTo>
                    <a:pt x="210" y="38"/>
                  </a:lnTo>
                  <a:lnTo>
                    <a:pt x="210" y="29"/>
                  </a:lnTo>
                  <a:lnTo>
                    <a:pt x="220" y="29"/>
                  </a:lnTo>
                  <a:lnTo>
                    <a:pt x="229" y="19"/>
                  </a:lnTo>
                  <a:lnTo>
                    <a:pt x="229" y="29"/>
                  </a:lnTo>
                  <a:lnTo>
                    <a:pt x="229" y="38"/>
                  </a:lnTo>
                  <a:lnTo>
                    <a:pt x="239" y="29"/>
                  </a:lnTo>
                  <a:lnTo>
                    <a:pt x="239" y="19"/>
                  </a:lnTo>
                  <a:lnTo>
                    <a:pt x="248" y="19"/>
                  </a:lnTo>
                  <a:lnTo>
                    <a:pt x="248" y="29"/>
                  </a:lnTo>
                  <a:lnTo>
                    <a:pt x="258" y="29"/>
                  </a:lnTo>
                  <a:lnTo>
                    <a:pt x="258" y="19"/>
                  </a:lnTo>
                  <a:lnTo>
                    <a:pt x="239" y="19"/>
                  </a:lnTo>
                  <a:lnTo>
                    <a:pt x="248" y="19"/>
                  </a:lnTo>
                  <a:lnTo>
                    <a:pt x="248" y="9"/>
                  </a:lnTo>
                  <a:lnTo>
                    <a:pt x="258" y="19"/>
                  </a:lnTo>
                  <a:lnTo>
                    <a:pt x="267" y="19"/>
                  </a:lnTo>
                  <a:lnTo>
                    <a:pt x="277" y="19"/>
                  </a:lnTo>
                  <a:lnTo>
                    <a:pt x="277" y="9"/>
                  </a:lnTo>
                  <a:lnTo>
                    <a:pt x="286" y="9"/>
                  </a:lnTo>
                  <a:lnTo>
                    <a:pt x="296" y="9"/>
                  </a:lnTo>
                  <a:lnTo>
                    <a:pt x="296" y="0"/>
                  </a:lnTo>
                  <a:lnTo>
                    <a:pt x="305" y="0"/>
                  </a:lnTo>
                  <a:lnTo>
                    <a:pt x="315" y="0"/>
                  </a:lnTo>
                  <a:lnTo>
                    <a:pt x="305" y="9"/>
                  </a:lnTo>
                  <a:lnTo>
                    <a:pt x="296" y="9"/>
                  </a:lnTo>
                  <a:lnTo>
                    <a:pt x="296" y="19"/>
                  </a:lnTo>
                  <a:lnTo>
                    <a:pt x="305" y="9"/>
                  </a:lnTo>
                  <a:lnTo>
                    <a:pt x="315" y="9"/>
                  </a:lnTo>
                  <a:lnTo>
                    <a:pt x="315" y="0"/>
                  </a:lnTo>
                  <a:lnTo>
                    <a:pt x="324" y="0"/>
                  </a:lnTo>
                  <a:lnTo>
                    <a:pt x="324" y="9"/>
                  </a:lnTo>
                  <a:lnTo>
                    <a:pt x="334" y="0"/>
                  </a:lnTo>
                  <a:lnTo>
                    <a:pt x="324" y="0"/>
                  </a:lnTo>
                  <a:lnTo>
                    <a:pt x="343" y="0"/>
                  </a:lnTo>
                  <a:lnTo>
                    <a:pt x="343" y="9"/>
                  </a:lnTo>
                  <a:lnTo>
                    <a:pt x="353" y="0"/>
                  </a:lnTo>
                  <a:lnTo>
                    <a:pt x="382" y="9"/>
                  </a:lnTo>
                  <a:lnTo>
                    <a:pt x="372" y="19"/>
                  </a:lnTo>
                  <a:lnTo>
                    <a:pt x="353" y="19"/>
                  </a:lnTo>
                  <a:lnTo>
                    <a:pt x="362" y="19"/>
                  </a:lnTo>
                  <a:lnTo>
                    <a:pt x="362" y="29"/>
                  </a:lnTo>
                  <a:lnTo>
                    <a:pt x="372" y="29"/>
                  </a:lnTo>
                  <a:lnTo>
                    <a:pt x="382" y="29"/>
                  </a:lnTo>
                  <a:lnTo>
                    <a:pt x="362" y="38"/>
                  </a:lnTo>
                  <a:lnTo>
                    <a:pt x="353"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01" name="Freeform 493">
              <a:extLst>
                <a:ext uri="{FF2B5EF4-FFF2-40B4-BE49-F238E27FC236}">
                  <a16:creationId xmlns:a16="http://schemas.microsoft.com/office/drawing/2014/main" id="{484692CC-8074-4189-8F47-B41BD5C6337B}"/>
                </a:ext>
              </a:extLst>
            </p:cNvPr>
            <p:cNvSpPr>
              <a:spLocks/>
            </p:cNvSpPr>
            <p:nvPr/>
          </p:nvSpPr>
          <p:spPr bwMode="gray">
            <a:xfrm>
              <a:off x="2970" y="2233"/>
              <a:ext cx="29" cy="47"/>
            </a:xfrm>
            <a:custGeom>
              <a:avLst/>
              <a:gdLst>
                <a:gd name="T0" fmla="*/ 29 w 29"/>
                <a:gd name="T1" fmla="*/ 9 h 47"/>
                <a:gd name="T2" fmla="*/ 19 w 29"/>
                <a:gd name="T3" fmla="*/ 0 h 47"/>
                <a:gd name="T4" fmla="*/ 10 w 29"/>
                <a:gd name="T5" fmla="*/ 0 h 47"/>
                <a:gd name="T6" fmla="*/ 10 w 29"/>
                <a:gd name="T7" fmla="*/ 0 h 47"/>
                <a:gd name="T8" fmla="*/ 0 w 29"/>
                <a:gd name="T9" fmla="*/ 9 h 47"/>
                <a:gd name="T10" fmla="*/ 10 w 29"/>
                <a:gd name="T11" fmla="*/ 19 h 47"/>
                <a:gd name="T12" fmla="*/ 10 w 29"/>
                <a:gd name="T13" fmla="*/ 19 h 47"/>
                <a:gd name="T14" fmla="*/ 10 w 29"/>
                <a:gd name="T15" fmla="*/ 28 h 47"/>
                <a:gd name="T16" fmla="*/ 10 w 29"/>
                <a:gd name="T17" fmla="*/ 38 h 47"/>
                <a:gd name="T18" fmla="*/ 19 w 29"/>
                <a:gd name="T19" fmla="*/ 47 h 47"/>
                <a:gd name="T20" fmla="*/ 29 w 29"/>
                <a:gd name="T21" fmla="*/ 47 h 47"/>
                <a:gd name="T22" fmla="*/ 29 w 29"/>
                <a:gd name="T23" fmla="*/ 38 h 47"/>
                <a:gd name="T24" fmla="*/ 29 w 29"/>
                <a:gd name="T25" fmla="*/ 28 h 47"/>
                <a:gd name="T26" fmla="*/ 29 w 29"/>
                <a:gd name="T27" fmla="*/ 19 h 47"/>
                <a:gd name="T28" fmla="*/ 29 w 29"/>
                <a:gd name="T29" fmla="*/ 9 h 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
                <a:gd name="T46" fmla="*/ 0 h 47"/>
                <a:gd name="T47" fmla="*/ 29 w 29"/>
                <a:gd name="T48" fmla="*/ 47 h 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 h="47">
                  <a:moveTo>
                    <a:pt x="29" y="9"/>
                  </a:moveTo>
                  <a:lnTo>
                    <a:pt x="19" y="0"/>
                  </a:lnTo>
                  <a:lnTo>
                    <a:pt x="10" y="0"/>
                  </a:lnTo>
                  <a:lnTo>
                    <a:pt x="0" y="9"/>
                  </a:lnTo>
                  <a:lnTo>
                    <a:pt x="10" y="19"/>
                  </a:lnTo>
                  <a:lnTo>
                    <a:pt x="10" y="28"/>
                  </a:lnTo>
                  <a:lnTo>
                    <a:pt x="10" y="38"/>
                  </a:lnTo>
                  <a:lnTo>
                    <a:pt x="19" y="47"/>
                  </a:lnTo>
                  <a:lnTo>
                    <a:pt x="29" y="47"/>
                  </a:lnTo>
                  <a:lnTo>
                    <a:pt x="29" y="38"/>
                  </a:lnTo>
                  <a:lnTo>
                    <a:pt x="29" y="28"/>
                  </a:lnTo>
                  <a:lnTo>
                    <a:pt x="29" y="19"/>
                  </a:lnTo>
                  <a:lnTo>
                    <a:pt x="29" y="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02" name="Freeform 494">
              <a:extLst>
                <a:ext uri="{FF2B5EF4-FFF2-40B4-BE49-F238E27FC236}">
                  <a16:creationId xmlns:a16="http://schemas.microsoft.com/office/drawing/2014/main" id="{A3BEC3BF-037D-417D-9E3E-C0B20F4F40D9}"/>
                </a:ext>
              </a:extLst>
            </p:cNvPr>
            <p:cNvSpPr>
              <a:spLocks/>
            </p:cNvSpPr>
            <p:nvPr/>
          </p:nvSpPr>
          <p:spPr bwMode="gray">
            <a:xfrm>
              <a:off x="2989" y="2128"/>
              <a:ext cx="133" cy="85"/>
            </a:xfrm>
            <a:custGeom>
              <a:avLst/>
              <a:gdLst>
                <a:gd name="T0" fmla="*/ 38 w 133"/>
                <a:gd name="T1" fmla="*/ 76 h 85"/>
                <a:gd name="T2" fmla="*/ 48 w 133"/>
                <a:gd name="T3" fmla="*/ 76 h 85"/>
                <a:gd name="T4" fmla="*/ 67 w 133"/>
                <a:gd name="T5" fmla="*/ 85 h 85"/>
                <a:gd name="T6" fmla="*/ 76 w 133"/>
                <a:gd name="T7" fmla="*/ 85 h 85"/>
                <a:gd name="T8" fmla="*/ 95 w 133"/>
                <a:gd name="T9" fmla="*/ 76 h 85"/>
                <a:gd name="T10" fmla="*/ 95 w 133"/>
                <a:gd name="T11" fmla="*/ 76 h 85"/>
                <a:gd name="T12" fmla="*/ 114 w 133"/>
                <a:gd name="T13" fmla="*/ 85 h 85"/>
                <a:gd name="T14" fmla="*/ 124 w 133"/>
                <a:gd name="T15" fmla="*/ 66 h 85"/>
                <a:gd name="T16" fmla="*/ 133 w 133"/>
                <a:gd name="T17" fmla="*/ 57 h 85"/>
                <a:gd name="T18" fmla="*/ 133 w 133"/>
                <a:gd name="T19" fmla="*/ 47 h 85"/>
                <a:gd name="T20" fmla="*/ 124 w 133"/>
                <a:gd name="T21" fmla="*/ 47 h 85"/>
                <a:gd name="T22" fmla="*/ 114 w 133"/>
                <a:gd name="T23" fmla="*/ 47 h 85"/>
                <a:gd name="T24" fmla="*/ 114 w 133"/>
                <a:gd name="T25" fmla="*/ 38 h 85"/>
                <a:gd name="T26" fmla="*/ 114 w 133"/>
                <a:gd name="T27" fmla="*/ 28 h 85"/>
                <a:gd name="T28" fmla="*/ 105 w 133"/>
                <a:gd name="T29" fmla="*/ 9 h 85"/>
                <a:gd name="T30" fmla="*/ 95 w 133"/>
                <a:gd name="T31" fmla="*/ 0 h 85"/>
                <a:gd name="T32" fmla="*/ 86 w 133"/>
                <a:gd name="T33" fmla="*/ 0 h 85"/>
                <a:gd name="T34" fmla="*/ 76 w 133"/>
                <a:gd name="T35" fmla="*/ 0 h 85"/>
                <a:gd name="T36" fmla="*/ 67 w 133"/>
                <a:gd name="T37" fmla="*/ 9 h 85"/>
                <a:gd name="T38" fmla="*/ 48 w 133"/>
                <a:gd name="T39" fmla="*/ 0 h 85"/>
                <a:gd name="T40" fmla="*/ 38 w 133"/>
                <a:gd name="T41" fmla="*/ 0 h 85"/>
                <a:gd name="T42" fmla="*/ 29 w 133"/>
                <a:gd name="T43" fmla="*/ 0 h 85"/>
                <a:gd name="T44" fmla="*/ 19 w 133"/>
                <a:gd name="T45" fmla="*/ 19 h 85"/>
                <a:gd name="T46" fmla="*/ 10 w 133"/>
                <a:gd name="T47" fmla="*/ 28 h 85"/>
                <a:gd name="T48" fmla="*/ 0 w 133"/>
                <a:gd name="T49" fmla="*/ 38 h 85"/>
                <a:gd name="T50" fmla="*/ 10 w 133"/>
                <a:gd name="T51" fmla="*/ 47 h 85"/>
                <a:gd name="T52" fmla="*/ 10 w 133"/>
                <a:gd name="T53" fmla="*/ 66 h 85"/>
                <a:gd name="T54" fmla="*/ 29 w 133"/>
                <a:gd name="T55" fmla="*/ 66 h 85"/>
                <a:gd name="T56" fmla="*/ 38 w 133"/>
                <a:gd name="T57" fmla="*/ 76 h 8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3"/>
                <a:gd name="T88" fmla="*/ 0 h 85"/>
                <a:gd name="T89" fmla="*/ 133 w 133"/>
                <a:gd name="T90" fmla="*/ 85 h 8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3" h="85">
                  <a:moveTo>
                    <a:pt x="38" y="76"/>
                  </a:moveTo>
                  <a:lnTo>
                    <a:pt x="48" y="76"/>
                  </a:lnTo>
                  <a:lnTo>
                    <a:pt x="67" y="85"/>
                  </a:lnTo>
                  <a:lnTo>
                    <a:pt x="76" y="85"/>
                  </a:lnTo>
                  <a:lnTo>
                    <a:pt x="95" y="76"/>
                  </a:lnTo>
                  <a:lnTo>
                    <a:pt x="114" y="85"/>
                  </a:lnTo>
                  <a:lnTo>
                    <a:pt x="124" y="66"/>
                  </a:lnTo>
                  <a:lnTo>
                    <a:pt x="133" y="57"/>
                  </a:lnTo>
                  <a:lnTo>
                    <a:pt x="133" y="47"/>
                  </a:lnTo>
                  <a:lnTo>
                    <a:pt x="124" y="47"/>
                  </a:lnTo>
                  <a:lnTo>
                    <a:pt x="114" y="47"/>
                  </a:lnTo>
                  <a:lnTo>
                    <a:pt x="114" y="38"/>
                  </a:lnTo>
                  <a:lnTo>
                    <a:pt x="114" y="28"/>
                  </a:lnTo>
                  <a:lnTo>
                    <a:pt x="105" y="9"/>
                  </a:lnTo>
                  <a:lnTo>
                    <a:pt x="95" y="0"/>
                  </a:lnTo>
                  <a:lnTo>
                    <a:pt x="86" y="0"/>
                  </a:lnTo>
                  <a:lnTo>
                    <a:pt x="76" y="0"/>
                  </a:lnTo>
                  <a:lnTo>
                    <a:pt x="67" y="9"/>
                  </a:lnTo>
                  <a:lnTo>
                    <a:pt x="48" y="0"/>
                  </a:lnTo>
                  <a:lnTo>
                    <a:pt x="38" y="0"/>
                  </a:lnTo>
                  <a:lnTo>
                    <a:pt x="29" y="0"/>
                  </a:lnTo>
                  <a:lnTo>
                    <a:pt x="19" y="19"/>
                  </a:lnTo>
                  <a:lnTo>
                    <a:pt x="10" y="28"/>
                  </a:lnTo>
                  <a:lnTo>
                    <a:pt x="0" y="38"/>
                  </a:lnTo>
                  <a:lnTo>
                    <a:pt x="10" y="47"/>
                  </a:lnTo>
                  <a:lnTo>
                    <a:pt x="10" y="66"/>
                  </a:lnTo>
                  <a:lnTo>
                    <a:pt x="29" y="66"/>
                  </a:lnTo>
                  <a:lnTo>
                    <a:pt x="38" y="76"/>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03" name="Freeform 495">
              <a:extLst>
                <a:ext uri="{FF2B5EF4-FFF2-40B4-BE49-F238E27FC236}">
                  <a16:creationId xmlns:a16="http://schemas.microsoft.com/office/drawing/2014/main" id="{2875DBE6-8E6F-4DAA-ADC7-0E1DBFA67997}"/>
                </a:ext>
              </a:extLst>
            </p:cNvPr>
            <p:cNvSpPr>
              <a:spLocks/>
            </p:cNvSpPr>
            <p:nvPr/>
          </p:nvSpPr>
          <p:spPr bwMode="gray">
            <a:xfrm>
              <a:off x="3037" y="1860"/>
              <a:ext cx="57" cy="48"/>
            </a:xfrm>
            <a:custGeom>
              <a:avLst/>
              <a:gdLst>
                <a:gd name="T0" fmla="*/ 57 w 57"/>
                <a:gd name="T1" fmla="*/ 48 h 48"/>
                <a:gd name="T2" fmla="*/ 38 w 57"/>
                <a:gd name="T3" fmla="*/ 48 h 48"/>
                <a:gd name="T4" fmla="*/ 38 w 57"/>
                <a:gd name="T5" fmla="*/ 48 h 48"/>
                <a:gd name="T6" fmla="*/ 28 w 57"/>
                <a:gd name="T7" fmla="*/ 38 h 48"/>
                <a:gd name="T8" fmla="*/ 19 w 57"/>
                <a:gd name="T9" fmla="*/ 38 h 48"/>
                <a:gd name="T10" fmla="*/ 9 w 57"/>
                <a:gd name="T11" fmla="*/ 38 h 48"/>
                <a:gd name="T12" fmla="*/ 9 w 57"/>
                <a:gd name="T13" fmla="*/ 38 h 48"/>
                <a:gd name="T14" fmla="*/ 0 w 57"/>
                <a:gd name="T15" fmla="*/ 29 h 48"/>
                <a:gd name="T16" fmla="*/ 0 w 57"/>
                <a:gd name="T17" fmla="*/ 19 h 48"/>
                <a:gd name="T18" fmla="*/ 0 w 57"/>
                <a:gd name="T19" fmla="*/ 19 h 48"/>
                <a:gd name="T20" fmla="*/ 0 w 57"/>
                <a:gd name="T21" fmla="*/ 19 h 48"/>
                <a:gd name="T22" fmla="*/ 9 w 57"/>
                <a:gd name="T23" fmla="*/ 0 h 48"/>
                <a:gd name="T24" fmla="*/ 28 w 57"/>
                <a:gd name="T25" fmla="*/ 0 h 48"/>
                <a:gd name="T26" fmla="*/ 38 w 57"/>
                <a:gd name="T27" fmla="*/ 0 h 48"/>
                <a:gd name="T28" fmla="*/ 38 w 57"/>
                <a:gd name="T29" fmla="*/ 0 h 48"/>
                <a:gd name="T30" fmla="*/ 57 w 57"/>
                <a:gd name="T31" fmla="*/ 0 h 48"/>
                <a:gd name="T32" fmla="*/ 57 w 57"/>
                <a:gd name="T33" fmla="*/ 29 h 48"/>
                <a:gd name="T34" fmla="*/ 57 w 57"/>
                <a:gd name="T35" fmla="*/ 38 h 48"/>
                <a:gd name="T36" fmla="*/ 57 w 57"/>
                <a:gd name="T37" fmla="*/ 48 h 4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48"/>
                <a:gd name="T59" fmla="*/ 57 w 57"/>
                <a:gd name="T60" fmla="*/ 48 h 4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48">
                  <a:moveTo>
                    <a:pt x="57" y="48"/>
                  </a:moveTo>
                  <a:lnTo>
                    <a:pt x="38" y="48"/>
                  </a:lnTo>
                  <a:lnTo>
                    <a:pt x="28" y="38"/>
                  </a:lnTo>
                  <a:lnTo>
                    <a:pt x="19" y="38"/>
                  </a:lnTo>
                  <a:lnTo>
                    <a:pt x="9" y="38"/>
                  </a:lnTo>
                  <a:lnTo>
                    <a:pt x="0" y="29"/>
                  </a:lnTo>
                  <a:lnTo>
                    <a:pt x="0" y="19"/>
                  </a:lnTo>
                  <a:lnTo>
                    <a:pt x="9" y="0"/>
                  </a:lnTo>
                  <a:lnTo>
                    <a:pt x="28" y="0"/>
                  </a:lnTo>
                  <a:lnTo>
                    <a:pt x="38" y="0"/>
                  </a:lnTo>
                  <a:lnTo>
                    <a:pt x="57" y="0"/>
                  </a:lnTo>
                  <a:lnTo>
                    <a:pt x="57" y="29"/>
                  </a:lnTo>
                  <a:lnTo>
                    <a:pt x="57" y="38"/>
                  </a:lnTo>
                  <a:lnTo>
                    <a:pt x="57" y="4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04" name="Freeform 496">
              <a:extLst>
                <a:ext uri="{FF2B5EF4-FFF2-40B4-BE49-F238E27FC236}">
                  <a16:creationId xmlns:a16="http://schemas.microsoft.com/office/drawing/2014/main" id="{C7470149-4E5D-4203-85BF-5183F9A2461E}"/>
                </a:ext>
              </a:extLst>
            </p:cNvPr>
            <p:cNvSpPr>
              <a:spLocks/>
            </p:cNvSpPr>
            <p:nvPr/>
          </p:nvSpPr>
          <p:spPr bwMode="gray">
            <a:xfrm>
              <a:off x="3466" y="2223"/>
              <a:ext cx="200" cy="134"/>
            </a:xfrm>
            <a:custGeom>
              <a:avLst/>
              <a:gdLst>
                <a:gd name="T0" fmla="*/ 28 w 200"/>
                <a:gd name="T1" fmla="*/ 19 h 134"/>
                <a:gd name="T2" fmla="*/ 9 w 200"/>
                <a:gd name="T3" fmla="*/ 10 h 134"/>
                <a:gd name="T4" fmla="*/ 0 w 200"/>
                <a:gd name="T5" fmla="*/ 10 h 134"/>
                <a:gd name="T6" fmla="*/ 0 w 200"/>
                <a:gd name="T7" fmla="*/ 19 h 134"/>
                <a:gd name="T8" fmla="*/ 0 w 200"/>
                <a:gd name="T9" fmla="*/ 10 h 134"/>
                <a:gd name="T10" fmla="*/ 9 w 200"/>
                <a:gd name="T11" fmla="*/ 10 h 134"/>
                <a:gd name="T12" fmla="*/ 19 w 200"/>
                <a:gd name="T13" fmla="*/ 19 h 134"/>
                <a:gd name="T14" fmla="*/ 28 w 200"/>
                <a:gd name="T15" fmla="*/ 29 h 134"/>
                <a:gd name="T16" fmla="*/ 28 w 200"/>
                <a:gd name="T17" fmla="*/ 38 h 134"/>
                <a:gd name="T18" fmla="*/ 19 w 200"/>
                <a:gd name="T19" fmla="*/ 38 h 134"/>
                <a:gd name="T20" fmla="*/ 0 w 200"/>
                <a:gd name="T21" fmla="*/ 38 h 134"/>
                <a:gd name="T22" fmla="*/ 0 w 200"/>
                <a:gd name="T23" fmla="*/ 48 h 134"/>
                <a:gd name="T24" fmla="*/ 0 w 200"/>
                <a:gd name="T25" fmla="*/ 48 h 134"/>
                <a:gd name="T26" fmla="*/ 9 w 200"/>
                <a:gd name="T27" fmla="*/ 48 h 134"/>
                <a:gd name="T28" fmla="*/ 9 w 200"/>
                <a:gd name="T29" fmla="*/ 57 h 134"/>
                <a:gd name="T30" fmla="*/ 9 w 200"/>
                <a:gd name="T31" fmla="*/ 57 h 134"/>
                <a:gd name="T32" fmla="*/ 9 w 200"/>
                <a:gd name="T33" fmla="*/ 57 h 134"/>
                <a:gd name="T34" fmla="*/ 9 w 200"/>
                <a:gd name="T35" fmla="*/ 67 h 134"/>
                <a:gd name="T36" fmla="*/ 19 w 200"/>
                <a:gd name="T37" fmla="*/ 67 h 134"/>
                <a:gd name="T38" fmla="*/ 38 w 200"/>
                <a:gd name="T39" fmla="*/ 95 h 134"/>
                <a:gd name="T40" fmla="*/ 76 w 200"/>
                <a:gd name="T41" fmla="*/ 86 h 134"/>
                <a:gd name="T42" fmla="*/ 95 w 200"/>
                <a:gd name="T43" fmla="*/ 95 h 134"/>
                <a:gd name="T44" fmla="*/ 124 w 200"/>
                <a:gd name="T45" fmla="*/ 124 h 134"/>
                <a:gd name="T46" fmla="*/ 143 w 200"/>
                <a:gd name="T47" fmla="*/ 134 h 134"/>
                <a:gd name="T48" fmla="*/ 171 w 200"/>
                <a:gd name="T49" fmla="*/ 114 h 134"/>
                <a:gd name="T50" fmla="*/ 200 w 200"/>
                <a:gd name="T51" fmla="*/ 95 h 134"/>
                <a:gd name="T52" fmla="*/ 181 w 200"/>
                <a:gd name="T53" fmla="*/ 86 h 134"/>
                <a:gd name="T54" fmla="*/ 162 w 200"/>
                <a:gd name="T55" fmla="*/ 76 h 134"/>
                <a:gd name="T56" fmla="*/ 143 w 200"/>
                <a:gd name="T57" fmla="*/ 48 h 134"/>
                <a:gd name="T58" fmla="*/ 124 w 200"/>
                <a:gd name="T59" fmla="*/ 29 h 134"/>
                <a:gd name="T60" fmla="*/ 104 w 200"/>
                <a:gd name="T61" fmla="*/ 19 h 134"/>
                <a:gd name="T62" fmla="*/ 95 w 200"/>
                <a:gd name="T63" fmla="*/ 10 h 134"/>
                <a:gd name="T64" fmla="*/ 85 w 200"/>
                <a:gd name="T65" fmla="*/ 0 h 134"/>
                <a:gd name="T66" fmla="*/ 76 w 200"/>
                <a:gd name="T67" fmla="*/ 0 h 134"/>
                <a:gd name="T68" fmla="*/ 66 w 200"/>
                <a:gd name="T69" fmla="*/ 19 h 1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0"/>
                <a:gd name="T106" fmla="*/ 0 h 134"/>
                <a:gd name="T107" fmla="*/ 200 w 200"/>
                <a:gd name="T108" fmla="*/ 134 h 13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0" h="134">
                  <a:moveTo>
                    <a:pt x="38" y="19"/>
                  </a:moveTo>
                  <a:lnTo>
                    <a:pt x="28" y="19"/>
                  </a:lnTo>
                  <a:lnTo>
                    <a:pt x="19" y="10"/>
                  </a:lnTo>
                  <a:lnTo>
                    <a:pt x="9" y="10"/>
                  </a:lnTo>
                  <a:lnTo>
                    <a:pt x="0" y="10"/>
                  </a:lnTo>
                  <a:lnTo>
                    <a:pt x="0" y="19"/>
                  </a:lnTo>
                  <a:lnTo>
                    <a:pt x="0" y="10"/>
                  </a:lnTo>
                  <a:lnTo>
                    <a:pt x="9" y="10"/>
                  </a:lnTo>
                  <a:lnTo>
                    <a:pt x="19" y="19"/>
                  </a:lnTo>
                  <a:lnTo>
                    <a:pt x="19" y="29"/>
                  </a:lnTo>
                  <a:lnTo>
                    <a:pt x="28" y="29"/>
                  </a:lnTo>
                  <a:lnTo>
                    <a:pt x="28" y="38"/>
                  </a:lnTo>
                  <a:lnTo>
                    <a:pt x="19" y="38"/>
                  </a:lnTo>
                  <a:lnTo>
                    <a:pt x="9" y="38"/>
                  </a:lnTo>
                  <a:lnTo>
                    <a:pt x="0" y="38"/>
                  </a:lnTo>
                  <a:lnTo>
                    <a:pt x="0" y="48"/>
                  </a:lnTo>
                  <a:lnTo>
                    <a:pt x="9" y="48"/>
                  </a:lnTo>
                  <a:lnTo>
                    <a:pt x="9" y="57"/>
                  </a:lnTo>
                  <a:lnTo>
                    <a:pt x="9" y="67"/>
                  </a:lnTo>
                  <a:lnTo>
                    <a:pt x="19" y="67"/>
                  </a:lnTo>
                  <a:lnTo>
                    <a:pt x="19" y="95"/>
                  </a:lnTo>
                  <a:lnTo>
                    <a:pt x="38" y="95"/>
                  </a:lnTo>
                  <a:lnTo>
                    <a:pt x="38" y="86"/>
                  </a:lnTo>
                  <a:lnTo>
                    <a:pt x="76" y="86"/>
                  </a:lnTo>
                  <a:lnTo>
                    <a:pt x="85" y="95"/>
                  </a:lnTo>
                  <a:lnTo>
                    <a:pt x="95" y="95"/>
                  </a:lnTo>
                  <a:lnTo>
                    <a:pt x="124" y="114"/>
                  </a:lnTo>
                  <a:lnTo>
                    <a:pt x="124" y="124"/>
                  </a:lnTo>
                  <a:lnTo>
                    <a:pt x="133" y="134"/>
                  </a:lnTo>
                  <a:lnTo>
                    <a:pt x="143" y="134"/>
                  </a:lnTo>
                  <a:lnTo>
                    <a:pt x="143" y="124"/>
                  </a:lnTo>
                  <a:lnTo>
                    <a:pt x="171" y="114"/>
                  </a:lnTo>
                  <a:lnTo>
                    <a:pt x="181" y="95"/>
                  </a:lnTo>
                  <a:lnTo>
                    <a:pt x="200" y="95"/>
                  </a:lnTo>
                  <a:lnTo>
                    <a:pt x="190" y="86"/>
                  </a:lnTo>
                  <a:lnTo>
                    <a:pt x="181" y="86"/>
                  </a:lnTo>
                  <a:lnTo>
                    <a:pt x="171" y="76"/>
                  </a:lnTo>
                  <a:lnTo>
                    <a:pt x="162" y="76"/>
                  </a:lnTo>
                  <a:lnTo>
                    <a:pt x="143" y="57"/>
                  </a:lnTo>
                  <a:lnTo>
                    <a:pt x="143" y="48"/>
                  </a:lnTo>
                  <a:lnTo>
                    <a:pt x="133" y="38"/>
                  </a:lnTo>
                  <a:lnTo>
                    <a:pt x="124" y="29"/>
                  </a:lnTo>
                  <a:lnTo>
                    <a:pt x="104" y="19"/>
                  </a:lnTo>
                  <a:lnTo>
                    <a:pt x="104" y="10"/>
                  </a:lnTo>
                  <a:lnTo>
                    <a:pt x="95" y="10"/>
                  </a:lnTo>
                  <a:lnTo>
                    <a:pt x="85" y="0"/>
                  </a:lnTo>
                  <a:lnTo>
                    <a:pt x="85" y="10"/>
                  </a:lnTo>
                  <a:lnTo>
                    <a:pt x="76" y="0"/>
                  </a:lnTo>
                  <a:lnTo>
                    <a:pt x="66" y="10"/>
                  </a:lnTo>
                  <a:lnTo>
                    <a:pt x="66" y="19"/>
                  </a:lnTo>
                  <a:lnTo>
                    <a:pt x="38"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05" name="Freeform 497">
              <a:extLst>
                <a:ext uri="{FF2B5EF4-FFF2-40B4-BE49-F238E27FC236}">
                  <a16:creationId xmlns:a16="http://schemas.microsoft.com/office/drawing/2014/main" id="{95DC2B60-5174-4779-863E-5E3DB49BE3D3}"/>
                </a:ext>
              </a:extLst>
            </p:cNvPr>
            <p:cNvSpPr>
              <a:spLocks/>
            </p:cNvSpPr>
            <p:nvPr/>
          </p:nvSpPr>
          <p:spPr bwMode="gray">
            <a:xfrm>
              <a:off x="3199" y="2395"/>
              <a:ext cx="66" cy="57"/>
            </a:xfrm>
            <a:custGeom>
              <a:avLst/>
              <a:gdLst>
                <a:gd name="T0" fmla="*/ 9 w 66"/>
                <a:gd name="T1" fmla="*/ 28 h 57"/>
                <a:gd name="T2" fmla="*/ 9 w 66"/>
                <a:gd name="T3" fmla="*/ 9 h 57"/>
                <a:gd name="T4" fmla="*/ 9 w 66"/>
                <a:gd name="T5" fmla="*/ 9 h 57"/>
                <a:gd name="T6" fmla="*/ 28 w 66"/>
                <a:gd name="T7" fmla="*/ 9 h 57"/>
                <a:gd name="T8" fmla="*/ 47 w 66"/>
                <a:gd name="T9" fmla="*/ 0 h 57"/>
                <a:gd name="T10" fmla="*/ 57 w 66"/>
                <a:gd name="T11" fmla="*/ 0 h 57"/>
                <a:gd name="T12" fmla="*/ 66 w 66"/>
                <a:gd name="T13" fmla="*/ 9 h 57"/>
                <a:gd name="T14" fmla="*/ 57 w 66"/>
                <a:gd name="T15" fmla="*/ 19 h 57"/>
                <a:gd name="T16" fmla="*/ 38 w 66"/>
                <a:gd name="T17" fmla="*/ 19 h 57"/>
                <a:gd name="T18" fmla="*/ 47 w 66"/>
                <a:gd name="T19" fmla="*/ 38 h 57"/>
                <a:gd name="T20" fmla="*/ 38 w 66"/>
                <a:gd name="T21" fmla="*/ 47 h 57"/>
                <a:gd name="T22" fmla="*/ 28 w 66"/>
                <a:gd name="T23" fmla="*/ 47 h 57"/>
                <a:gd name="T24" fmla="*/ 19 w 66"/>
                <a:gd name="T25" fmla="*/ 57 h 57"/>
                <a:gd name="T26" fmla="*/ 0 w 66"/>
                <a:gd name="T27" fmla="*/ 57 h 57"/>
                <a:gd name="T28" fmla="*/ 0 w 66"/>
                <a:gd name="T29" fmla="*/ 57 h 57"/>
                <a:gd name="T30" fmla="*/ 9 w 66"/>
                <a:gd name="T31" fmla="*/ 38 h 57"/>
                <a:gd name="T32" fmla="*/ 9 w 66"/>
                <a:gd name="T33" fmla="*/ 28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6"/>
                <a:gd name="T52" fmla="*/ 0 h 57"/>
                <a:gd name="T53" fmla="*/ 66 w 66"/>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6" h="57">
                  <a:moveTo>
                    <a:pt x="9" y="28"/>
                  </a:moveTo>
                  <a:lnTo>
                    <a:pt x="9" y="9"/>
                  </a:lnTo>
                  <a:lnTo>
                    <a:pt x="28" y="9"/>
                  </a:lnTo>
                  <a:lnTo>
                    <a:pt x="47" y="0"/>
                  </a:lnTo>
                  <a:lnTo>
                    <a:pt x="57" y="0"/>
                  </a:lnTo>
                  <a:lnTo>
                    <a:pt x="66" y="9"/>
                  </a:lnTo>
                  <a:lnTo>
                    <a:pt x="57" y="19"/>
                  </a:lnTo>
                  <a:lnTo>
                    <a:pt x="38" y="19"/>
                  </a:lnTo>
                  <a:lnTo>
                    <a:pt x="47" y="38"/>
                  </a:lnTo>
                  <a:lnTo>
                    <a:pt x="38" y="47"/>
                  </a:lnTo>
                  <a:lnTo>
                    <a:pt x="28" y="47"/>
                  </a:lnTo>
                  <a:lnTo>
                    <a:pt x="19" y="57"/>
                  </a:lnTo>
                  <a:lnTo>
                    <a:pt x="0" y="57"/>
                  </a:lnTo>
                  <a:lnTo>
                    <a:pt x="9" y="38"/>
                  </a:lnTo>
                  <a:lnTo>
                    <a:pt x="9" y="2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06" name="Freeform 498">
              <a:extLst>
                <a:ext uri="{FF2B5EF4-FFF2-40B4-BE49-F238E27FC236}">
                  <a16:creationId xmlns:a16="http://schemas.microsoft.com/office/drawing/2014/main" id="{CECE885F-386C-42DD-8522-AF389C13207B}"/>
                </a:ext>
              </a:extLst>
            </p:cNvPr>
            <p:cNvSpPr>
              <a:spLocks/>
            </p:cNvSpPr>
            <p:nvPr/>
          </p:nvSpPr>
          <p:spPr bwMode="gray">
            <a:xfrm>
              <a:off x="1639" y="3111"/>
              <a:ext cx="124" cy="591"/>
            </a:xfrm>
            <a:custGeom>
              <a:avLst/>
              <a:gdLst>
                <a:gd name="T0" fmla="*/ 86 w 124"/>
                <a:gd name="T1" fmla="*/ 572 h 591"/>
                <a:gd name="T2" fmla="*/ 76 w 124"/>
                <a:gd name="T3" fmla="*/ 582 h 591"/>
                <a:gd name="T4" fmla="*/ 57 w 124"/>
                <a:gd name="T5" fmla="*/ 591 h 591"/>
                <a:gd name="T6" fmla="*/ 57 w 124"/>
                <a:gd name="T7" fmla="*/ 582 h 591"/>
                <a:gd name="T8" fmla="*/ 57 w 124"/>
                <a:gd name="T9" fmla="*/ 572 h 591"/>
                <a:gd name="T10" fmla="*/ 38 w 124"/>
                <a:gd name="T11" fmla="*/ 582 h 591"/>
                <a:gd name="T12" fmla="*/ 47 w 124"/>
                <a:gd name="T13" fmla="*/ 563 h 591"/>
                <a:gd name="T14" fmla="*/ 38 w 124"/>
                <a:gd name="T15" fmla="*/ 563 h 591"/>
                <a:gd name="T16" fmla="*/ 19 w 124"/>
                <a:gd name="T17" fmla="*/ 543 h 591"/>
                <a:gd name="T18" fmla="*/ 19 w 124"/>
                <a:gd name="T19" fmla="*/ 534 h 591"/>
                <a:gd name="T20" fmla="*/ 19 w 124"/>
                <a:gd name="T21" fmla="*/ 505 h 591"/>
                <a:gd name="T22" fmla="*/ 19 w 124"/>
                <a:gd name="T23" fmla="*/ 486 h 591"/>
                <a:gd name="T24" fmla="*/ 28 w 124"/>
                <a:gd name="T25" fmla="*/ 496 h 591"/>
                <a:gd name="T26" fmla="*/ 28 w 124"/>
                <a:gd name="T27" fmla="*/ 486 h 591"/>
                <a:gd name="T28" fmla="*/ 19 w 124"/>
                <a:gd name="T29" fmla="*/ 486 h 591"/>
                <a:gd name="T30" fmla="*/ 19 w 124"/>
                <a:gd name="T31" fmla="*/ 477 h 591"/>
                <a:gd name="T32" fmla="*/ 9 w 124"/>
                <a:gd name="T33" fmla="*/ 467 h 591"/>
                <a:gd name="T34" fmla="*/ 9 w 124"/>
                <a:gd name="T35" fmla="*/ 458 h 591"/>
                <a:gd name="T36" fmla="*/ 19 w 124"/>
                <a:gd name="T37" fmla="*/ 458 h 591"/>
                <a:gd name="T38" fmla="*/ 28 w 124"/>
                <a:gd name="T39" fmla="*/ 458 h 591"/>
                <a:gd name="T40" fmla="*/ 38 w 124"/>
                <a:gd name="T41" fmla="*/ 448 h 591"/>
                <a:gd name="T42" fmla="*/ 47 w 124"/>
                <a:gd name="T43" fmla="*/ 429 h 591"/>
                <a:gd name="T44" fmla="*/ 47 w 124"/>
                <a:gd name="T45" fmla="*/ 410 h 591"/>
                <a:gd name="T46" fmla="*/ 47 w 124"/>
                <a:gd name="T47" fmla="*/ 381 h 591"/>
                <a:gd name="T48" fmla="*/ 38 w 124"/>
                <a:gd name="T49" fmla="*/ 381 h 591"/>
                <a:gd name="T50" fmla="*/ 28 w 124"/>
                <a:gd name="T51" fmla="*/ 343 h 591"/>
                <a:gd name="T52" fmla="*/ 28 w 124"/>
                <a:gd name="T53" fmla="*/ 314 h 591"/>
                <a:gd name="T54" fmla="*/ 38 w 124"/>
                <a:gd name="T55" fmla="*/ 286 h 591"/>
                <a:gd name="T56" fmla="*/ 47 w 124"/>
                <a:gd name="T57" fmla="*/ 257 h 591"/>
                <a:gd name="T58" fmla="*/ 67 w 124"/>
                <a:gd name="T59" fmla="*/ 209 h 591"/>
                <a:gd name="T60" fmla="*/ 67 w 124"/>
                <a:gd name="T61" fmla="*/ 171 h 591"/>
                <a:gd name="T62" fmla="*/ 76 w 124"/>
                <a:gd name="T63" fmla="*/ 114 h 591"/>
                <a:gd name="T64" fmla="*/ 86 w 124"/>
                <a:gd name="T65" fmla="*/ 38 h 591"/>
                <a:gd name="T66" fmla="*/ 95 w 124"/>
                <a:gd name="T67" fmla="*/ 0 h 591"/>
                <a:gd name="T68" fmla="*/ 105 w 124"/>
                <a:gd name="T69" fmla="*/ 38 h 591"/>
                <a:gd name="T70" fmla="*/ 124 w 124"/>
                <a:gd name="T71" fmla="*/ 85 h 591"/>
                <a:gd name="T72" fmla="*/ 105 w 124"/>
                <a:gd name="T73" fmla="*/ 104 h 591"/>
                <a:gd name="T74" fmla="*/ 95 w 124"/>
                <a:gd name="T75" fmla="*/ 152 h 591"/>
                <a:gd name="T76" fmla="*/ 76 w 124"/>
                <a:gd name="T77" fmla="*/ 209 h 591"/>
                <a:gd name="T78" fmla="*/ 76 w 124"/>
                <a:gd name="T79" fmla="*/ 267 h 591"/>
                <a:gd name="T80" fmla="*/ 67 w 124"/>
                <a:gd name="T81" fmla="*/ 324 h 591"/>
                <a:gd name="T82" fmla="*/ 57 w 124"/>
                <a:gd name="T83" fmla="*/ 391 h 591"/>
                <a:gd name="T84" fmla="*/ 67 w 124"/>
                <a:gd name="T85" fmla="*/ 429 h 591"/>
                <a:gd name="T86" fmla="*/ 57 w 124"/>
                <a:gd name="T87" fmla="*/ 439 h 591"/>
                <a:gd name="T88" fmla="*/ 57 w 124"/>
                <a:gd name="T89" fmla="*/ 477 h 591"/>
                <a:gd name="T90" fmla="*/ 38 w 124"/>
                <a:gd name="T91" fmla="*/ 515 h 591"/>
                <a:gd name="T92" fmla="*/ 47 w 124"/>
                <a:gd name="T93" fmla="*/ 534 h 591"/>
                <a:gd name="T94" fmla="*/ 57 w 124"/>
                <a:gd name="T95" fmla="*/ 563 h 59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4"/>
                <a:gd name="T145" fmla="*/ 0 h 591"/>
                <a:gd name="T146" fmla="*/ 124 w 124"/>
                <a:gd name="T147" fmla="*/ 591 h 59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4" h="591">
                  <a:moveTo>
                    <a:pt x="95" y="563"/>
                  </a:moveTo>
                  <a:lnTo>
                    <a:pt x="86" y="572"/>
                  </a:lnTo>
                  <a:lnTo>
                    <a:pt x="76" y="572"/>
                  </a:lnTo>
                  <a:lnTo>
                    <a:pt x="67" y="572"/>
                  </a:lnTo>
                  <a:lnTo>
                    <a:pt x="76" y="582"/>
                  </a:lnTo>
                  <a:lnTo>
                    <a:pt x="67" y="582"/>
                  </a:lnTo>
                  <a:lnTo>
                    <a:pt x="67" y="591"/>
                  </a:lnTo>
                  <a:lnTo>
                    <a:pt x="57" y="591"/>
                  </a:lnTo>
                  <a:lnTo>
                    <a:pt x="47" y="591"/>
                  </a:lnTo>
                  <a:lnTo>
                    <a:pt x="47" y="582"/>
                  </a:lnTo>
                  <a:lnTo>
                    <a:pt x="57" y="582"/>
                  </a:lnTo>
                  <a:lnTo>
                    <a:pt x="67" y="582"/>
                  </a:lnTo>
                  <a:lnTo>
                    <a:pt x="67" y="572"/>
                  </a:lnTo>
                  <a:lnTo>
                    <a:pt x="57" y="572"/>
                  </a:lnTo>
                  <a:lnTo>
                    <a:pt x="47" y="572"/>
                  </a:lnTo>
                  <a:lnTo>
                    <a:pt x="38" y="582"/>
                  </a:lnTo>
                  <a:lnTo>
                    <a:pt x="28" y="563"/>
                  </a:lnTo>
                  <a:lnTo>
                    <a:pt x="38" y="563"/>
                  </a:lnTo>
                  <a:lnTo>
                    <a:pt x="47" y="563"/>
                  </a:lnTo>
                  <a:lnTo>
                    <a:pt x="38" y="563"/>
                  </a:lnTo>
                  <a:lnTo>
                    <a:pt x="28" y="563"/>
                  </a:lnTo>
                  <a:lnTo>
                    <a:pt x="28" y="543"/>
                  </a:lnTo>
                  <a:lnTo>
                    <a:pt x="19" y="543"/>
                  </a:lnTo>
                  <a:lnTo>
                    <a:pt x="28" y="543"/>
                  </a:lnTo>
                  <a:lnTo>
                    <a:pt x="28" y="534"/>
                  </a:lnTo>
                  <a:lnTo>
                    <a:pt x="19" y="534"/>
                  </a:lnTo>
                  <a:lnTo>
                    <a:pt x="19" y="524"/>
                  </a:lnTo>
                  <a:lnTo>
                    <a:pt x="19" y="515"/>
                  </a:lnTo>
                  <a:lnTo>
                    <a:pt x="19" y="505"/>
                  </a:lnTo>
                  <a:lnTo>
                    <a:pt x="19" y="496"/>
                  </a:lnTo>
                  <a:lnTo>
                    <a:pt x="19" y="486"/>
                  </a:lnTo>
                  <a:lnTo>
                    <a:pt x="28" y="496"/>
                  </a:lnTo>
                  <a:lnTo>
                    <a:pt x="28" y="486"/>
                  </a:lnTo>
                  <a:lnTo>
                    <a:pt x="19" y="486"/>
                  </a:lnTo>
                  <a:lnTo>
                    <a:pt x="19" y="477"/>
                  </a:lnTo>
                  <a:lnTo>
                    <a:pt x="19" y="467"/>
                  </a:lnTo>
                  <a:lnTo>
                    <a:pt x="9" y="467"/>
                  </a:lnTo>
                  <a:lnTo>
                    <a:pt x="0" y="467"/>
                  </a:lnTo>
                  <a:lnTo>
                    <a:pt x="9" y="458"/>
                  </a:lnTo>
                  <a:lnTo>
                    <a:pt x="9" y="448"/>
                  </a:lnTo>
                  <a:lnTo>
                    <a:pt x="19" y="458"/>
                  </a:lnTo>
                  <a:lnTo>
                    <a:pt x="19" y="467"/>
                  </a:lnTo>
                  <a:lnTo>
                    <a:pt x="28" y="467"/>
                  </a:lnTo>
                  <a:lnTo>
                    <a:pt x="28" y="458"/>
                  </a:lnTo>
                  <a:lnTo>
                    <a:pt x="28" y="448"/>
                  </a:lnTo>
                  <a:lnTo>
                    <a:pt x="38" y="448"/>
                  </a:lnTo>
                  <a:lnTo>
                    <a:pt x="38" y="439"/>
                  </a:lnTo>
                  <a:lnTo>
                    <a:pt x="47" y="429"/>
                  </a:lnTo>
                  <a:lnTo>
                    <a:pt x="38" y="429"/>
                  </a:lnTo>
                  <a:lnTo>
                    <a:pt x="38" y="419"/>
                  </a:lnTo>
                  <a:lnTo>
                    <a:pt x="47" y="410"/>
                  </a:lnTo>
                  <a:lnTo>
                    <a:pt x="38" y="391"/>
                  </a:lnTo>
                  <a:lnTo>
                    <a:pt x="47" y="391"/>
                  </a:lnTo>
                  <a:lnTo>
                    <a:pt x="47" y="381"/>
                  </a:lnTo>
                  <a:lnTo>
                    <a:pt x="38" y="372"/>
                  </a:lnTo>
                  <a:lnTo>
                    <a:pt x="38" y="381"/>
                  </a:lnTo>
                  <a:lnTo>
                    <a:pt x="19" y="372"/>
                  </a:lnTo>
                  <a:lnTo>
                    <a:pt x="28" y="362"/>
                  </a:lnTo>
                  <a:lnTo>
                    <a:pt x="28" y="343"/>
                  </a:lnTo>
                  <a:lnTo>
                    <a:pt x="38" y="343"/>
                  </a:lnTo>
                  <a:lnTo>
                    <a:pt x="38" y="324"/>
                  </a:lnTo>
                  <a:lnTo>
                    <a:pt x="28" y="314"/>
                  </a:lnTo>
                  <a:lnTo>
                    <a:pt x="28" y="295"/>
                  </a:lnTo>
                  <a:lnTo>
                    <a:pt x="38" y="295"/>
                  </a:lnTo>
                  <a:lnTo>
                    <a:pt x="38" y="286"/>
                  </a:lnTo>
                  <a:lnTo>
                    <a:pt x="47" y="276"/>
                  </a:lnTo>
                  <a:lnTo>
                    <a:pt x="47" y="267"/>
                  </a:lnTo>
                  <a:lnTo>
                    <a:pt x="47" y="257"/>
                  </a:lnTo>
                  <a:lnTo>
                    <a:pt x="57" y="238"/>
                  </a:lnTo>
                  <a:lnTo>
                    <a:pt x="67" y="229"/>
                  </a:lnTo>
                  <a:lnTo>
                    <a:pt x="67" y="209"/>
                  </a:lnTo>
                  <a:lnTo>
                    <a:pt x="57" y="190"/>
                  </a:lnTo>
                  <a:lnTo>
                    <a:pt x="67" y="181"/>
                  </a:lnTo>
                  <a:lnTo>
                    <a:pt x="67" y="171"/>
                  </a:lnTo>
                  <a:lnTo>
                    <a:pt x="67" y="162"/>
                  </a:lnTo>
                  <a:lnTo>
                    <a:pt x="76" y="124"/>
                  </a:lnTo>
                  <a:lnTo>
                    <a:pt x="76" y="114"/>
                  </a:lnTo>
                  <a:lnTo>
                    <a:pt x="76" y="76"/>
                  </a:lnTo>
                  <a:lnTo>
                    <a:pt x="86" y="38"/>
                  </a:lnTo>
                  <a:lnTo>
                    <a:pt x="76" y="38"/>
                  </a:lnTo>
                  <a:lnTo>
                    <a:pt x="76" y="9"/>
                  </a:lnTo>
                  <a:lnTo>
                    <a:pt x="95" y="0"/>
                  </a:lnTo>
                  <a:lnTo>
                    <a:pt x="95" y="9"/>
                  </a:lnTo>
                  <a:lnTo>
                    <a:pt x="105" y="19"/>
                  </a:lnTo>
                  <a:lnTo>
                    <a:pt x="105" y="38"/>
                  </a:lnTo>
                  <a:lnTo>
                    <a:pt x="114" y="76"/>
                  </a:lnTo>
                  <a:lnTo>
                    <a:pt x="124" y="76"/>
                  </a:lnTo>
                  <a:lnTo>
                    <a:pt x="124" y="85"/>
                  </a:lnTo>
                  <a:lnTo>
                    <a:pt x="124" y="95"/>
                  </a:lnTo>
                  <a:lnTo>
                    <a:pt x="114" y="95"/>
                  </a:lnTo>
                  <a:lnTo>
                    <a:pt x="105" y="104"/>
                  </a:lnTo>
                  <a:lnTo>
                    <a:pt x="105" y="133"/>
                  </a:lnTo>
                  <a:lnTo>
                    <a:pt x="114" y="133"/>
                  </a:lnTo>
                  <a:lnTo>
                    <a:pt x="95" y="152"/>
                  </a:lnTo>
                  <a:lnTo>
                    <a:pt x="86" y="171"/>
                  </a:lnTo>
                  <a:lnTo>
                    <a:pt x="86" y="181"/>
                  </a:lnTo>
                  <a:lnTo>
                    <a:pt x="76" y="209"/>
                  </a:lnTo>
                  <a:lnTo>
                    <a:pt x="86" y="238"/>
                  </a:lnTo>
                  <a:lnTo>
                    <a:pt x="86" y="257"/>
                  </a:lnTo>
                  <a:lnTo>
                    <a:pt x="76" y="267"/>
                  </a:lnTo>
                  <a:lnTo>
                    <a:pt x="76" y="276"/>
                  </a:lnTo>
                  <a:lnTo>
                    <a:pt x="67" y="295"/>
                  </a:lnTo>
                  <a:lnTo>
                    <a:pt x="67" y="324"/>
                  </a:lnTo>
                  <a:lnTo>
                    <a:pt x="67" y="334"/>
                  </a:lnTo>
                  <a:lnTo>
                    <a:pt x="57" y="362"/>
                  </a:lnTo>
                  <a:lnTo>
                    <a:pt x="57" y="391"/>
                  </a:lnTo>
                  <a:lnTo>
                    <a:pt x="57" y="410"/>
                  </a:lnTo>
                  <a:lnTo>
                    <a:pt x="67" y="429"/>
                  </a:lnTo>
                  <a:lnTo>
                    <a:pt x="57" y="439"/>
                  </a:lnTo>
                  <a:lnTo>
                    <a:pt x="67" y="467"/>
                  </a:lnTo>
                  <a:lnTo>
                    <a:pt x="57" y="477"/>
                  </a:lnTo>
                  <a:lnTo>
                    <a:pt x="47" y="486"/>
                  </a:lnTo>
                  <a:lnTo>
                    <a:pt x="47" y="496"/>
                  </a:lnTo>
                  <a:lnTo>
                    <a:pt x="38" y="515"/>
                  </a:lnTo>
                  <a:lnTo>
                    <a:pt x="28" y="524"/>
                  </a:lnTo>
                  <a:lnTo>
                    <a:pt x="38" y="534"/>
                  </a:lnTo>
                  <a:lnTo>
                    <a:pt x="47" y="534"/>
                  </a:lnTo>
                  <a:lnTo>
                    <a:pt x="47" y="553"/>
                  </a:lnTo>
                  <a:lnTo>
                    <a:pt x="57" y="563"/>
                  </a:lnTo>
                  <a:lnTo>
                    <a:pt x="86" y="563"/>
                  </a:lnTo>
                  <a:lnTo>
                    <a:pt x="95" y="563"/>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07" name="Freeform 499">
              <a:extLst>
                <a:ext uri="{FF2B5EF4-FFF2-40B4-BE49-F238E27FC236}">
                  <a16:creationId xmlns:a16="http://schemas.microsoft.com/office/drawing/2014/main" id="{76D915FC-F81D-4476-9274-A9342DA20334}"/>
                </a:ext>
              </a:extLst>
            </p:cNvPr>
            <p:cNvSpPr>
              <a:spLocks/>
            </p:cNvSpPr>
            <p:nvPr/>
          </p:nvSpPr>
          <p:spPr bwMode="gray">
            <a:xfrm>
              <a:off x="2411" y="1650"/>
              <a:ext cx="152" cy="105"/>
            </a:xfrm>
            <a:custGeom>
              <a:avLst/>
              <a:gdLst>
                <a:gd name="T0" fmla="*/ 114 w 152"/>
                <a:gd name="T1" fmla="*/ 0 h 105"/>
                <a:gd name="T2" fmla="*/ 124 w 152"/>
                <a:gd name="T3" fmla="*/ 10 h 105"/>
                <a:gd name="T4" fmla="*/ 143 w 152"/>
                <a:gd name="T5" fmla="*/ 10 h 105"/>
                <a:gd name="T6" fmla="*/ 133 w 152"/>
                <a:gd name="T7" fmla="*/ 19 h 105"/>
                <a:gd name="T8" fmla="*/ 143 w 152"/>
                <a:gd name="T9" fmla="*/ 29 h 105"/>
                <a:gd name="T10" fmla="*/ 143 w 152"/>
                <a:gd name="T11" fmla="*/ 39 h 105"/>
                <a:gd name="T12" fmla="*/ 152 w 152"/>
                <a:gd name="T13" fmla="*/ 48 h 105"/>
                <a:gd name="T14" fmla="*/ 133 w 152"/>
                <a:gd name="T15" fmla="*/ 67 h 105"/>
                <a:gd name="T16" fmla="*/ 124 w 152"/>
                <a:gd name="T17" fmla="*/ 77 h 105"/>
                <a:gd name="T18" fmla="*/ 95 w 152"/>
                <a:gd name="T19" fmla="*/ 96 h 105"/>
                <a:gd name="T20" fmla="*/ 57 w 152"/>
                <a:gd name="T21" fmla="*/ 105 h 105"/>
                <a:gd name="T22" fmla="*/ 28 w 152"/>
                <a:gd name="T23" fmla="*/ 96 h 105"/>
                <a:gd name="T24" fmla="*/ 19 w 152"/>
                <a:gd name="T25" fmla="*/ 86 h 105"/>
                <a:gd name="T26" fmla="*/ 28 w 152"/>
                <a:gd name="T27" fmla="*/ 77 h 105"/>
                <a:gd name="T28" fmla="*/ 28 w 152"/>
                <a:gd name="T29" fmla="*/ 67 h 105"/>
                <a:gd name="T30" fmla="*/ 0 w 152"/>
                <a:gd name="T31" fmla="*/ 67 h 105"/>
                <a:gd name="T32" fmla="*/ 9 w 152"/>
                <a:gd name="T33" fmla="*/ 58 h 105"/>
                <a:gd name="T34" fmla="*/ 28 w 152"/>
                <a:gd name="T35" fmla="*/ 58 h 105"/>
                <a:gd name="T36" fmla="*/ 19 w 152"/>
                <a:gd name="T37" fmla="*/ 48 h 105"/>
                <a:gd name="T38" fmla="*/ 28 w 152"/>
                <a:gd name="T39" fmla="*/ 39 h 105"/>
                <a:gd name="T40" fmla="*/ 0 w 152"/>
                <a:gd name="T41" fmla="*/ 39 h 105"/>
                <a:gd name="T42" fmla="*/ 9 w 152"/>
                <a:gd name="T43" fmla="*/ 19 h 105"/>
                <a:gd name="T44" fmla="*/ 9 w 152"/>
                <a:gd name="T45" fmla="*/ 29 h 105"/>
                <a:gd name="T46" fmla="*/ 19 w 152"/>
                <a:gd name="T47" fmla="*/ 19 h 105"/>
                <a:gd name="T48" fmla="*/ 19 w 152"/>
                <a:gd name="T49" fmla="*/ 10 h 105"/>
                <a:gd name="T50" fmla="*/ 38 w 152"/>
                <a:gd name="T51" fmla="*/ 29 h 105"/>
                <a:gd name="T52" fmla="*/ 48 w 152"/>
                <a:gd name="T53" fmla="*/ 48 h 105"/>
                <a:gd name="T54" fmla="*/ 48 w 152"/>
                <a:gd name="T55" fmla="*/ 39 h 105"/>
                <a:gd name="T56" fmla="*/ 57 w 152"/>
                <a:gd name="T57" fmla="*/ 29 h 105"/>
                <a:gd name="T58" fmla="*/ 57 w 152"/>
                <a:gd name="T59" fmla="*/ 19 h 105"/>
                <a:gd name="T60" fmla="*/ 67 w 152"/>
                <a:gd name="T61" fmla="*/ 29 h 105"/>
                <a:gd name="T62" fmla="*/ 76 w 152"/>
                <a:gd name="T63" fmla="*/ 19 h 105"/>
                <a:gd name="T64" fmla="*/ 86 w 152"/>
                <a:gd name="T65" fmla="*/ 29 h 105"/>
                <a:gd name="T66" fmla="*/ 95 w 152"/>
                <a:gd name="T67" fmla="*/ 19 h 105"/>
                <a:gd name="T68" fmla="*/ 114 w 152"/>
                <a:gd name="T69" fmla="*/ 19 h 10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2"/>
                <a:gd name="T106" fmla="*/ 0 h 105"/>
                <a:gd name="T107" fmla="*/ 152 w 152"/>
                <a:gd name="T108" fmla="*/ 105 h 10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2" h="105">
                  <a:moveTo>
                    <a:pt x="114" y="19"/>
                  </a:moveTo>
                  <a:lnTo>
                    <a:pt x="114" y="0"/>
                  </a:lnTo>
                  <a:lnTo>
                    <a:pt x="124" y="0"/>
                  </a:lnTo>
                  <a:lnTo>
                    <a:pt x="124" y="10"/>
                  </a:lnTo>
                  <a:lnTo>
                    <a:pt x="133" y="10"/>
                  </a:lnTo>
                  <a:lnTo>
                    <a:pt x="143" y="10"/>
                  </a:lnTo>
                  <a:lnTo>
                    <a:pt x="133" y="19"/>
                  </a:lnTo>
                  <a:lnTo>
                    <a:pt x="143" y="19"/>
                  </a:lnTo>
                  <a:lnTo>
                    <a:pt x="143" y="29"/>
                  </a:lnTo>
                  <a:lnTo>
                    <a:pt x="143" y="39"/>
                  </a:lnTo>
                  <a:lnTo>
                    <a:pt x="152" y="39"/>
                  </a:lnTo>
                  <a:lnTo>
                    <a:pt x="152" y="48"/>
                  </a:lnTo>
                  <a:lnTo>
                    <a:pt x="152" y="67"/>
                  </a:lnTo>
                  <a:lnTo>
                    <a:pt x="133" y="67"/>
                  </a:lnTo>
                  <a:lnTo>
                    <a:pt x="133" y="77"/>
                  </a:lnTo>
                  <a:lnTo>
                    <a:pt x="124" y="77"/>
                  </a:lnTo>
                  <a:lnTo>
                    <a:pt x="114" y="86"/>
                  </a:lnTo>
                  <a:lnTo>
                    <a:pt x="95" y="96"/>
                  </a:lnTo>
                  <a:lnTo>
                    <a:pt x="86" y="105"/>
                  </a:lnTo>
                  <a:lnTo>
                    <a:pt x="57" y="105"/>
                  </a:lnTo>
                  <a:lnTo>
                    <a:pt x="48" y="96"/>
                  </a:lnTo>
                  <a:lnTo>
                    <a:pt x="28" y="96"/>
                  </a:lnTo>
                  <a:lnTo>
                    <a:pt x="19" y="86"/>
                  </a:lnTo>
                  <a:lnTo>
                    <a:pt x="28" y="86"/>
                  </a:lnTo>
                  <a:lnTo>
                    <a:pt x="28" y="77"/>
                  </a:lnTo>
                  <a:lnTo>
                    <a:pt x="28" y="67"/>
                  </a:lnTo>
                  <a:lnTo>
                    <a:pt x="19" y="58"/>
                  </a:lnTo>
                  <a:lnTo>
                    <a:pt x="0" y="67"/>
                  </a:lnTo>
                  <a:lnTo>
                    <a:pt x="0" y="58"/>
                  </a:lnTo>
                  <a:lnTo>
                    <a:pt x="9" y="58"/>
                  </a:lnTo>
                  <a:lnTo>
                    <a:pt x="28" y="58"/>
                  </a:lnTo>
                  <a:lnTo>
                    <a:pt x="38" y="58"/>
                  </a:lnTo>
                  <a:lnTo>
                    <a:pt x="19" y="48"/>
                  </a:lnTo>
                  <a:lnTo>
                    <a:pt x="28" y="48"/>
                  </a:lnTo>
                  <a:lnTo>
                    <a:pt x="28" y="39"/>
                  </a:lnTo>
                  <a:lnTo>
                    <a:pt x="9" y="39"/>
                  </a:lnTo>
                  <a:lnTo>
                    <a:pt x="0" y="39"/>
                  </a:lnTo>
                  <a:lnTo>
                    <a:pt x="9" y="19"/>
                  </a:lnTo>
                  <a:lnTo>
                    <a:pt x="9" y="29"/>
                  </a:lnTo>
                  <a:lnTo>
                    <a:pt x="19" y="19"/>
                  </a:lnTo>
                  <a:lnTo>
                    <a:pt x="9" y="10"/>
                  </a:lnTo>
                  <a:lnTo>
                    <a:pt x="19" y="10"/>
                  </a:lnTo>
                  <a:lnTo>
                    <a:pt x="38" y="19"/>
                  </a:lnTo>
                  <a:lnTo>
                    <a:pt x="38" y="29"/>
                  </a:lnTo>
                  <a:lnTo>
                    <a:pt x="38" y="39"/>
                  </a:lnTo>
                  <a:lnTo>
                    <a:pt x="48" y="48"/>
                  </a:lnTo>
                  <a:lnTo>
                    <a:pt x="48" y="39"/>
                  </a:lnTo>
                  <a:lnTo>
                    <a:pt x="57" y="39"/>
                  </a:lnTo>
                  <a:lnTo>
                    <a:pt x="57" y="29"/>
                  </a:lnTo>
                  <a:lnTo>
                    <a:pt x="48" y="29"/>
                  </a:lnTo>
                  <a:lnTo>
                    <a:pt x="57" y="19"/>
                  </a:lnTo>
                  <a:lnTo>
                    <a:pt x="57" y="29"/>
                  </a:lnTo>
                  <a:lnTo>
                    <a:pt x="67" y="29"/>
                  </a:lnTo>
                  <a:lnTo>
                    <a:pt x="67" y="19"/>
                  </a:lnTo>
                  <a:lnTo>
                    <a:pt x="76" y="19"/>
                  </a:lnTo>
                  <a:lnTo>
                    <a:pt x="86" y="29"/>
                  </a:lnTo>
                  <a:lnTo>
                    <a:pt x="86" y="19"/>
                  </a:lnTo>
                  <a:lnTo>
                    <a:pt x="95" y="19"/>
                  </a:lnTo>
                  <a:lnTo>
                    <a:pt x="105" y="19"/>
                  </a:lnTo>
                  <a:lnTo>
                    <a:pt x="114"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08" name="Freeform 500">
              <a:extLst>
                <a:ext uri="{FF2B5EF4-FFF2-40B4-BE49-F238E27FC236}">
                  <a16:creationId xmlns:a16="http://schemas.microsoft.com/office/drawing/2014/main" id="{5EF0CD88-7905-4F5E-AA6A-28B075C5CB4E}"/>
                </a:ext>
              </a:extLst>
            </p:cNvPr>
            <p:cNvSpPr>
              <a:spLocks/>
            </p:cNvSpPr>
            <p:nvPr/>
          </p:nvSpPr>
          <p:spPr bwMode="gray">
            <a:xfrm>
              <a:off x="2446" y="2471"/>
              <a:ext cx="124" cy="105"/>
            </a:xfrm>
            <a:custGeom>
              <a:avLst/>
              <a:gdLst>
                <a:gd name="T0" fmla="*/ 0 w 124"/>
                <a:gd name="T1" fmla="*/ 105 h 105"/>
                <a:gd name="T2" fmla="*/ 57 w 124"/>
                <a:gd name="T3" fmla="*/ 105 h 105"/>
                <a:gd name="T4" fmla="*/ 57 w 124"/>
                <a:gd name="T5" fmla="*/ 86 h 105"/>
                <a:gd name="T6" fmla="*/ 57 w 124"/>
                <a:gd name="T7" fmla="*/ 76 h 105"/>
                <a:gd name="T8" fmla="*/ 76 w 124"/>
                <a:gd name="T9" fmla="*/ 76 h 105"/>
                <a:gd name="T10" fmla="*/ 66 w 124"/>
                <a:gd name="T11" fmla="*/ 38 h 105"/>
                <a:gd name="T12" fmla="*/ 124 w 124"/>
                <a:gd name="T13" fmla="*/ 38 h 105"/>
                <a:gd name="T14" fmla="*/ 124 w 124"/>
                <a:gd name="T15" fmla="*/ 10 h 105"/>
                <a:gd name="T16" fmla="*/ 124 w 124"/>
                <a:gd name="T17" fmla="*/ 0 h 105"/>
                <a:gd name="T18" fmla="*/ 76 w 124"/>
                <a:gd name="T19" fmla="*/ 0 h 105"/>
                <a:gd name="T20" fmla="*/ 76 w 124"/>
                <a:gd name="T21" fmla="*/ 10 h 105"/>
                <a:gd name="T22" fmla="*/ 66 w 124"/>
                <a:gd name="T23" fmla="*/ 10 h 105"/>
                <a:gd name="T24" fmla="*/ 57 w 124"/>
                <a:gd name="T25" fmla="*/ 10 h 105"/>
                <a:gd name="T26" fmla="*/ 47 w 124"/>
                <a:gd name="T27" fmla="*/ 29 h 105"/>
                <a:gd name="T28" fmla="*/ 38 w 124"/>
                <a:gd name="T29" fmla="*/ 29 h 105"/>
                <a:gd name="T30" fmla="*/ 38 w 124"/>
                <a:gd name="T31" fmla="*/ 29 h 105"/>
                <a:gd name="T32" fmla="*/ 28 w 124"/>
                <a:gd name="T33" fmla="*/ 38 h 105"/>
                <a:gd name="T34" fmla="*/ 28 w 124"/>
                <a:gd name="T35" fmla="*/ 57 h 105"/>
                <a:gd name="T36" fmla="*/ 19 w 124"/>
                <a:gd name="T37" fmla="*/ 67 h 105"/>
                <a:gd name="T38" fmla="*/ 0 w 124"/>
                <a:gd name="T39" fmla="*/ 86 h 105"/>
                <a:gd name="T40" fmla="*/ 0 w 124"/>
                <a:gd name="T41" fmla="*/ 105 h 10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4"/>
                <a:gd name="T64" fmla="*/ 0 h 105"/>
                <a:gd name="T65" fmla="*/ 124 w 124"/>
                <a:gd name="T66" fmla="*/ 105 h 10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4" h="105">
                  <a:moveTo>
                    <a:pt x="0" y="105"/>
                  </a:moveTo>
                  <a:lnTo>
                    <a:pt x="57" y="105"/>
                  </a:lnTo>
                  <a:lnTo>
                    <a:pt x="57" y="86"/>
                  </a:lnTo>
                  <a:lnTo>
                    <a:pt x="57" y="76"/>
                  </a:lnTo>
                  <a:lnTo>
                    <a:pt x="76" y="76"/>
                  </a:lnTo>
                  <a:lnTo>
                    <a:pt x="66" y="38"/>
                  </a:lnTo>
                  <a:lnTo>
                    <a:pt x="124" y="38"/>
                  </a:lnTo>
                  <a:lnTo>
                    <a:pt x="124" y="10"/>
                  </a:lnTo>
                  <a:lnTo>
                    <a:pt x="124" y="0"/>
                  </a:lnTo>
                  <a:lnTo>
                    <a:pt x="76" y="0"/>
                  </a:lnTo>
                  <a:lnTo>
                    <a:pt x="76" y="10"/>
                  </a:lnTo>
                  <a:lnTo>
                    <a:pt x="66" y="10"/>
                  </a:lnTo>
                  <a:lnTo>
                    <a:pt x="57" y="10"/>
                  </a:lnTo>
                  <a:lnTo>
                    <a:pt x="47" y="29"/>
                  </a:lnTo>
                  <a:lnTo>
                    <a:pt x="38" y="29"/>
                  </a:lnTo>
                  <a:lnTo>
                    <a:pt x="28" y="38"/>
                  </a:lnTo>
                  <a:lnTo>
                    <a:pt x="28" y="57"/>
                  </a:lnTo>
                  <a:lnTo>
                    <a:pt x="19" y="67"/>
                  </a:lnTo>
                  <a:lnTo>
                    <a:pt x="0" y="86"/>
                  </a:lnTo>
                  <a:lnTo>
                    <a:pt x="0" y="105"/>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09" name="Freeform 501">
              <a:extLst>
                <a:ext uri="{FF2B5EF4-FFF2-40B4-BE49-F238E27FC236}">
                  <a16:creationId xmlns:a16="http://schemas.microsoft.com/office/drawing/2014/main" id="{0D12C51D-ABC7-45D0-AA22-81288618A6B5}"/>
                </a:ext>
              </a:extLst>
            </p:cNvPr>
            <p:cNvSpPr>
              <a:spLocks/>
            </p:cNvSpPr>
            <p:nvPr/>
          </p:nvSpPr>
          <p:spPr bwMode="gray">
            <a:xfrm>
              <a:off x="2446" y="2481"/>
              <a:ext cx="181" cy="181"/>
            </a:xfrm>
            <a:custGeom>
              <a:avLst/>
              <a:gdLst>
                <a:gd name="T0" fmla="*/ 124 w 181"/>
                <a:gd name="T1" fmla="*/ 0 h 181"/>
                <a:gd name="T2" fmla="*/ 124 w 181"/>
                <a:gd name="T3" fmla="*/ 28 h 181"/>
                <a:gd name="T4" fmla="*/ 66 w 181"/>
                <a:gd name="T5" fmla="*/ 28 h 181"/>
                <a:gd name="T6" fmla="*/ 76 w 181"/>
                <a:gd name="T7" fmla="*/ 66 h 181"/>
                <a:gd name="T8" fmla="*/ 57 w 181"/>
                <a:gd name="T9" fmla="*/ 66 h 181"/>
                <a:gd name="T10" fmla="*/ 57 w 181"/>
                <a:gd name="T11" fmla="*/ 76 h 181"/>
                <a:gd name="T12" fmla="*/ 57 w 181"/>
                <a:gd name="T13" fmla="*/ 95 h 181"/>
                <a:gd name="T14" fmla="*/ 0 w 181"/>
                <a:gd name="T15" fmla="*/ 95 h 181"/>
                <a:gd name="T16" fmla="*/ 0 w 181"/>
                <a:gd name="T17" fmla="*/ 95 h 181"/>
                <a:gd name="T18" fmla="*/ 0 w 181"/>
                <a:gd name="T19" fmla="*/ 105 h 181"/>
                <a:gd name="T20" fmla="*/ 9 w 181"/>
                <a:gd name="T21" fmla="*/ 114 h 181"/>
                <a:gd name="T22" fmla="*/ 9 w 181"/>
                <a:gd name="T23" fmla="*/ 124 h 181"/>
                <a:gd name="T24" fmla="*/ 9 w 181"/>
                <a:gd name="T25" fmla="*/ 143 h 181"/>
                <a:gd name="T26" fmla="*/ 9 w 181"/>
                <a:gd name="T27" fmla="*/ 143 h 181"/>
                <a:gd name="T28" fmla="*/ 9 w 181"/>
                <a:gd name="T29" fmla="*/ 162 h 181"/>
                <a:gd name="T30" fmla="*/ 19 w 181"/>
                <a:gd name="T31" fmla="*/ 152 h 181"/>
                <a:gd name="T32" fmla="*/ 28 w 181"/>
                <a:gd name="T33" fmla="*/ 152 h 181"/>
                <a:gd name="T34" fmla="*/ 38 w 181"/>
                <a:gd name="T35" fmla="*/ 152 h 181"/>
                <a:gd name="T36" fmla="*/ 38 w 181"/>
                <a:gd name="T37" fmla="*/ 162 h 181"/>
                <a:gd name="T38" fmla="*/ 47 w 181"/>
                <a:gd name="T39" fmla="*/ 162 h 181"/>
                <a:gd name="T40" fmla="*/ 57 w 181"/>
                <a:gd name="T41" fmla="*/ 171 h 181"/>
                <a:gd name="T42" fmla="*/ 66 w 181"/>
                <a:gd name="T43" fmla="*/ 181 h 181"/>
                <a:gd name="T44" fmla="*/ 76 w 181"/>
                <a:gd name="T45" fmla="*/ 171 h 181"/>
                <a:gd name="T46" fmla="*/ 76 w 181"/>
                <a:gd name="T47" fmla="*/ 171 h 181"/>
                <a:gd name="T48" fmla="*/ 86 w 181"/>
                <a:gd name="T49" fmla="*/ 181 h 181"/>
                <a:gd name="T50" fmla="*/ 95 w 181"/>
                <a:gd name="T51" fmla="*/ 171 h 181"/>
                <a:gd name="T52" fmla="*/ 105 w 181"/>
                <a:gd name="T53" fmla="*/ 171 h 181"/>
                <a:gd name="T54" fmla="*/ 105 w 181"/>
                <a:gd name="T55" fmla="*/ 171 h 181"/>
                <a:gd name="T56" fmla="*/ 114 w 181"/>
                <a:gd name="T57" fmla="*/ 171 h 181"/>
                <a:gd name="T58" fmla="*/ 171 w 181"/>
                <a:gd name="T59" fmla="*/ 171 h 181"/>
                <a:gd name="T60" fmla="*/ 152 w 181"/>
                <a:gd name="T61" fmla="*/ 47 h 181"/>
                <a:gd name="T62" fmla="*/ 181 w 181"/>
                <a:gd name="T63" fmla="*/ 47 h 181"/>
                <a:gd name="T64" fmla="*/ 124 w 181"/>
                <a:gd name="T65" fmla="*/ 0 h 1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1"/>
                <a:gd name="T100" fmla="*/ 0 h 181"/>
                <a:gd name="T101" fmla="*/ 181 w 181"/>
                <a:gd name="T102" fmla="*/ 181 h 1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1" h="181">
                  <a:moveTo>
                    <a:pt x="124" y="0"/>
                  </a:moveTo>
                  <a:lnTo>
                    <a:pt x="124" y="28"/>
                  </a:lnTo>
                  <a:lnTo>
                    <a:pt x="66" y="28"/>
                  </a:lnTo>
                  <a:lnTo>
                    <a:pt x="76" y="66"/>
                  </a:lnTo>
                  <a:lnTo>
                    <a:pt x="57" y="66"/>
                  </a:lnTo>
                  <a:lnTo>
                    <a:pt x="57" y="76"/>
                  </a:lnTo>
                  <a:lnTo>
                    <a:pt x="57" y="95"/>
                  </a:lnTo>
                  <a:lnTo>
                    <a:pt x="0" y="95"/>
                  </a:lnTo>
                  <a:lnTo>
                    <a:pt x="0" y="105"/>
                  </a:lnTo>
                  <a:lnTo>
                    <a:pt x="9" y="114"/>
                  </a:lnTo>
                  <a:lnTo>
                    <a:pt x="9" y="124"/>
                  </a:lnTo>
                  <a:lnTo>
                    <a:pt x="9" y="143"/>
                  </a:lnTo>
                  <a:lnTo>
                    <a:pt x="9" y="162"/>
                  </a:lnTo>
                  <a:lnTo>
                    <a:pt x="19" y="152"/>
                  </a:lnTo>
                  <a:lnTo>
                    <a:pt x="28" y="152"/>
                  </a:lnTo>
                  <a:lnTo>
                    <a:pt x="38" y="152"/>
                  </a:lnTo>
                  <a:lnTo>
                    <a:pt x="38" y="162"/>
                  </a:lnTo>
                  <a:lnTo>
                    <a:pt x="47" y="162"/>
                  </a:lnTo>
                  <a:lnTo>
                    <a:pt x="57" y="171"/>
                  </a:lnTo>
                  <a:lnTo>
                    <a:pt x="66" y="181"/>
                  </a:lnTo>
                  <a:lnTo>
                    <a:pt x="76" y="171"/>
                  </a:lnTo>
                  <a:lnTo>
                    <a:pt x="86" y="181"/>
                  </a:lnTo>
                  <a:lnTo>
                    <a:pt x="95" y="171"/>
                  </a:lnTo>
                  <a:lnTo>
                    <a:pt x="105" y="171"/>
                  </a:lnTo>
                  <a:lnTo>
                    <a:pt x="114" y="171"/>
                  </a:lnTo>
                  <a:lnTo>
                    <a:pt x="171" y="171"/>
                  </a:lnTo>
                  <a:lnTo>
                    <a:pt x="152" y="47"/>
                  </a:lnTo>
                  <a:lnTo>
                    <a:pt x="181" y="47"/>
                  </a:lnTo>
                  <a:lnTo>
                    <a:pt x="124"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10" name="Freeform 502">
              <a:extLst>
                <a:ext uri="{FF2B5EF4-FFF2-40B4-BE49-F238E27FC236}">
                  <a16:creationId xmlns:a16="http://schemas.microsoft.com/office/drawing/2014/main" id="{7021F388-1A6D-43C0-96AF-12E8EA830F90}"/>
                </a:ext>
              </a:extLst>
            </p:cNvPr>
            <p:cNvSpPr>
              <a:spLocks/>
            </p:cNvSpPr>
            <p:nvPr/>
          </p:nvSpPr>
          <p:spPr bwMode="gray">
            <a:xfrm>
              <a:off x="2512" y="2528"/>
              <a:ext cx="248" cy="201"/>
            </a:xfrm>
            <a:custGeom>
              <a:avLst/>
              <a:gdLst>
                <a:gd name="T0" fmla="*/ 115 w 248"/>
                <a:gd name="T1" fmla="*/ 0 h 201"/>
                <a:gd name="T2" fmla="*/ 86 w 248"/>
                <a:gd name="T3" fmla="*/ 0 h 201"/>
                <a:gd name="T4" fmla="*/ 105 w 248"/>
                <a:gd name="T5" fmla="*/ 124 h 201"/>
                <a:gd name="T6" fmla="*/ 48 w 248"/>
                <a:gd name="T7" fmla="*/ 124 h 201"/>
                <a:gd name="T8" fmla="*/ 39 w 248"/>
                <a:gd name="T9" fmla="*/ 124 h 201"/>
                <a:gd name="T10" fmla="*/ 39 w 248"/>
                <a:gd name="T11" fmla="*/ 124 h 201"/>
                <a:gd name="T12" fmla="*/ 29 w 248"/>
                <a:gd name="T13" fmla="*/ 124 h 201"/>
                <a:gd name="T14" fmla="*/ 20 w 248"/>
                <a:gd name="T15" fmla="*/ 134 h 201"/>
                <a:gd name="T16" fmla="*/ 10 w 248"/>
                <a:gd name="T17" fmla="*/ 124 h 201"/>
                <a:gd name="T18" fmla="*/ 10 w 248"/>
                <a:gd name="T19" fmla="*/ 124 h 201"/>
                <a:gd name="T20" fmla="*/ 0 w 248"/>
                <a:gd name="T21" fmla="*/ 134 h 201"/>
                <a:gd name="T22" fmla="*/ 10 w 248"/>
                <a:gd name="T23" fmla="*/ 163 h 201"/>
                <a:gd name="T24" fmla="*/ 10 w 248"/>
                <a:gd name="T25" fmla="*/ 163 h 201"/>
                <a:gd name="T26" fmla="*/ 10 w 248"/>
                <a:gd name="T27" fmla="*/ 172 h 201"/>
                <a:gd name="T28" fmla="*/ 29 w 248"/>
                <a:gd name="T29" fmla="*/ 182 h 201"/>
                <a:gd name="T30" fmla="*/ 39 w 248"/>
                <a:gd name="T31" fmla="*/ 182 h 201"/>
                <a:gd name="T32" fmla="*/ 48 w 248"/>
                <a:gd name="T33" fmla="*/ 172 h 201"/>
                <a:gd name="T34" fmla="*/ 48 w 248"/>
                <a:gd name="T35" fmla="*/ 182 h 201"/>
                <a:gd name="T36" fmla="*/ 67 w 248"/>
                <a:gd name="T37" fmla="*/ 201 h 201"/>
                <a:gd name="T38" fmla="*/ 77 w 248"/>
                <a:gd name="T39" fmla="*/ 201 h 201"/>
                <a:gd name="T40" fmla="*/ 86 w 248"/>
                <a:gd name="T41" fmla="*/ 191 h 201"/>
                <a:gd name="T42" fmla="*/ 96 w 248"/>
                <a:gd name="T43" fmla="*/ 201 h 201"/>
                <a:gd name="T44" fmla="*/ 105 w 248"/>
                <a:gd name="T45" fmla="*/ 201 h 201"/>
                <a:gd name="T46" fmla="*/ 105 w 248"/>
                <a:gd name="T47" fmla="*/ 182 h 201"/>
                <a:gd name="T48" fmla="*/ 115 w 248"/>
                <a:gd name="T49" fmla="*/ 182 h 201"/>
                <a:gd name="T50" fmla="*/ 105 w 248"/>
                <a:gd name="T51" fmla="*/ 172 h 201"/>
                <a:gd name="T52" fmla="*/ 124 w 248"/>
                <a:gd name="T53" fmla="*/ 163 h 201"/>
                <a:gd name="T54" fmla="*/ 124 w 248"/>
                <a:gd name="T55" fmla="*/ 153 h 201"/>
                <a:gd name="T56" fmla="*/ 134 w 248"/>
                <a:gd name="T57" fmla="*/ 163 h 201"/>
                <a:gd name="T58" fmla="*/ 153 w 248"/>
                <a:gd name="T59" fmla="*/ 144 h 201"/>
                <a:gd name="T60" fmla="*/ 153 w 248"/>
                <a:gd name="T61" fmla="*/ 144 h 201"/>
                <a:gd name="T62" fmla="*/ 162 w 248"/>
                <a:gd name="T63" fmla="*/ 134 h 201"/>
                <a:gd name="T64" fmla="*/ 182 w 248"/>
                <a:gd name="T65" fmla="*/ 134 h 201"/>
                <a:gd name="T66" fmla="*/ 182 w 248"/>
                <a:gd name="T67" fmla="*/ 134 h 201"/>
                <a:gd name="T68" fmla="*/ 210 w 248"/>
                <a:gd name="T69" fmla="*/ 134 h 201"/>
                <a:gd name="T70" fmla="*/ 220 w 248"/>
                <a:gd name="T71" fmla="*/ 134 h 201"/>
                <a:gd name="T72" fmla="*/ 229 w 248"/>
                <a:gd name="T73" fmla="*/ 134 h 201"/>
                <a:gd name="T74" fmla="*/ 248 w 248"/>
                <a:gd name="T75" fmla="*/ 77 h 201"/>
                <a:gd name="T76" fmla="*/ 229 w 248"/>
                <a:gd name="T77" fmla="*/ 77 h 201"/>
                <a:gd name="T78" fmla="*/ 220 w 248"/>
                <a:gd name="T79" fmla="*/ 67 h 201"/>
                <a:gd name="T80" fmla="*/ 220 w 248"/>
                <a:gd name="T81" fmla="*/ 67 h 201"/>
                <a:gd name="T82" fmla="*/ 220 w 248"/>
                <a:gd name="T83" fmla="*/ 58 h 201"/>
                <a:gd name="T84" fmla="*/ 210 w 248"/>
                <a:gd name="T85" fmla="*/ 58 h 201"/>
                <a:gd name="T86" fmla="*/ 201 w 248"/>
                <a:gd name="T87" fmla="*/ 48 h 201"/>
                <a:gd name="T88" fmla="*/ 115 w 248"/>
                <a:gd name="T89" fmla="*/ 0 h 20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8"/>
                <a:gd name="T136" fmla="*/ 0 h 201"/>
                <a:gd name="T137" fmla="*/ 248 w 248"/>
                <a:gd name="T138" fmla="*/ 201 h 20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8" h="201">
                  <a:moveTo>
                    <a:pt x="115" y="0"/>
                  </a:moveTo>
                  <a:lnTo>
                    <a:pt x="86" y="0"/>
                  </a:lnTo>
                  <a:lnTo>
                    <a:pt x="105" y="124"/>
                  </a:lnTo>
                  <a:lnTo>
                    <a:pt x="48" y="124"/>
                  </a:lnTo>
                  <a:lnTo>
                    <a:pt x="39" y="124"/>
                  </a:lnTo>
                  <a:lnTo>
                    <a:pt x="29" y="124"/>
                  </a:lnTo>
                  <a:lnTo>
                    <a:pt x="20" y="134"/>
                  </a:lnTo>
                  <a:lnTo>
                    <a:pt x="10" y="124"/>
                  </a:lnTo>
                  <a:lnTo>
                    <a:pt x="0" y="134"/>
                  </a:lnTo>
                  <a:lnTo>
                    <a:pt x="10" y="163"/>
                  </a:lnTo>
                  <a:lnTo>
                    <a:pt x="10" y="172"/>
                  </a:lnTo>
                  <a:lnTo>
                    <a:pt x="29" y="182"/>
                  </a:lnTo>
                  <a:lnTo>
                    <a:pt x="39" y="182"/>
                  </a:lnTo>
                  <a:lnTo>
                    <a:pt x="48" y="172"/>
                  </a:lnTo>
                  <a:lnTo>
                    <a:pt x="48" y="182"/>
                  </a:lnTo>
                  <a:lnTo>
                    <a:pt x="67" y="201"/>
                  </a:lnTo>
                  <a:lnTo>
                    <a:pt x="77" y="201"/>
                  </a:lnTo>
                  <a:lnTo>
                    <a:pt x="86" y="191"/>
                  </a:lnTo>
                  <a:lnTo>
                    <a:pt x="96" y="201"/>
                  </a:lnTo>
                  <a:lnTo>
                    <a:pt x="105" y="201"/>
                  </a:lnTo>
                  <a:lnTo>
                    <a:pt x="105" y="182"/>
                  </a:lnTo>
                  <a:lnTo>
                    <a:pt x="115" y="182"/>
                  </a:lnTo>
                  <a:lnTo>
                    <a:pt x="105" y="172"/>
                  </a:lnTo>
                  <a:lnTo>
                    <a:pt x="124" y="163"/>
                  </a:lnTo>
                  <a:lnTo>
                    <a:pt x="124" y="153"/>
                  </a:lnTo>
                  <a:lnTo>
                    <a:pt x="134" y="163"/>
                  </a:lnTo>
                  <a:lnTo>
                    <a:pt x="153" y="144"/>
                  </a:lnTo>
                  <a:lnTo>
                    <a:pt x="162" y="134"/>
                  </a:lnTo>
                  <a:lnTo>
                    <a:pt x="182" y="134"/>
                  </a:lnTo>
                  <a:lnTo>
                    <a:pt x="210" y="134"/>
                  </a:lnTo>
                  <a:lnTo>
                    <a:pt x="220" y="134"/>
                  </a:lnTo>
                  <a:lnTo>
                    <a:pt x="229" y="134"/>
                  </a:lnTo>
                  <a:lnTo>
                    <a:pt x="248" y="77"/>
                  </a:lnTo>
                  <a:lnTo>
                    <a:pt x="229" y="77"/>
                  </a:lnTo>
                  <a:lnTo>
                    <a:pt x="220" y="67"/>
                  </a:lnTo>
                  <a:lnTo>
                    <a:pt x="220" y="58"/>
                  </a:lnTo>
                  <a:lnTo>
                    <a:pt x="210" y="58"/>
                  </a:lnTo>
                  <a:lnTo>
                    <a:pt x="201" y="48"/>
                  </a:lnTo>
                  <a:lnTo>
                    <a:pt x="115"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11" name="Freeform 503">
              <a:extLst>
                <a:ext uri="{FF2B5EF4-FFF2-40B4-BE49-F238E27FC236}">
                  <a16:creationId xmlns:a16="http://schemas.microsoft.com/office/drawing/2014/main" id="{CBF4BDE2-36E5-412D-ADDC-21768EADAFD7}"/>
                </a:ext>
              </a:extLst>
            </p:cNvPr>
            <p:cNvSpPr>
              <a:spLocks/>
            </p:cNvSpPr>
            <p:nvPr/>
          </p:nvSpPr>
          <p:spPr bwMode="gray">
            <a:xfrm>
              <a:off x="2570" y="2337"/>
              <a:ext cx="295" cy="268"/>
            </a:xfrm>
            <a:custGeom>
              <a:avLst/>
              <a:gdLst>
                <a:gd name="T0" fmla="*/ 257 w 295"/>
                <a:gd name="T1" fmla="*/ 96 h 268"/>
                <a:gd name="T2" fmla="*/ 247 w 295"/>
                <a:gd name="T3" fmla="*/ 77 h 268"/>
                <a:gd name="T4" fmla="*/ 238 w 295"/>
                <a:gd name="T5" fmla="*/ 67 h 268"/>
                <a:gd name="T6" fmla="*/ 228 w 295"/>
                <a:gd name="T7" fmla="*/ 58 h 268"/>
                <a:gd name="T8" fmla="*/ 228 w 295"/>
                <a:gd name="T9" fmla="*/ 48 h 268"/>
                <a:gd name="T10" fmla="*/ 238 w 295"/>
                <a:gd name="T11" fmla="*/ 29 h 268"/>
                <a:gd name="T12" fmla="*/ 247 w 295"/>
                <a:gd name="T13" fmla="*/ 20 h 268"/>
                <a:gd name="T14" fmla="*/ 238 w 295"/>
                <a:gd name="T15" fmla="*/ 10 h 268"/>
                <a:gd name="T16" fmla="*/ 238 w 295"/>
                <a:gd name="T17" fmla="*/ 0 h 268"/>
                <a:gd name="T18" fmla="*/ 228 w 295"/>
                <a:gd name="T19" fmla="*/ 0 h 268"/>
                <a:gd name="T20" fmla="*/ 209 w 295"/>
                <a:gd name="T21" fmla="*/ 0 h 268"/>
                <a:gd name="T22" fmla="*/ 200 w 295"/>
                <a:gd name="T23" fmla="*/ 0 h 268"/>
                <a:gd name="T24" fmla="*/ 190 w 295"/>
                <a:gd name="T25" fmla="*/ 0 h 268"/>
                <a:gd name="T26" fmla="*/ 190 w 295"/>
                <a:gd name="T27" fmla="*/ 0 h 268"/>
                <a:gd name="T28" fmla="*/ 171 w 295"/>
                <a:gd name="T29" fmla="*/ 0 h 268"/>
                <a:gd name="T30" fmla="*/ 162 w 295"/>
                <a:gd name="T31" fmla="*/ 0 h 268"/>
                <a:gd name="T32" fmla="*/ 143 w 295"/>
                <a:gd name="T33" fmla="*/ 0 h 268"/>
                <a:gd name="T34" fmla="*/ 133 w 295"/>
                <a:gd name="T35" fmla="*/ 10 h 268"/>
                <a:gd name="T36" fmla="*/ 133 w 295"/>
                <a:gd name="T37" fmla="*/ 10 h 268"/>
                <a:gd name="T38" fmla="*/ 114 w 295"/>
                <a:gd name="T39" fmla="*/ 20 h 268"/>
                <a:gd name="T40" fmla="*/ 114 w 295"/>
                <a:gd name="T41" fmla="*/ 20 h 268"/>
                <a:gd name="T42" fmla="*/ 104 w 295"/>
                <a:gd name="T43" fmla="*/ 29 h 268"/>
                <a:gd name="T44" fmla="*/ 95 w 295"/>
                <a:gd name="T45" fmla="*/ 29 h 268"/>
                <a:gd name="T46" fmla="*/ 104 w 295"/>
                <a:gd name="T47" fmla="*/ 58 h 268"/>
                <a:gd name="T48" fmla="*/ 104 w 295"/>
                <a:gd name="T49" fmla="*/ 67 h 268"/>
                <a:gd name="T50" fmla="*/ 104 w 295"/>
                <a:gd name="T51" fmla="*/ 77 h 268"/>
                <a:gd name="T52" fmla="*/ 85 w 295"/>
                <a:gd name="T53" fmla="*/ 77 h 268"/>
                <a:gd name="T54" fmla="*/ 76 w 295"/>
                <a:gd name="T55" fmla="*/ 77 h 268"/>
                <a:gd name="T56" fmla="*/ 76 w 295"/>
                <a:gd name="T57" fmla="*/ 96 h 268"/>
                <a:gd name="T58" fmla="*/ 66 w 295"/>
                <a:gd name="T59" fmla="*/ 96 h 268"/>
                <a:gd name="T60" fmla="*/ 57 w 295"/>
                <a:gd name="T61" fmla="*/ 96 h 268"/>
                <a:gd name="T62" fmla="*/ 57 w 295"/>
                <a:gd name="T63" fmla="*/ 96 h 268"/>
                <a:gd name="T64" fmla="*/ 47 w 295"/>
                <a:gd name="T65" fmla="*/ 105 h 268"/>
                <a:gd name="T66" fmla="*/ 47 w 295"/>
                <a:gd name="T67" fmla="*/ 105 h 268"/>
                <a:gd name="T68" fmla="*/ 9 w 295"/>
                <a:gd name="T69" fmla="*/ 115 h 268"/>
                <a:gd name="T70" fmla="*/ 0 w 295"/>
                <a:gd name="T71" fmla="*/ 125 h 268"/>
                <a:gd name="T72" fmla="*/ 0 w 295"/>
                <a:gd name="T73" fmla="*/ 144 h 268"/>
                <a:gd name="T74" fmla="*/ 0 w 295"/>
                <a:gd name="T75" fmla="*/ 153 h 268"/>
                <a:gd name="T76" fmla="*/ 57 w 295"/>
                <a:gd name="T77" fmla="*/ 191 h 268"/>
                <a:gd name="T78" fmla="*/ 143 w 295"/>
                <a:gd name="T79" fmla="*/ 239 h 268"/>
                <a:gd name="T80" fmla="*/ 143 w 295"/>
                <a:gd name="T81" fmla="*/ 249 h 268"/>
                <a:gd name="T82" fmla="*/ 152 w 295"/>
                <a:gd name="T83" fmla="*/ 249 h 268"/>
                <a:gd name="T84" fmla="*/ 162 w 295"/>
                <a:gd name="T85" fmla="*/ 258 h 268"/>
                <a:gd name="T86" fmla="*/ 162 w 295"/>
                <a:gd name="T87" fmla="*/ 258 h 268"/>
                <a:gd name="T88" fmla="*/ 162 w 295"/>
                <a:gd name="T89" fmla="*/ 268 h 268"/>
                <a:gd name="T90" fmla="*/ 190 w 295"/>
                <a:gd name="T91" fmla="*/ 268 h 268"/>
                <a:gd name="T92" fmla="*/ 209 w 295"/>
                <a:gd name="T93" fmla="*/ 268 h 268"/>
                <a:gd name="T94" fmla="*/ 295 w 295"/>
                <a:gd name="T95" fmla="*/ 201 h 268"/>
                <a:gd name="T96" fmla="*/ 295 w 295"/>
                <a:gd name="T97" fmla="*/ 191 h 268"/>
                <a:gd name="T98" fmla="*/ 276 w 295"/>
                <a:gd name="T99" fmla="*/ 191 h 268"/>
                <a:gd name="T100" fmla="*/ 267 w 295"/>
                <a:gd name="T101" fmla="*/ 172 h 268"/>
                <a:gd name="T102" fmla="*/ 257 w 295"/>
                <a:gd name="T103" fmla="*/ 163 h 268"/>
                <a:gd name="T104" fmla="*/ 267 w 295"/>
                <a:gd name="T105" fmla="*/ 153 h 268"/>
                <a:gd name="T106" fmla="*/ 267 w 295"/>
                <a:gd name="T107" fmla="*/ 134 h 268"/>
                <a:gd name="T108" fmla="*/ 267 w 295"/>
                <a:gd name="T109" fmla="*/ 125 h 268"/>
                <a:gd name="T110" fmla="*/ 267 w 295"/>
                <a:gd name="T111" fmla="*/ 125 h 268"/>
                <a:gd name="T112" fmla="*/ 257 w 295"/>
                <a:gd name="T113" fmla="*/ 96 h 26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5"/>
                <a:gd name="T172" fmla="*/ 0 h 268"/>
                <a:gd name="T173" fmla="*/ 295 w 295"/>
                <a:gd name="T174" fmla="*/ 268 h 26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5" h="268">
                  <a:moveTo>
                    <a:pt x="257" y="96"/>
                  </a:moveTo>
                  <a:lnTo>
                    <a:pt x="247" y="77"/>
                  </a:lnTo>
                  <a:lnTo>
                    <a:pt x="238" y="67"/>
                  </a:lnTo>
                  <a:lnTo>
                    <a:pt x="228" y="58"/>
                  </a:lnTo>
                  <a:lnTo>
                    <a:pt x="228" y="48"/>
                  </a:lnTo>
                  <a:lnTo>
                    <a:pt x="238" y="29"/>
                  </a:lnTo>
                  <a:lnTo>
                    <a:pt x="247" y="20"/>
                  </a:lnTo>
                  <a:lnTo>
                    <a:pt x="238" y="10"/>
                  </a:lnTo>
                  <a:lnTo>
                    <a:pt x="238" y="0"/>
                  </a:lnTo>
                  <a:lnTo>
                    <a:pt x="228" y="0"/>
                  </a:lnTo>
                  <a:lnTo>
                    <a:pt x="209" y="0"/>
                  </a:lnTo>
                  <a:lnTo>
                    <a:pt x="200" y="0"/>
                  </a:lnTo>
                  <a:lnTo>
                    <a:pt x="190" y="0"/>
                  </a:lnTo>
                  <a:lnTo>
                    <a:pt x="171" y="0"/>
                  </a:lnTo>
                  <a:lnTo>
                    <a:pt x="162" y="0"/>
                  </a:lnTo>
                  <a:lnTo>
                    <a:pt x="143" y="0"/>
                  </a:lnTo>
                  <a:lnTo>
                    <a:pt x="133" y="10"/>
                  </a:lnTo>
                  <a:lnTo>
                    <a:pt x="114" y="20"/>
                  </a:lnTo>
                  <a:lnTo>
                    <a:pt x="104" y="29"/>
                  </a:lnTo>
                  <a:lnTo>
                    <a:pt x="95" y="29"/>
                  </a:lnTo>
                  <a:lnTo>
                    <a:pt x="104" y="58"/>
                  </a:lnTo>
                  <a:lnTo>
                    <a:pt x="104" y="67"/>
                  </a:lnTo>
                  <a:lnTo>
                    <a:pt x="104" y="77"/>
                  </a:lnTo>
                  <a:lnTo>
                    <a:pt x="85" y="77"/>
                  </a:lnTo>
                  <a:lnTo>
                    <a:pt x="76" y="77"/>
                  </a:lnTo>
                  <a:lnTo>
                    <a:pt x="76" y="96"/>
                  </a:lnTo>
                  <a:lnTo>
                    <a:pt x="66" y="96"/>
                  </a:lnTo>
                  <a:lnTo>
                    <a:pt x="57" y="96"/>
                  </a:lnTo>
                  <a:lnTo>
                    <a:pt x="47" y="105"/>
                  </a:lnTo>
                  <a:lnTo>
                    <a:pt x="9" y="115"/>
                  </a:lnTo>
                  <a:lnTo>
                    <a:pt x="0" y="125"/>
                  </a:lnTo>
                  <a:lnTo>
                    <a:pt x="0" y="144"/>
                  </a:lnTo>
                  <a:lnTo>
                    <a:pt x="0" y="153"/>
                  </a:lnTo>
                  <a:lnTo>
                    <a:pt x="57" y="191"/>
                  </a:lnTo>
                  <a:lnTo>
                    <a:pt x="143" y="239"/>
                  </a:lnTo>
                  <a:lnTo>
                    <a:pt x="143" y="249"/>
                  </a:lnTo>
                  <a:lnTo>
                    <a:pt x="152" y="249"/>
                  </a:lnTo>
                  <a:lnTo>
                    <a:pt x="162" y="258"/>
                  </a:lnTo>
                  <a:lnTo>
                    <a:pt x="162" y="268"/>
                  </a:lnTo>
                  <a:lnTo>
                    <a:pt x="190" y="268"/>
                  </a:lnTo>
                  <a:lnTo>
                    <a:pt x="209" y="268"/>
                  </a:lnTo>
                  <a:lnTo>
                    <a:pt x="295" y="201"/>
                  </a:lnTo>
                  <a:lnTo>
                    <a:pt x="295" y="191"/>
                  </a:lnTo>
                  <a:lnTo>
                    <a:pt x="276" y="191"/>
                  </a:lnTo>
                  <a:lnTo>
                    <a:pt x="267" y="172"/>
                  </a:lnTo>
                  <a:lnTo>
                    <a:pt x="257" y="163"/>
                  </a:lnTo>
                  <a:lnTo>
                    <a:pt x="267" y="153"/>
                  </a:lnTo>
                  <a:lnTo>
                    <a:pt x="267" y="134"/>
                  </a:lnTo>
                  <a:lnTo>
                    <a:pt x="267" y="125"/>
                  </a:lnTo>
                  <a:lnTo>
                    <a:pt x="257" y="96"/>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12" name="Freeform 504">
              <a:extLst>
                <a:ext uri="{FF2B5EF4-FFF2-40B4-BE49-F238E27FC236}">
                  <a16:creationId xmlns:a16="http://schemas.microsoft.com/office/drawing/2014/main" id="{0A44906F-E05F-41E5-8965-1DA4B66EFB88}"/>
                </a:ext>
              </a:extLst>
            </p:cNvPr>
            <p:cNvSpPr>
              <a:spLocks/>
            </p:cNvSpPr>
            <p:nvPr/>
          </p:nvSpPr>
          <p:spPr bwMode="gray">
            <a:xfrm>
              <a:off x="1610" y="2614"/>
              <a:ext cx="29" cy="10"/>
            </a:xfrm>
            <a:custGeom>
              <a:avLst/>
              <a:gdLst>
                <a:gd name="T0" fmla="*/ 0 w 29"/>
                <a:gd name="T1" fmla="*/ 10 h 10"/>
                <a:gd name="T2" fmla="*/ 10 w 29"/>
                <a:gd name="T3" fmla="*/ 0 h 10"/>
                <a:gd name="T4" fmla="*/ 29 w 29"/>
                <a:gd name="T5" fmla="*/ 10 h 10"/>
                <a:gd name="T6" fmla="*/ 29 w 29"/>
                <a:gd name="T7" fmla="*/ 10 h 10"/>
                <a:gd name="T8" fmla="*/ 10 w 29"/>
                <a:gd name="T9" fmla="*/ 10 h 10"/>
                <a:gd name="T10" fmla="*/ 0 w 29"/>
                <a:gd name="T11" fmla="*/ 10 h 10"/>
                <a:gd name="T12" fmla="*/ 0 w 29"/>
                <a:gd name="T13" fmla="*/ 10 h 10"/>
                <a:gd name="T14" fmla="*/ 0 60000 65536"/>
                <a:gd name="T15" fmla="*/ 0 60000 65536"/>
                <a:gd name="T16" fmla="*/ 0 60000 65536"/>
                <a:gd name="T17" fmla="*/ 0 60000 65536"/>
                <a:gd name="T18" fmla="*/ 0 60000 65536"/>
                <a:gd name="T19" fmla="*/ 0 60000 65536"/>
                <a:gd name="T20" fmla="*/ 0 60000 65536"/>
                <a:gd name="T21" fmla="*/ 0 w 29"/>
                <a:gd name="T22" fmla="*/ 0 h 10"/>
                <a:gd name="T23" fmla="*/ 29 w 2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10">
                  <a:moveTo>
                    <a:pt x="0" y="10"/>
                  </a:moveTo>
                  <a:lnTo>
                    <a:pt x="10" y="0"/>
                  </a:lnTo>
                  <a:lnTo>
                    <a:pt x="29" y="10"/>
                  </a:lnTo>
                  <a:lnTo>
                    <a:pt x="10" y="10"/>
                  </a:lnTo>
                  <a:lnTo>
                    <a:pt x="0" y="1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13" name="Freeform 505">
              <a:extLst>
                <a:ext uri="{FF2B5EF4-FFF2-40B4-BE49-F238E27FC236}">
                  <a16:creationId xmlns:a16="http://schemas.microsoft.com/office/drawing/2014/main" id="{A985E6C1-A4BC-4943-8EC7-F8AE87CD435A}"/>
                </a:ext>
              </a:extLst>
            </p:cNvPr>
            <p:cNvSpPr>
              <a:spLocks/>
            </p:cNvSpPr>
            <p:nvPr/>
          </p:nvSpPr>
          <p:spPr bwMode="gray">
            <a:xfrm>
              <a:off x="1667" y="2595"/>
              <a:ext cx="39" cy="29"/>
            </a:xfrm>
            <a:custGeom>
              <a:avLst/>
              <a:gdLst>
                <a:gd name="T0" fmla="*/ 39 w 39"/>
                <a:gd name="T1" fmla="*/ 19 h 29"/>
                <a:gd name="T2" fmla="*/ 39 w 39"/>
                <a:gd name="T3" fmla="*/ 0 h 29"/>
                <a:gd name="T4" fmla="*/ 19 w 39"/>
                <a:gd name="T5" fmla="*/ 0 h 29"/>
                <a:gd name="T6" fmla="*/ 19 w 39"/>
                <a:gd name="T7" fmla="*/ 0 h 29"/>
                <a:gd name="T8" fmla="*/ 10 w 39"/>
                <a:gd name="T9" fmla="*/ 0 h 29"/>
                <a:gd name="T10" fmla="*/ 10 w 39"/>
                <a:gd name="T11" fmla="*/ 10 h 29"/>
                <a:gd name="T12" fmla="*/ 19 w 39"/>
                <a:gd name="T13" fmla="*/ 10 h 29"/>
                <a:gd name="T14" fmla="*/ 19 w 39"/>
                <a:gd name="T15" fmla="*/ 10 h 29"/>
                <a:gd name="T16" fmla="*/ 19 w 39"/>
                <a:gd name="T17" fmla="*/ 19 h 29"/>
                <a:gd name="T18" fmla="*/ 19 w 39"/>
                <a:gd name="T19" fmla="*/ 19 h 29"/>
                <a:gd name="T20" fmla="*/ 10 w 39"/>
                <a:gd name="T21" fmla="*/ 19 h 29"/>
                <a:gd name="T22" fmla="*/ 0 w 39"/>
                <a:gd name="T23" fmla="*/ 19 h 29"/>
                <a:gd name="T24" fmla="*/ 0 w 39"/>
                <a:gd name="T25" fmla="*/ 19 h 29"/>
                <a:gd name="T26" fmla="*/ 10 w 39"/>
                <a:gd name="T27" fmla="*/ 29 h 29"/>
                <a:gd name="T28" fmla="*/ 19 w 39"/>
                <a:gd name="T29" fmla="*/ 29 h 29"/>
                <a:gd name="T30" fmla="*/ 29 w 39"/>
                <a:gd name="T31" fmla="*/ 29 h 29"/>
                <a:gd name="T32" fmla="*/ 39 w 39"/>
                <a:gd name="T33" fmla="*/ 19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
                <a:gd name="T52" fmla="*/ 0 h 29"/>
                <a:gd name="T53" fmla="*/ 39 w 39"/>
                <a:gd name="T54" fmla="*/ 29 h 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 h="29">
                  <a:moveTo>
                    <a:pt x="39" y="19"/>
                  </a:moveTo>
                  <a:lnTo>
                    <a:pt x="39" y="0"/>
                  </a:lnTo>
                  <a:lnTo>
                    <a:pt x="19" y="0"/>
                  </a:lnTo>
                  <a:lnTo>
                    <a:pt x="10" y="0"/>
                  </a:lnTo>
                  <a:lnTo>
                    <a:pt x="10" y="10"/>
                  </a:lnTo>
                  <a:lnTo>
                    <a:pt x="19" y="10"/>
                  </a:lnTo>
                  <a:lnTo>
                    <a:pt x="19" y="19"/>
                  </a:lnTo>
                  <a:lnTo>
                    <a:pt x="10" y="19"/>
                  </a:lnTo>
                  <a:lnTo>
                    <a:pt x="0" y="19"/>
                  </a:lnTo>
                  <a:lnTo>
                    <a:pt x="10" y="29"/>
                  </a:lnTo>
                  <a:lnTo>
                    <a:pt x="19" y="29"/>
                  </a:lnTo>
                  <a:lnTo>
                    <a:pt x="29" y="29"/>
                  </a:lnTo>
                  <a:lnTo>
                    <a:pt x="39"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14" name="Freeform 506">
              <a:extLst>
                <a:ext uri="{FF2B5EF4-FFF2-40B4-BE49-F238E27FC236}">
                  <a16:creationId xmlns:a16="http://schemas.microsoft.com/office/drawing/2014/main" id="{6017B92A-927C-4E87-85C4-8270AFF0A98A}"/>
                </a:ext>
              </a:extLst>
            </p:cNvPr>
            <p:cNvSpPr>
              <a:spLocks/>
            </p:cNvSpPr>
            <p:nvPr/>
          </p:nvSpPr>
          <p:spPr bwMode="gray">
            <a:xfrm>
              <a:off x="1696" y="2595"/>
              <a:ext cx="57" cy="29"/>
            </a:xfrm>
            <a:custGeom>
              <a:avLst/>
              <a:gdLst>
                <a:gd name="T0" fmla="*/ 10 w 57"/>
                <a:gd name="T1" fmla="*/ 19 h 29"/>
                <a:gd name="T2" fmla="*/ 0 w 57"/>
                <a:gd name="T3" fmla="*/ 29 h 29"/>
                <a:gd name="T4" fmla="*/ 0 w 57"/>
                <a:gd name="T5" fmla="*/ 29 h 29"/>
                <a:gd name="T6" fmla="*/ 10 w 57"/>
                <a:gd name="T7" fmla="*/ 29 h 29"/>
                <a:gd name="T8" fmla="*/ 19 w 57"/>
                <a:gd name="T9" fmla="*/ 29 h 29"/>
                <a:gd name="T10" fmla="*/ 19 w 57"/>
                <a:gd name="T11" fmla="*/ 19 h 29"/>
                <a:gd name="T12" fmla="*/ 29 w 57"/>
                <a:gd name="T13" fmla="*/ 19 h 29"/>
                <a:gd name="T14" fmla="*/ 38 w 57"/>
                <a:gd name="T15" fmla="*/ 19 h 29"/>
                <a:gd name="T16" fmla="*/ 48 w 57"/>
                <a:gd name="T17" fmla="*/ 29 h 29"/>
                <a:gd name="T18" fmla="*/ 57 w 57"/>
                <a:gd name="T19" fmla="*/ 19 h 29"/>
                <a:gd name="T20" fmla="*/ 48 w 57"/>
                <a:gd name="T21" fmla="*/ 19 h 29"/>
                <a:gd name="T22" fmla="*/ 38 w 57"/>
                <a:gd name="T23" fmla="*/ 10 h 29"/>
                <a:gd name="T24" fmla="*/ 38 w 57"/>
                <a:gd name="T25" fmla="*/ 10 h 29"/>
                <a:gd name="T26" fmla="*/ 19 w 57"/>
                <a:gd name="T27" fmla="*/ 0 h 29"/>
                <a:gd name="T28" fmla="*/ 10 w 57"/>
                <a:gd name="T29" fmla="*/ 0 h 29"/>
                <a:gd name="T30" fmla="*/ 10 w 57"/>
                <a:gd name="T31" fmla="*/ 0 h 29"/>
                <a:gd name="T32" fmla="*/ 10 w 57"/>
                <a:gd name="T33" fmla="*/ 19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7"/>
                <a:gd name="T52" fmla="*/ 0 h 29"/>
                <a:gd name="T53" fmla="*/ 57 w 57"/>
                <a:gd name="T54" fmla="*/ 29 h 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7" h="29">
                  <a:moveTo>
                    <a:pt x="10" y="19"/>
                  </a:moveTo>
                  <a:lnTo>
                    <a:pt x="0" y="29"/>
                  </a:lnTo>
                  <a:lnTo>
                    <a:pt x="10" y="29"/>
                  </a:lnTo>
                  <a:lnTo>
                    <a:pt x="19" y="29"/>
                  </a:lnTo>
                  <a:lnTo>
                    <a:pt x="19" y="19"/>
                  </a:lnTo>
                  <a:lnTo>
                    <a:pt x="29" y="19"/>
                  </a:lnTo>
                  <a:lnTo>
                    <a:pt x="38" y="19"/>
                  </a:lnTo>
                  <a:lnTo>
                    <a:pt x="48" y="29"/>
                  </a:lnTo>
                  <a:lnTo>
                    <a:pt x="57" y="19"/>
                  </a:lnTo>
                  <a:lnTo>
                    <a:pt x="48" y="19"/>
                  </a:lnTo>
                  <a:lnTo>
                    <a:pt x="38" y="10"/>
                  </a:lnTo>
                  <a:lnTo>
                    <a:pt x="19" y="0"/>
                  </a:lnTo>
                  <a:lnTo>
                    <a:pt x="10" y="0"/>
                  </a:lnTo>
                  <a:lnTo>
                    <a:pt x="10"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15" name="Freeform 507">
              <a:extLst>
                <a:ext uri="{FF2B5EF4-FFF2-40B4-BE49-F238E27FC236}">
                  <a16:creationId xmlns:a16="http://schemas.microsoft.com/office/drawing/2014/main" id="{4E7EB3B0-CFF2-4777-811C-7CA3C1B735FB}"/>
                </a:ext>
              </a:extLst>
            </p:cNvPr>
            <p:cNvSpPr>
              <a:spLocks/>
            </p:cNvSpPr>
            <p:nvPr/>
          </p:nvSpPr>
          <p:spPr bwMode="gray">
            <a:xfrm>
              <a:off x="1448" y="2614"/>
              <a:ext cx="19" cy="38"/>
            </a:xfrm>
            <a:custGeom>
              <a:avLst/>
              <a:gdLst>
                <a:gd name="T0" fmla="*/ 10 w 19"/>
                <a:gd name="T1" fmla="*/ 38 h 38"/>
                <a:gd name="T2" fmla="*/ 0 w 19"/>
                <a:gd name="T3" fmla="*/ 29 h 38"/>
                <a:gd name="T4" fmla="*/ 0 w 19"/>
                <a:gd name="T5" fmla="*/ 10 h 38"/>
                <a:gd name="T6" fmla="*/ 10 w 19"/>
                <a:gd name="T7" fmla="*/ 0 h 38"/>
                <a:gd name="T8" fmla="*/ 19 w 19"/>
                <a:gd name="T9" fmla="*/ 0 h 38"/>
                <a:gd name="T10" fmla="*/ 19 w 19"/>
                <a:gd name="T11" fmla="*/ 10 h 38"/>
                <a:gd name="T12" fmla="*/ 19 w 19"/>
                <a:gd name="T13" fmla="*/ 19 h 38"/>
                <a:gd name="T14" fmla="*/ 10 w 19"/>
                <a:gd name="T15" fmla="*/ 38 h 38"/>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38"/>
                <a:gd name="T26" fmla="*/ 19 w 19"/>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38">
                  <a:moveTo>
                    <a:pt x="10" y="38"/>
                  </a:moveTo>
                  <a:lnTo>
                    <a:pt x="0" y="29"/>
                  </a:lnTo>
                  <a:lnTo>
                    <a:pt x="0" y="10"/>
                  </a:lnTo>
                  <a:lnTo>
                    <a:pt x="10" y="0"/>
                  </a:lnTo>
                  <a:lnTo>
                    <a:pt x="19" y="0"/>
                  </a:lnTo>
                  <a:lnTo>
                    <a:pt x="19" y="10"/>
                  </a:lnTo>
                  <a:lnTo>
                    <a:pt x="19" y="19"/>
                  </a:lnTo>
                  <a:lnTo>
                    <a:pt x="10"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16" name="Freeform 508">
              <a:extLst>
                <a:ext uri="{FF2B5EF4-FFF2-40B4-BE49-F238E27FC236}">
                  <a16:creationId xmlns:a16="http://schemas.microsoft.com/office/drawing/2014/main" id="{894ED6A5-7190-476F-8AB3-608FACEB0FDF}"/>
                </a:ext>
              </a:extLst>
            </p:cNvPr>
            <p:cNvSpPr>
              <a:spLocks/>
            </p:cNvSpPr>
            <p:nvPr/>
          </p:nvSpPr>
          <p:spPr bwMode="gray">
            <a:xfrm>
              <a:off x="1906" y="2786"/>
              <a:ext cx="57" cy="57"/>
            </a:xfrm>
            <a:custGeom>
              <a:avLst/>
              <a:gdLst>
                <a:gd name="T0" fmla="*/ 9 w 57"/>
                <a:gd name="T1" fmla="*/ 57 h 57"/>
                <a:gd name="T2" fmla="*/ 9 w 57"/>
                <a:gd name="T3" fmla="*/ 38 h 57"/>
                <a:gd name="T4" fmla="*/ 0 w 57"/>
                <a:gd name="T5" fmla="*/ 38 h 57"/>
                <a:gd name="T6" fmla="*/ 0 w 57"/>
                <a:gd name="T7" fmla="*/ 29 h 57"/>
                <a:gd name="T8" fmla="*/ 9 w 57"/>
                <a:gd name="T9" fmla="*/ 19 h 57"/>
                <a:gd name="T10" fmla="*/ 9 w 57"/>
                <a:gd name="T11" fmla="*/ 0 h 57"/>
                <a:gd name="T12" fmla="*/ 19 w 57"/>
                <a:gd name="T13" fmla="*/ 0 h 57"/>
                <a:gd name="T14" fmla="*/ 47 w 57"/>
                <a:gd name="T15" fmla="*/ 0 h 57"/>
                <a:gd name="T16" fmla="*/ 57 w 57"/>
                <a:gd name="T17" fmla="*/ 10 h 57"/>
                <a:gd name="T18" fmla="*/ 57 w 57"/>
                <a:gd name="T19" fmla="*/ 10 h 57"/>
                <a:gd name="T20" fmla="*/ 47 w 57"/>
                <a:gd name="T21" fmla="*/ 10 h 57"/>
                <a:gd name="T22" fmla="*/ 47 w 57"/>
                <a:gd name="T23" fmla="*/ 29 h 57"/>
                <a:gd name="T24" fmla="*/ 57 w 57"/>
                <a:gd name="T25" fmla="*/ 38 h 57"/>
                <a:gd name="T26" fmla="*/ 47 w 57"/>
                <a:gd name="T27" fmla="*/ 57 h 57"/>
                <a:gd name="T28" fmla="*/ 38 w 57"/>
                <a:gd name="T29" fmla="*/ 57 h 57"/>
                <a:gd name="T30" fmla="*/ 28 w 57"/>
                <a:gd name="T31" fmla="*/ 48 h 57"/>
                <a:gd name="T32" fmla="*/ 28 w 57"/>
                <a:gd name="T33" fmla="*/ 48 h 57"/>
                <a:gd name="T34" fmla="*/ 28 w 57"/>
                <a:gd name="T35" fmla="*/ 57 h 57"/>
                <a:gd name="T36" fmla="*/ 9 w 57"/>
                <a:gd name="T37" fmla="*/ 57 h 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57"/>
                <a:gd name="T59" fmla="*/ 57 w 57"/>
                <a:gd name="T60" fmla="*/ 57 h 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57">
                  <a:moveTo>
                    <a:pt x="9" y="57"/>
                  </a:moveTo>
                  <a:lnTo>
                    <a:pt x="9" y="38"/>
                  </a:lnTo>
                  <a:lnTo>
                    <a:pt x="0" y="38"/>
                  </a:lnTo>
                  <a:lnTo>
                    <a:pt x="0" y="29"/>
                  </a:lnTo>
                  <a:lnTo>
                    <a:pt x="9" y="19"/>
                  </a:lnTo>
                  <a:lnTo>
                    <a:pt x="9" y="0"/>
                  </a:lnTo>
                  <a:lnTo>
                    <a:pt x="19" y="0"/>
                  </a:lnTo>
                  <a:lnTo>
                    <a:pt x="47" y="0"/>
                  </a:lnTo>
                  <a:lnTo>
                    <a:pt x="57" y="10"/>
                  </a:lnTo>
                  <a:lnTo>
                    <a:pt x="47" y="10"/>
                  </a:lnTo>
                  <a:lnTo>
                    <a:pt x="47" y="29"/>
                  </a:lnTo>
                  <a:lnTo>
                    <a:pt x="57" y="38"/>
                  </a:lnTo>
                  <a:lnTo>
                    <a:pt x="47" y="57"/>
                  </a:lnTo>
                  <a:lnTo>
                    <a:pt x="38" y="57"/>
                  </a:lnTo>
                  <a:lnTo>
                    <a:pt x="28" y="48"/>
                  </a:lnTo>
                  <a:lnTo>
                    <a:pt x="28" y="57"/>
                  </a:lnTo>
                  <a:lnTo>
                    <a:pt x="9" y="5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17" name="Freeform 509">
              <a:extLst>
                <a:ext uri="{FF2B5EF4-FFF2-40B4-BE49-F238E27FC236}">
                  <a16:creationId xmlns:a16="http://schemas.microsoft.com/office/drawing/2014/main" id="{63A5FC5C-EC45-4EA8-8AAB-5D71949D3652}"/>
                </a:ext>
              </a:extLst>
            </p:cNvPr>
            <p:cNvSpPr>
              <a:spLocks/>
            </p:cNvSpPr>
            <p:nvPr/>
          </p:nvSpPr>
          <p:spPr bwMode="gray">
            <a:xfrm>
              <a:off x="1953" y="2796"/>
              <a:ext cx="48" cy="47"/>
            </a:xfrm>
            <a:custGeom>
              <a:avLst/>
              <a:gdLst>
                <a:gd name="T0" fmla="*/ 0 w 48"/>
                <a:gd name="T1" fmla="*/ 38 h 47"/>
                <a:gd name="T2" fmla="*/ 10 w 48"/>
                <a:gd name="T3" fmla="*/ 28 h 47"/>
                <a:gd name="T4" fmla="*/ 0 w 48"/>
                <a:gd name="T5" fmla="*/ 19 h 47"/>
                <a:gd name="T6" fmla="*/ 10 w 48"/>
                <a:gd name="T7" fmla="*/ 0 h 47"/>
                <a:gd name="T8" fmla="*/ 10 w 48"/>
                <a:gd name="T9" fmla="*/ 0 h 47"/>
                <a:gd name="T10" fmla="*/ 10 w 48"/>
                <a:gd name="T11" fmla="*/ 0 h 47"/>
                <a:gd name="T12" fmla="*/ 19 w 48"/>
                <a:gd name="T13" fmla="*/ 0 h 47"/>
                <a:gd name="T14" fmla="*/ 29 w 48"/>
                <a:gd name="T15" fmla="*/ 0 h 47"/>
                <a:gd name="T16" fmla="*/ 48 w 48"/>
                <a:gd name="T17" fmla="*/ 9 h 47"/>
                <a:gd name="T18" fmla="*/ 38 w 48"/>
                <a:gd name="T19" fmla="*/ 28 h 47"/>
                <a:gd name="T20" fmla="*/ 38 w 48"/>
                <a:gd name="T21" fmla="*/ 38 h 47"/>
                <a:gd name="T22" fmla="*/ 29 w 48"/>
                <a:gd name="T23" fmla="*/ 47 h 47"/>
                <a:gd name="T24" fmla="*/ 10 w 48"/>
                <a:gd name="T25" fmla="*/ 47 h 47"/>
                <a:gd name="T26" fmla="*/ 0 w 48"/>
                <a:gd name="T27" fmla="*/ 38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8"/>
                <a:gd name="T43" fmla="*/ 0 h 47"/>
                <a:gd name="T44" fmla="*/ 48 w 48"/>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8" h="47">
                  <a:moveTo>
                    <a:pt x="0" y="38"/>
                  </a:moveTo>
                  <a:lnTo>
                    <a:pt x="10" y="28"/>
                  </a:lnTo>
                  <a:lnTo>
                    <a:pt x="0" y="19"/>
                  </a:lnTo>
                  <a:lnTo>
                    <a:pt x="10" y="0"/>
                  </a:lnTo>
                  <a:lnTo>
                    <a:pt x="19" y="0"/>
                  </a:lnTo>
                  <a:lnTo>
                    <a:pt x="29" y="0"/>
                  </a:lnTo>
                  <a:lnTo>
                    <a:pt x="48" y="9"/>
                  </a:lnTo>
                  <a:lnTo>
                    <a:pt x="38" y="28"/>
                  </a:lnTo>
                  <a:lnTo>
                    <a:pt x="38" y="38"/>
                  </a:lnTo>
                  <a:lnTo>
                    <a:pt x="29" y="47"/>
                  </a:lnTo>
                  <a:lnTo>
                    <a:pt x="10" y="47"/>
                  </a:lnTo>
                  <a:lnTo>
                    <a:pt x="0" y="38"/>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18" name="Freeform 510">
              <a:extLst>
                <a:ext uri="{FF2B5EF4-FFF2-40B4-BE49-F238E27FC236}">
                  <a16:creationId xmlns:a16="http://schemas.microsoft.com/office/drawing/2014/main" id="{F3951300-A417-41BE-997C-D37D474013D0}"/>
                </a:ext>
              </a:extLst>
            </p:cNvPr>
            <p:cNvSpPr>
              <a:spLocks/>
            </p:cNvSpPr>
            <p:nvPr/>
          </p:nvSpPr>
          <p:spPr bwMode="gray">
            <a:xfrm>
              <a:off x="1858" y="2757"/>
              <a:ext cx="57" cy="96"/>
            </a:xfrm>
            <a:custGeom>
              <a:avLst/>
              <a:gdLst>
                <a:gd name="T0" fmla="*/ 19 w 57"/>
                <a:gd name="T1" fmla="*/ 0 h 96"/>
                <a:gd name="T2" fmla="*/ 19 w 57"/>
                <a:gd name="T3" fmla="*/ 10 h 96"/>
                <a:gd name="T4" fmla="*/ 10 w 57"/>
                <a:gd name="T5" fmla="*/ 10 h 96"/>
                <a:gd name="T6" fmla="*/ 10 w 57"/>
                <a:gd name="T7" fmla="*/ 19 h 96"/>
                <a:gd name="T8" fmla="*/ 10 w 57"/>
                <a:gd name="T9" fmla="*/ 19 h 96"/>
                <a:gd name="T10" fmla="*/ 10 w 57"/>
                <a:gd name="T11" fmla="*/ 19 h 96"/>
                <a:gd name="T12" fmla="*/ 0 w 57"/>
                <a:gd name="T13" fmla="*/ 19 h 96"/>
                <a:gd name="T14" fmla="*/ 0 w 57"/>
                <a:gd name="T15" fmla="*/ 29 h 96"/>
                <a:gd name="T16" fmla="*/ 0 w 57"/>
                <a:gd name="T17" fmla="*/ 39 h 96"/>
                <a:gd name="T18" fmla="*/ 0 w 57"/>
                <a:gd name="T19" fmla="*/ 39 h 96"/>
                <a:gd name="T20" fmla="*/ 10 w 57"/>
                <a:gd name="T21" fmla="*/ 39 h 96"/>
                <a:gd name="T22" fmla="*/ 19 w 57"/>
                <a:gd name="T23" fmla="*/ 48 h 96"/>
                <a:gd name="T24" fmla="*/ 19 w 57"/>
                <a:gd name="T25" fmla="*/ 58 h 96"/>
                <a:gd name="T26" fmla="*/ 19 w 57"/>
                <a:gd name="T27" fmla="*/ 77 h 96"/>
                <a:gd name="T28" fmla="*/ 19 w 57"/>
                <a:gd name="T29" fmla="*/ 86 h 96"/>
                <a:gd name="T30" fmla="*/ 29 w 57"/>
                <a:gd name="T31" fmla="*/ 96 h 96"/>
                <a:gd name="T32" fmla="*/ 38 w 57"/>
                <a:gd name="T33" fmla="*/ 96 h 96"/>
                <a:gd name="T34" fmla="*/ 48 w 57"/>
                <a:gd name="T35" fmla="*/ 96 h 96"/>
                <a:gd name="T36" fmla="*/ 48 w 57"/>
                <a:gd name="T37" fmla="*/ 86 h 96"/>
                <a:gd name="T38" fmla="*/ 57 w 57"/>
                <a:gd name="T39" fmla="*/ 86 h 96"/>
                <a:gd name="T40" fmla="*/ 57 w 57"/>
                <a:gd name="T41" fmla="*/ 86 h 96"/>
                <a:gd name="T42" fmla="*/ 57 w 57"/>
                <a:gd name="T43" fmla="*/ 67 h 96"/>
                <a:gd name="T44" fmla="*/ 48 w 57"/>
                <a:gd name="T45" fmla="*/ 67 h 96"/>
                <a:gd name="T46" fmla="*/ 48 w 57"/>
                <a:gd name="T47" fmla="*/ 58 h 96"/>
                <a:gd name="T48" fmla="*/ 57 w 57"/>
                <a:gd name="T49" fmla="*/ 48 h 96"/>
                <a:gd name="T50" fmla="*/ 57 w 57"/>
                <a:gd name="T51" fmla="*/ 29 h 96"/>
                <a:gd name="T52" fmla="*/ 57 w 57"/>
                <a:gd name="T53" fmla="*/ 29 h 96"/>
                <a:gd name="T54" fmla="*/ 48 w 57"/>
                <a:gd name="T55" fmla="*/ 19 h 96"/>
                <a:gd name="T56" fmla="*/ 38 w 57"/>
                <a:gd name="T57" fmla="*/ 19 h 96"/>
                <a:gd name="T58" fmla="*/ 38 w 57"/>
                <a:gd name="T59" fmla="*/ 10 h 96"/>
                <a:gd name="T60" fmla="*/ 29 w 57"/>
                <a:gd name="T61" fmla="*/ 0 h 96"/>
                <a:gd name="T62" fmla="*/ 19 w 57"/>
                <a:gd name="T63" fmla="*/ 0 h 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7"/>
                <a:gd name="T97" fmla="*/ 0 h 96"/>
                <a:gd name="T98" fmla="*/ 57 w 57"/>
                <a:gd name="T99" fmla="*/ 96 h 9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7" h="96">
                  <a:moveTo>
                    <a:pt x="19" y="0"/>
                  </a:moveTo>
                  <a:lnTo>
                    <a:pt x="19" y="10"/>
                  </a:lnTo>
                  <a:lnTo>
                    <a:pt x="10" y="10"/>
                  </a:lnTo>
                  <a:lnTo>
                    <a:pt x="10" y="19"/>
                  </a:lnTo>
                  <a:lnTo>
                    <a:pt x="0" y="19"/>
                  </a:lnTo>
                  <a:lnTo>
                    <a:pt x="0" y="29"/>
                  </a:lnTo>
                  <a:lnTo>
                    <a:pt x="0" y="39"/>
                  </a:lnTo>
                  <a:lnTo>
                    <a:pt x="10" y="39"/>
                  </a:lnTo>
                  <a:lnTo>
                    <a:pt x="19" y="48"/>
                  </a:lnTo>
                  <a:lnTo>
                    <a:pt x="19" y="58"/>
                  </a:lnTo>
                  <a:lnTo>
                    <a:pt x="19" y="77"/>
                  </a:lnTo>
                  <a:lnTo>
                    <a:pt x="19" y="86"/>
                  </a:lnTo>
                  <a:lnTo>
                    <a:pt x="29" y="96"/>
                  </a:lnTo>
                  <a:lnTo>
                    <a:pt x="38" y="96"/>
                  </a:lnTo>
                  <a:lnTo>
                    <a:pt x="48" y="96"/>
                  </a:lnTo>
                  <a:lnTo>
                    <a:pt x="48" y="86"/>
                  </a:lnTo>
                  <a:lnTo>
                    <a:pt x="57" y="86"/>
                  </a:lnTo>
                  <a:lnTo>
                    <a:pt x="57" y="67"/>
                  </a:lnTo>
                  <a:lnTo>
                    <a:pt x="48" y="67"/>
                  </a:lnTo>
                  <a:lnTo>
                    <a:pt x="48" y="58"/>
                  </a:lnTo>
                  <a:lnTo>
                    <a:pt x="57" y="48"/>
                  </a:lnTo>
                  <a:lnTo>
                    <a:pt x="57" y="29"/>
                  </a:lnTo>
                  <a:lnTo>
                    <a:pt x="48" y="19"/>
                  </a:lnTo>
                  <a:lnTo>
                    <a:pt x="38" y="19"/>
                  </a:lnTo>
                  <a:lnTo>
                    <a:pt x="38" y="10"/>
                  </a:lnTo>
                  <a:lnTo>
                    <a:pt x="29" y="0"/>
                  </a:lnTo>
                  <a:lnTo>
                    <a:pt x="19" y="0"/>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19" name="Freeform 511">
              <a:extLst>
                <a:ext uri="{FF2B5EF4-FFF2-40B4-BE49-F238E27FC236}">
                  <a16:creationId xmlns:a16="http://schemas.microsoft.com/office/drawing/2014/main" id="{99CD864C-97BC-4896-8B66-449F71FB9483}"/>
                </a:ext>
              </a:extLst>
            </p:cNvPr>
            <p:cNvSpPr>
              <a:spLocks/>
            </p:cNvSpPr>
            <p:nvPr/>
          </p:nvSpPr>
          <p:spPr bwMode="gray">
            <a:xfrm>
              <a:off x="1896" y="3292"/>
              <a:ext cx="76" cy="86"/>
            </a:xfrm>
            <a:custGeom>
              <a:avLst/>
              <a:gdLst>
                <a:gd name="T0" fmla="*/ 76 w 76"/>
                <a:gd name="T1" fmla="*/ 57 h 86"/>
                <a:gd name="T2" fmla="*/ 76 w 76"/>
                <a:gd name="T3" fmla="*/ 57 h 86"/>
                <a:gd name="T4" fmla="*/ 67 w 76"/>
                <a:gd name="T5" fmla="*/ 67 h 86"/>
                <a:gd name="T6" fmla="*/ 67 w 76"/>
                <a:gd name="T7" fmla="*/ 76 h 86"/>
                <a:gd name="T8" fmla="*/ 57 w 76"/>
                <a:gd name="T9" fmla="*/ 86 h 86"/>
                <a:gd name="T10" fmla="*/ 48 w 76"/>
                <a:gd name="T11" fmla="*/ 86 h 86"/>
                <a:gd name="T12" fmla="*/ 38 w 76"/>
                <a:gd name="T13" fmla="*/ 76 h 86"/>
                <a:gd name="T14" fmla="*/ 29 w 76"/>
                <a:gd name="T15" fmla="*/ 76 h 86"/>
                <a:gd name="T16" fmla="*/ 19 w 76"/>
                <a:gd name="T17" fmla="*/ 76 h 86"/>
                <a:gd name="T18" fmla="*/ 10 w 76"/>
                <a:gd name="T19" fmla="*/ 67 h 86"/>
                <a:gd name="T20" fmla="*/ 0 w 76"/>
                <a:gd name="T21" fmla="*/ 67 h 86"/>
                <a:gd name="T22" fmla="*/ 0 w 76"/>
                <a:gd name="T23" fmla="*/ 57 h 86"/>
                <a:gd name="T24" fmla="*/ 10 w 76"/>
                <a:gd name="T25" fmla="*/ 48 h 86"/>
                <a:gd name="T26" fmla="*/ 10 w 76"/>
                <a:gd name="T27" fmla="*/ 19 h 86"/>
                <a:gd name="T28" fmla="*/ 10 w 76"/>
                <a:gd name="T29" fmla="*/ 19 h 86"/>
                <a:gd name="T30" fmla="*/ 19 w 76"/>
                <a:gd name="T31" fmla="*/ 0 h 86"/>
                <a:gd name="T32" fmla="*/ 19 w 76"/>
                <a:gd name="T33" fmla="*/ 9 h 86"/>
                <a:gd name="T34" fmla="*/ 29 w 76"/>
                <a:gd name="T35" fmla="*/ 19 h 86"/>
                <a:gd name="T36" fmla="*/ 48 w 76"/>
                <a:gd name="T37" fmla="*/ 19 h 86"/>
                <a:gd name="T38" fmla="*/ 48 w 76"/>
                <a:gd name="T39" fmla="*/ 19 h 86"/>
                <a:gd name="T40" fmla="*/ 57 w 76"/>
                <a:gd name="T41" fmla="*/ 28 h 86"/>
                <a:gd name="T42" fmla="*/ 67 w 76"/>
                <a:gd name="T43" fmla="*/ 38 h 86"/>
                <a:gd name="T44" fmla="*/ 67 w 76"/>
                <a:gd name="T45" fmla="*/ 38 h 86"/>
                <a:gd name="T46" fmla="*/ 76 w 76"/>
                <a:gd name="T47" fmla="*/ 48 h 86"/>
                <a:gd name="T48" fmla="*/ 76 w 76"/>
                <a:gd name="T49" fmla="*/ 57 h 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6"/>
                <a:gd name="T76" fmla="*/ 0 h 86"/>
                <a:gd name="T77" fmla="*/ 76 w 76"/>
                <a:gd name="T78" fmla="*/ 86 h 8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6" h="86">
                  <a:moveTo>
                    <a:pt x="76" y="57"/>
                  </a:moveTo>
                  <a:lnTo>
                    <a:pt x="76" y="57"/>
                  </a:lnTo>
                  <a:lnTo>
                    <a:pt x="67" y="67"/>
                  </a:lnTo>
                  <a:lnTo>
                    <a:pt x="67" y="76"/>
                  </a:lnTo>
                  <a:lnTo>
                    <a:pt x="57" y="86"/>
                  </a:lnTo>
                  <a:lnTo>
                    <a:pt x="48" y="86"/>
                  </a:lnTo>
                  <a:lnTo>
                    <a:pt x="38" y="76"/>
                  </a:lnTo>
                  <a:lnTo>
                    <a:pt x="29" y="76"/>
                  </a:lnTo>
                  <a:lnTo>
                    <a:pt x="19" y="76"/>
                  </a:lnTo>
                  <a:lnTo>
                    <a:pt x="10" y="67"/>
                  </a:lnTo>
                  <a:lnTo>
                    <a:pt x="0" y="67"/>
                  </a:lnTo>
                  <a:lnTo>
                    <a:pt x="0" y="57"/>
                  </a:lnTo>
                  <a:lnTo>
                    <a:pt x="10" y="48"/>
                  </a:lnTo>
                  <a:lnTo>
                    <a:pt x="10" y="19"/>
                  </a:lnTo>
                  <a:lnTo>
                    <a:pt x="19" y="0"/>
                  </a:lnTo>
                  <a:lnTo>
                    <a:pt x="19" y="9"/>
                  </a:lnTo>
                  <a:lnTo>
                    <a:pt x="29" y="19"/>
                  </a:lnTo>
                  <a:lnTo>
                    <a:pt x="48" y="19"/>
                  </a:lnTo>
                  <a:lnTo>
                    <a:pt x="57" y="28"/>
                  </a:lnTo>
                  <a:lnTo>
                    <a:pt x="67" y="38"/>
                  </a:lnTo>
                  <a:lnTo>
                    <a:pt x="76" y="48"/>
                  </a:lnTo>
                  <a:lnTo>
                    <a:pt x="76" y="57"/>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sp>
          <p:nvSpPr>
            <p:cNvPr id="520" name="Freeform 512">
              <a:extLst>
                <a:ext uri="{FF2B5EF4-FFF2-40B4-BE49-F238E27FC236}">
                  <a16:creationId xmlns:a16="http://schemas.microsoft.com/office/drawing/2014/main" id="{8E90AB1C-7AFE-4AB9-958C-9BEA31AC3BBF}"/>
                </a:ext>
              </a:extLst>
            </p:cNvPr>
            <p:cNvSpPr>
              <a:spLocks/>
            </p:cNvSpPr>
            <p:nvPr/>
          </p:nvSpPr>
          <p:spPr bwMode="gray">
            <a:xfrm>
              <a:off x="2011" y="3177"/>
              <a:ext cx="47" cy="38"/>
            </a:xfrm>
            <a:custGeom>
              <a:avLst/>
              <a:gdLst>
                <a:gd name="T0" fmla="*/ 47 w 47"/>
                <a:gd name="T1" fmla="*/ 19 h 38"/>
                <a:gd name="T2" fmla="*/ 19 w 47"/>
                <a:gd name="T3" fmla="*/ 38 h 38"/>
                <a:gd name="T4" fmla="*/ 0 w 47"/>
                <a:gd name="T5" fmla="*/ 19 h 38"/>
                <a:gd name="T6" fmla="*/ 19 w 47"/>
                <a:gd name="T7" fmla="*/ 0 h 38"/>
                <a:gd name="T8" fmla="*/ 47 w 47"/>
                <a:gd name="T9" fmla="*/ 19 h 38"/>
                <a:gd name="T10" fmla="*/ 0 60000 65536"/>
                <a:gd name="T11" fmla="*/ 0 60000 65536"/>
                <a:gd name="T12" fmla="*/ 0 60000 65536"/>
                <a:gd name="T13" fmla="*/ 0 60000 65536"/>
                <a:gd name="T14" fmla="*/ 0 60000 65536"/>
                <a:gd name="T15" fmla="*/ 0 w 47"/>
                <a:gd name="T16" fmla="*/ 0 h 38"/>
                <a:gd name="T17" fmla="*/ 47 w 47"/>
                <a:gd name="T18" fmla="*/ 38 h 38"/>
              </a:gdLst>
              <a:ahLst/>
              <a:cxnLst>
                <a:cxn ang="T10">
                  <a:pos x="T0" y="T1"/>
                </a:cxn>
                <a:cxn ang="T11">
                  <a:pos x="T2" y="T3"/>
                </a:cxn>
                <a:cxn ang="T12">
                  <a:pos x="T4" y="T5"/>
                </a:cxn>
                <a:cxn ang="T13">
                  <a:pos x="T6" y="T7"/>
                </a:cxn>
                <a:cxn ang="T14">
                  <a:pos x="T8" y="T9"/>
                </a:cxn>
              </a:cxnLst>
              <a:rect l="T15" t="T16" r="T17" b="T18"/>
              <a:pathLst>
                <a:path w="47" h="38">
                  <a:moveTo>
                    <a:pt x="47" y="19"/>
                  </a:moveTo>
                  <a:lnTo>
                    <a:pt x="19" y="38"/>
                  </a:lnTo>
                  <a:lnTo>
                    <a:pt x="0" y="19"/>
                  </a:lnTo>
                  <a:lnTo>
                    <a:pt x="19" y="0"/>
                  </a:lnTo>
                  <a:lnTo>
                    <a:pt x="47" y="19"/>
                  </a:lnTo>
                  <a:close/>
                </a:path>
              </a:pathLst>
            </a:custGeom>
            <a:grpFill/>
            <a:ln w="3175">
              <a:solidFill>
                <a:schemeClr val="bg1"/>
              </a:solidFill>
              <a:miter lim="800000"/>
              <a:headEnd/>
              <a:tailEnd/>
            </a:ln>
          </p:spPr>
          <p:txBody>
            <a:bodyPr wrap="none" anchor="ctr"/>
            <a:lstStyle/>
            <a:p>
              <a:pPr>
                <a:defRPr/>
              </a:pPr>
              <a:endParaRPr lang="de-DE" kern="0">
                <a:solidFill>
                  <a:sysClr val="windowText" lastClr="000000"/>
                </a:solidFill>
              </a:endParaRPr>
            </a:p>
          </p:txBody>
        </p:sp>
      </p:grpSp>
    </p:spTree>
    <p:extLst>
      <p:ext uri="{BB962C8B-B14F-4D97-AF65-F5344CB8AC3E}">
        <p14:creationId xmlns:p14="http://schemas.microsoft.com/office/powerpoint/2010/main" val="33707959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ighlight Chart">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837B619-2E58-4615-80C2-74DEBBD98F0C}"/>
              </a:ext>
            </a:extLst>
          </p:cNvPr>
          <p:cNvSpPr>
            <a:spLocks noGrp="1"/>
          </p:cNvSpPr>
          <p:nvPr>
            <p:ph type="sldNum" sz="quarter" idx="10"/>
          </p:nvPr>
        </p:nvSpPr>
        <p:spPr/>
        <p:txBody>
          <a:bodyPr/>
          <a:lstStyle>
            <a:lvl1pPr>
              <a:defRPr>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4" name="Foliennummernplatzhalter 2">
            <a:extLst>
              <a:ext uri="{FF2B5EF4-FFF2-40B4-BE49-F238E27FC236}">
                <a16:creationId xmlns:a16="http://schemas.microsoft.com/office/drawing/2014/main" id="{C2A1790A-F8AE-4E87-B3AD-166091158FC4}"/>
              </a:ext>
            </a:extLst>
          </p:cNvPr>
          <p:cNvSpPr txBox="1">
            <a:spLocks/>
          </p:cNvSpPr>
          <p:nvPr userDrawn="1"/>
        </p:nvSpPr>
        <p:spPr>
          <a:xfrm>
            <a:off x="10274459" y="6394450"/>
            <a:ext cx="781050" cy="365125"/>
          </a:xfrm>
          <a:prstGeom prst="rect">
            <a:avLst/>
          </a:prstGeom>
        </p:spPr>
        <p:txBody>
          <a:bodyPr vert="horz" lIns="91440" tIns="45720" rIns="91440" bIns="45720" rtlCol="0" anchor="ctr"/>
          <a:lstStyle>
            <a:defPPr>
              <a:defRPr lang="de-DE"/>
            </a:defPPr>
            <a:lvl1pPr marL="0" algn="r" defTabSz="914400" rtl="0" eaLnBrk="1" latinLnBrk="0" hangingPunct="1">
              <a:defRPr sz="800" kern="1200">
                <a:solidFill>
                  <a:schemeClr val="tx2"/>
                </a:solidFill>
                <a:latin typeface="M05 Text Office" panose="020B05040400000000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Seite </a:t>
            </a:r>
            <a:fld id="{A8D1AB97-F97B-4190-BD45-5A4F2F283CBD}" type="slidenum">
              <a:rPr lang="de-DE" smtClean="0"/>
              <a:pPr/>
              <a:t>‹Nr.›</a:t>
            </a:fld>
            <a:endParaRPr lang="de-DE"/>
          </a:p>
        </p:txBody>
      </p:sp>
      <p:sp>
        <p:nvSpPr>
          <p:cNvPr id="6" name="Fußzeilenplatzhalter 3">
            <a:extLst>
              <a:ext uri="{FF2B5EF4-FFF2-40B4-BE49-F238E27FC236}">
                <a16:creationId xmlns:a16="http://schemas.microsoft.com/office/drawing/2014/main" id="{DBE194F3-ED46-4B93-AF4D-BEFA5A004B05}"/>
              </a:ext>
            </a:extLst>
          </p:cNvPr>
          <p:cNvSpPr>
            <a:spLocks noGrp="1"/>
          </p:cNvSpPr>
          <p:nvPr>
            <p:ph type="ftr" sz="quarter" idx="3"/>
          </p:nvPr>
        </p:nvSpPr>
        <p:spPr>
          <a:xfrm>
            <a:off x="330201" y="6394450"/>
            <a:ext cx="8820000" cy="365125"/>
          </a:xfrm>
          <a:prstGeom prst="rect">
            <a:avLst/>
          </a:prstGeom>
        </p:spPr>
        <p:txBody>
          <a:bodyPr/>
          <a:lstStyle/>
          <a:p>
            <a:endParaRPr lang="de-DE"/>
          </a:p>
        </p:txBody>
      </p:sp>
      <p:sp>
        <p:nvSpPr>
          <p:cNvPr id="8" name="Rechteck 7">
            <a:extLst>
              <a:ext uri="{FF2B5EF4-FFF2-40B4-BE49-F238E27FC236}">
                <a16:creationId xmlns:a16="http://schemas.microsoft.com/office/drawing/2014/main" id="{33212641-F5BE-4E5C-8725-676060FDC78E}"/>
              </a:ext>
            </a:extLst>
          </p:cNvPr>
          <p:cNvSpPr/>
          <p:nvPr userDrawn="1"/>
        </p:nvSpPr>
        <p:spPr>
          <a:xfrm>
            <a:off x="0" y="0"/>
            <a:ext cx="12192000" cy="6858000"/>
          </a:xfrm>
          <a:prstGeom prst="rect">
            <a:avLst/>
          </a:prstGeom>
          <a:solidFill>
            <a:srgbClr val="E1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platzhalter 9">
            <a:extLst>
              <a:ext uri="{FF2B5EF4-FFF2-40B4-BE49-F238E27FC236}">
                <a16:creationId xmlns:a16="http://schemas.microsoft.com/office/drawing/2014/main" id="{994DA454-3BED-468E-B944-362D9AB02F70}"/>
              </a:ext>
            </a:extLst>
          </p:cNvPr>
          <p:cNvSpPr>
            <a:spLocks noGrp="1"/>
          </p:cNvSpPr>
          <p:nvPr>
            <p:ph type="body" sz="quarter" idx="11" hasCustomPrompt="1"/>
          </p:nvPr>
        </p:nvSpPr>
        <p:spPr>
          <a:xfrm>
            <a:off x="0" y="1531938"/>
            <a:ext cx="12192000" cy="1733775"/>
          </a:xfrm>
          <a:prstGeom prst="rect">
            <a:avLst/>
          </a:prstGeom>
        </p:spPr>
        <p:txBody>
          <a:bodyPr/>
          <a:lstStyle>
            <a:lvl1pPr marL="0" indent="0" algn="ctr">
              <a:buNone/>
              <a:defRPr sz="11500">
                <a:solidFill>
                  <a:schemeClr val="bg1"/>
                </a:solidFill>
                <a:latin typeface="M05 Headline Office Bold" panose="020B0804040000000001" pitchFamily="34" charset="0"/>
              </a:defRPr>
            </a:lvl1pPr>
            <a:lvl2pPr>
              <a:defRPr sz="4800">
                <a:solidFill>
                  <a:schemeClr val="bg1"/>
                </a:solidFill>
                <a:latin typeface="M05 Headline Office Bold" panose="020B0804040000000001" pitchFamily="34" charset="0"/>
              </a:defRPr>
            </a:lvl2pPr>
            <a:lvl3pPr>
              <a:defRPr sz="4400">
                <a:solidFill>
                  <a:schemeClr val="bg1"/>
                </a:solidFill>
                <a:latin typeface="M05 Headline Office Bold" panose="020B0804040000000001" pitchFamily="34" charset="0"/>
              </a:defRPr>
            </a:lvl3pPr>
            <a:lvl4pPr>
              <a:defRPr sz="4000">
                <a:solidFill>
                  <a:schemeClr val="bg1"/>
                </a:solidFill>
                <a:latin typeface="M05 Headline Office Bold" panose="020B0804040000000001" pitchFamily="34" charset="0"/>
              </a:defRPr>
            </a:lvl4pPr>
            <a:lvl5pPr>
              <a:defRPr sz="4000">
                <a:solidFill>
                  <a:schemeClr val="bg1"/>
                </a:solidFill>
                <a:latin typeface="M05 Headline Office Bold" panose="020B0804040000000001" pitchFamily="34" charset="0"/>
              </a:defRPr>
            </a:lvl5pPr>
          </a:lstStyle>
          <a:p>
            <a:pPr lvl="0"/>
            <a:r>
              <a:rPr lang="de-DE"/>
              <a:t>Header</a:t>
            </a:r>
          </a:p>
        </p:txBody>
      </p:sp>
      <p:sp>
        <p:nvSpPr>
          <p:cNvPr id="13" name="Textplatzhalter 9">
            <a:extLst>
              <a:ext uri="{FF2B5EF4-FFF2-40B4-BE49-F238E27FC236}">
                <a16:creationId xmlns:a16="http://schemas.microsoft.com/office/drawing/2014/main" id="{CF01BD17-9BC3-4A67-9229-B377390690AE}"/>
              </a:ext>
            </a:extLst>
          </p:cNvPr>
          <p:cNvSpPr>
            <a:spLocks noGrp="1"/>
          </p:cNvSpPr>
          <p:nvPr>
            <p:ph type="body" sz="quarter" idx="12" hasCustomPrompt="1"/>
          </p:nvPr>
        </p:nvSpPr>
        <p:spPr>
          <a:xfrm>
            <a:off x="0" y="3096306"/>
            <a:ext cx="12192000" cy="1733775"/>
          </a:xfrm>
          <a:prstGeom prst="rect">
            <a:avLst/>
          </a:prstGeom>
        </p:spPr>
        <p:txBody>
          <a:bodyPr/>
          <a:lstStyle>
            <a:lvl1pPr marL="0" indent="0" algn="ctr">
              <a:buNone/>
              <a:defRPr sz="6600">
                <a:solidFill>
                  <a:schemeClr val="bg1"/>
                </a:solidFill>
                <a:latin typeface="M05 Headline Office Bold" panose="020B0804040000000001" pitchFamily="34" charset="0"/>
              </a:defRPr>
            </a:lvl1pPr>
            <a:lvl2pPr>
              <a:defRPr sz="4800">
                <a:solidFill>
                  <a:schemeClr val="bg1"/>
                </a:solidFill>
                <a:latin typeface="M05 Headline Office Bold" panose="020B0804040000000001" pitchFamily="34" charset="0"/>
              </a:defRPr>
            </a:lvl2pPr>
            <a:lvl3pPr>
              <a:defRPr sz="4400">
                <a:solidFill>
                  <a:schemeClr val="bg1"/>
                </a:solidFill>
                <a:latin typeface="M05 Headline Office Bold" panose="020B0804040000000001" pitchFamily="34" charset="0"/>
              </a:defRPr>
            </a:lvl3pPr>
            <a:lvl4pPr>
              <a:defRPr sz="4000">
                <a:solidFill>
                  <a:schemeClr val="bg1"/>
                </a:solidFill>
                <a:latin typeface="M05 Headline Office Bold" panose="020B0804040000000001" pitchFamily="34" charset="0"/>
              </a:defRPr>
            </a:lvl4pPr>
            <a:lvl5pPr>
              <a:defRPr sz="4000">
                <a:solidFill>
                  <a:schemeClr val="bg1"/>
                </a:solidFill>
                <a:latin typeface="M05 Headline Office Bold" panose="020B0804040000000001" pitchFamily="34" charset="0"/>
              </a:defRPr>
            </a:lvl5pPr>
          </a:lstStyle>
          <a:p>
            <a:pPr lvl="0"/>
            <a:r>
              <a:rPr lang="de-DE"/>
              <a:t>Subheader</a:t>
            </a:r>
          </a:p>
        </p:txBody>
      </p:sp>
    </p:spTree>
    <p:extLst>
      <p:ext uri="{BB962C8B-B14F-4D97-AF65-F5344CB8AC3E}">
        <p14:creationId xmlns:p14="http://schemas.microsoft.com/office/powerpoint/2010/main" val="4233838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ild links mit Headline; versetztes Raster">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76C9C31E-07B4-4A55-8EF0-8AA20049D5F4}"/>
              </a:ext>
            </a:extLst>
          </p:cNvPr>
          <p:cNvGrpSpPr>
            <a:grpSpLocks noChangeAspect="1"/>
          </p:cNvGrpSpPr>
          <p:nvPr userDrawn="1"/>
        </p:nvGrpSpPr>
        <p:grpSpPr>
          <a:xfrm>
            <a:off x="5398049" y="0"/>
            <a:ext cx="3935901" cy="1980000"/>
            <a:chOff x="-114411" y="-1"/>
            <a:chExt cx="1100501" cy="553622"/>
          </a:xfrm>
        </p:grpSpPr>
        <p:sp>
          <p:nvSpPr>
            <p:cNvPr id="6" name="Rechtwinkliges Dreieck 5">
              <a:extLst>
                <a:ext uri="{FF2B5EF4-FFF2-40B4-BE49-F238E27FC236}">
                  <a16:creationId xmlns:a16="http://schemas.microsoft.com/office/drawing/2014/main" id="{7830A268-5885-43E1-9716-29AA3C7D44EA}"/>
                </a:ext>
              </a:extLst>
            </p:cNvPr>
            <p:cNvSpPr>
              <a:spLocks noChangeAspect="1"/>
            </p:cNvSpPr>
            <p:nvPr userDrawn="1"/>
          </p:nvSpPr>
          <p:spPr>
            <a:xfrm rot="10800000">
              <a:off x="-114411" y="-1"/>
              <a:ext cx="550350" cy="553622"/>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814" tIns="38407" rIns="76814" bIns="38407" numCol="1" spcCol="0" rtlCol="0" fromWordArt="0" anchor="ctr" anchorCtr="0" forceAA="0" compatLnSpc="1">
              <a:prstTxWarp prst="textNoShape">
                <a:avLst/>
              </a:prstTxWarp>
              <a:noAutofit/>
            </a:bodyPr>
            <a:lstStyle/>
            <a:p>
              <a:pPr algn="ctr"/>
              <a:endParaRPr lang="de-DE" sz="1512">
                <a:latin typeface="M05 Text Office" panose="020B0504040000000004" pitchFamily="34" charset="0"/>
              </a:endParaRPr>
            </a:p>
          </p:txBody>
        </p:sp>
        <p:sp>
          <p:nvSpPr>
            <p:cNvPr id="7" name="Rechtwinkliges Dreieck 6">
              <a:extLst>
                <a:ext uri="{FF2B5EF4-FFF2-40B4-BE49-F238E27FC236}">
                  <a16:creationId xmlns:a16="http://schemas.microsoft.com/office/drawing/2014/main" id="{1FB6CEE0-2AF9-485F-86FF-20F57F02C944}"/>
                </a:ext>
              </a:extLst>
            </p:cNvPr>
            <p:cNvSpPr>
              <a:spLocks noChangeAspect="1"/>
            </p:cNvSpPr>
            <p:nvPr userDrawn="1"/>
          </p:nvSpPr>
          <p:spPr>
            <a:xfrm rot="10800000" flipH="1">
              <a:off x="435939" y="-1"/>
              <a:ext cx="550151" cy="55342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814" tIns="38407" rIns="76814" bIns="38407" numCol="1" spcCol="0" rtlCol="0" fromWordArt="0" anchor="ctr" anchorCtr="0" forceAA="0" compatLnSpc="1">
              <a:prstTxWarp prst="textNoShape">
                <a:avLst/>
              </a:prstTxWarp>
              <a:noAutofit/>
            </a:bodyPr>
            <a:lstStyle/>
            <a:p>
              <a:pPr algn="ctr"/>
              <a:endParaRPr lang="de-DE" sz="1512">
                <a:latin typeface="M05 Text Office" panose="020B0504040000000004" pitchFamily="34" charset="0"/>
              </a:endParaRPr>
            </a:p>
          </p:txBody>
        </p:sp>
      </p:grpSp>
      <p:sp>
        <p:nvSpPr>
          <p:cNvPr id="9" name="Rechteck: eine Ecke abgeschnitten 8">
            <a:extLst>
              <a:ext uri="{FF2B5EF4-FFF2-40B4-BE49-F238E27FC236}">
                <a16:creationId xmlns:a16="http://schemas.microsoft.com/office/drawing/2014/main" id="{4A4143CF-26EB-4972-968A-2F935DB7DCAF}"/>
              </a:ext>
            </a:extLst>
          </p:cNvPr>
          <p:cNvSpPr/>
          <p:nvPr userDrawn="1"/>
        </p:nvSpPr>
        <p:spPr>
          <a:xfrm flipH="1">
            <a:off x="7366000" y="0"/>
            <a:ext cx="4826000" cy="6858000"/>
          </a:xfrm>
          <a:prstGeom prst="snip1Rect">
            <a:avLst>
              <a:gd name="adj" fmla="val 4092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05 Text Office" panose="020B0504040000000004" pitchFamily="34" charset="0"/>
            </a:endParaRPr>
          </a:p>
        </p:txBody>
      </p:sp>
      <p:sp>
        <p:nvSpPr>
          <p:cNvPr id="12" name="Bildplatzhalter 11">
            <a:extLst>
              <a:ext uri="{FF2B5EF4-FFF2-40B4-BE49-F238E27FC236}">
                <a16:creationId xmlns:a16="http://schemas.microsoft.com/office/drawing/2014/main" id="{EDB45BD2-7C26-4776-9288-DE1D2324E41C}"/>
              </a:ext>
            </a:extLst>
          </p:cNvPr>
          <p:cNvSpPr>
            <a:spLocks noGrp="1"/>
          </p:cNvSpPr>
          <p:nvPr>
            <p:ph type="pic" sz="quarter" idx="15"/>
          </p:nvPr>
        </p:nvSpPr>
        <p:spPr>
          <a:xfrm>
            <a:off x="0" y="0"/>
            <a:ext cx="7366000" cy="6858000"/>
          </a:xfrm>
          <a:prstGeom prst="snip1Rect">
            <a:avLst>
              <a:gd name="adj" fmla="val 28704"/>
            </a:avLst>
          </a:prstGeom>
          <a:solidFill>
            <a:schemeClr val="accent2"/>
          </a:solidFill>
        </p:spPr>
        <p:txBody>
          <a:bodyPr/>
          <a:lstStyle>
            <a:lvl1pPr>
              <a:defRPr>
                <a:latin typeface="M05 Text Office" panose="020B0504040000000004" pitchFamily="34" charset="0"/>
              </a:defRPr>
            </a:lvl1pPr>
          </a:lstStyle>
          <a:p>
            <a:r>
              <a:rPr lang="de-DE"/>
              <a:t>Bild durch Klicken auf Symbol hinzufügen</a:t>
            </a:r>
          </a:p>
        </p:txBody>
      </p:sp>
      <p:sp>
        <p:nvSpPr>
          <p:cNvPr id="14" name="Textplatzhalter 13">
            <a:extLst>
              <a:ext uri="{FF2B5EF4-FFF2-40B4-BE49-F238E27FC236}">
                <a16:creationId xmlns:a16="http://schemas.microsoft.com/office/drawing/2014/main" id="{567BE630-EC65-416E-8278-8FFC1D660B89}"/>
              </a:ext>
            </a:extLst>
          </p:cNvPr>
          <p:cNvSpPr>
            <a:spLocks noGrp="1"/>
          </p:cNvSpPr>
          <p:nvPr>
            <p:ph type="body" sz="quarter" idx="13" hasCustomPrompt="1"/>
          </p:nvPr>
        </p:nvSpPr>
        <p:spPr>
          <a:xfrm>
            <a:off x="7850738" y="2266682"/>
            <a:ext cx="3804260" cy="3151511"/>
          </a:xfrm>
          <a:prstGeom prst="rect">
            <a:avLst/>
          </a:prstGeom>
        </p:spPr>
        <p:txBody>
          <a:bodyPr/>
          <a:lstStyle>
            <a:lvl1pPr marL="0" indent="0">
              <a:buNone/>
              <a:defRPr sz="3200" cap="all" baseline="0">
                <a:solidFill>
                  <a:schemeClr val="bg1"/>
                </a:solidFill>
                <a:latin typeface="M05 Text Office Bold" panose="020B0804040000000004" pitchFamily="34" charset="0"/>
              </a:defRPr>
            </a:lvl1pPr>
            <a:lvl2pPr>
              <a:defRPr sz="2000">
                <a:solidFill>
                  <a:schemeClr val="bg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de-DE"/>
              <a:t>Mastertextformat bearbeiten M05 Text </a:t>
            </a:r>
            <a:r>
              <a:rPr lang="de-DE" err="1"/>
              <a:t>bold</a:t>
            </a:r>
            <a:r>
              <a:rPr lang="de-DE"/>
              <a:t> </a:t>
            </a:r>
            <a:r>
              <a:rPr lang="de-DE" err="1"/>
              <a:t>pt</a:t>
            </a:r>
            <a:r>
              <a:rPr lang="de-DE"/>
              <a:t> 32</a:t>
            </a:r>
          </a:p>
        </p:txBody>
      </p:sp>
    </p:spTree>
    <p:extLst>
      <p:ext uri="{BB962C8B-B14F-4D97-AF65-F5344CB8AC3E}">
        <p14:creationId xmlns:p14="http://schemas.microsoft.com/office/powerpoint/2010/main" val="35946554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ild rechts mit Headline; versetztes, schmales Raster">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76C9C31E-07B4-4A55-8EF0-8AA20049D5F4}"/>
              </a:ext>
            </a:extLst>
          </p:cNvPr>
          <p:cNvGrpSpPr>
            <a:grpSpLocks noChangeAspect="1"/>
          </p:cNvGrpSpPr>
          <p:nvPr userDrawn="1"/>
        </p:nvGrpSpPr>
        <p:grpSpPr>
          <a:xfrm>
            <a:off x="1701800" y="-2423"/>
            <a:ext cx="3399186" cy="1710000"/>
            <a:chOff x="-114411" y="-1"/>
            <a:chExt cx="1100501" cy="553622"/>
          </a:xfrm>
        </p:grpSpPr>
        <p:sp>
          <p:nvSpPr>
            <p:cNvPr id="6" name="Rechtwinkliges Dreieck 5">
              <a:extLst>
                <a:ext uri="{FF2B5EF4-FFF2-40B4-BE49-F238E27FC236}">
                  <a16:creationId xmlns:a16="http://schemas.microsoft.com/office/drawing/2014/main" id="{7830A268-5885-43E1-9716-29AA3C7D44EA}"/>
                </a:ext>
              </a:extLst>
            </p:cNvPr>
            <p:cNvSpPr>
              <a:spLocks noChangeAspect="1"/>
            </p:cNvSpPr>
            <p:nvPr userDrawn="1"/>
          </p:nvSpPr>
          <p:spPr>
            <a:xfrm rot="10800000">
              <a:off x="-114411" y="-1"/>
              <a:ext cx="550350" cy="55362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814" tIns="38407" rIns="76814" bIns="38407" numCol="1" spcCol="0" rtlCol="0" fromWordArt="0" anchor="ctr" anchorCtr="0" forceAA="0" compatLnSpc="1">
              <a:prstTxWarp prst="textNoShape">
                <a:avLst/>
              </a:prstTxWarp>
              <a:noAutofit/>
            </a:bodyPr>
            <a:lstStyle/>
            <a:p>
              <a:pPr algn="ctr"/>
              <a:endParaRPr lang="de-DE" sz="1512">
                <a:latin typeface="M05 Text Office" panose="020B0504040000000004" pitchFamily="34" charset="0"/>
              </a:endParaRPr>
            </a:p>
          </p:txBody>
        </p:sp>
        <p:sp>
          <p:nvSpPr>
            <p:cNvPr id="7" name="Rechtwinkliges Dreieck 6">
              <a:extLst>
                <a:ext uri="{FF2B5EF4-FFF2-40B4-BE49-F238E27FC236}">
                  <a16:creationId xmlns:a16="http://schemas.microsoft.com/office/drawing/2014/main" id="{1FB6CEE0-2AF9-485F-86FF-20F57F02C944}"/>
                </a:ext>
              </a:extLst>
            </p:cNvPr>
            <p:cNvSpPr>
              <a:spLocks noChangeAspect="1"/>
            </p:cNvSpPr>
            <p:nvPr userDrawn="1"/>
          </p:nvSpPr>
          <p:spPr>
            <a:xfrm rot="10800000" flipH="1">
              <a:off x="435939" y="-1"/>
              <a:ext cx="550151" cy="553423"/>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814" tIns="38407" rIns="76814" bIns="38407" numCol="1" spcCol="0" rtlCol="0" fromWordArt="0" anchor="ctr" anchorCtr="0" forceAA="0" compatLnSpc="1">
              <a:prstTxWarp prst="textNoShape">
                <a:avLst/>
              </a:prstTxWarp>
              <a:noAutofit/>
            </a:bodyPr>
            <a:lstStyle/>
            <a:p>
              <a:pPr algn="ctr"/>
              <a:endParaRPr lang="de-DE" sz="1512">
                <a:latin typeface="M05 Text Office" panose="020B0504040000000004" pitchFamily="34" charset="0"/>
              </a:endParaRPr>
            </a:p>
          </p:txBody>
        </p:sp>
      </p:grpSp>
      <p:sp>
        <p:nvSpPr>
          <p:cNvPr id="8" name="Bildplatzhalter 10">
            <a:extLst>
              <a:ext uri="{FF2B5EF4-FFF2-40B4-BE49-F238E27FC236}">
                <a16:creationId xmlns:a16="http://schemas.microsoft.com/office/drawing/2014/main" id="{9B01C062-3BEE-4FC6-B4F8-3B05258352FA}"/>
              </a:ext>
            </a:extLst>
          </p:cNvPr>
          <p:cNvSpPr>
            <a:spLocks noGrp="1"/>
          </p:cNvSpPr>
          <p:nvPr>
            <p:ph type="pic" sz="quarter" idx="12"/>
          </p:nvPr>
        </p:nvSpPr>
        <p:spPr>
          <a:xfrm>
            <a:off x="3397305" y="1"/>
            <a:ext cx="8794694" cy="6862802"/>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17 w 10000"/>
              <a:gd name="connsiteY0" fmla="*/ 2868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17 w 10000"/>
              <a:gd name="connsiteY5" fmla="*/ 2868 h 10000"/>
              <a:gd name="connsiteX0" fmla="*/ 17 w 10000"/>
              <a:gd name="connsiteY0" fmla="*/ 2868 h 10000"/>
              <a:gd name="connsiteX1" fmla="*/ 3238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17 w 10000"/>
              <a:gd name="connsiteY5" fmla="*/ 2868 h 10000"/>
              <a:gd name="connsiteX0" fmla="*/ 5 w 10000"/>
              <a:gd name="connsiteY0" fmla="*/ 2857 h 10000"/>
              <a:gd name="connsiteX1" fmla="*/ 3238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5 w 10000"/>
              <a:gd name="connsiteY5" fmla="*/ 2857 h 10000"/>
              <a:gd name="connsiteX0" fmla="*/ 1 w 10002"/>
              <a:gd name="connsiteY0" fmla="*/ 2879 h 10000"/>
              <a:gd name="connsiteX1" fmla="*/ 3240 w 10002"/>
              <a:gd name="connsiteY1" fmla="*/ 0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879 h 10000"/>
              <a:gd name="connsiteX0" fmla="*/ 1 w 10002"/>
              <a:gd name="connsiteY0" fmla="*/ 2879 h 10000"/>
              <a:gd name="connsiteX1" fmla="*/ 3228 w 10002"/>
              <a:gd name="connsiteY1" fmla="*/ 0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879 h 10000"/>
              <a:gd name="connsiteX0" fmla="*/ 1 w 10002"/>
              <a:gd name="connsiteY0" fmla="*/ 2898 h 10019"/>
              <a:gd name="connsiteX1" fmla="*/ 2676 w 10002"/>
              <a:gd name="connsiteY1" fmla="*/ 0 h 10019"/>
              <a:gd name="connsiteX2" fmla="*/ 10002 w 10002"/>
              <a:gd name="connsiteY2" fmla="*/ 19 h 10019"/>
              <a:gd name="connsiteX3" fmla="*/ 10002 w 10002"/>
              <a:gd name="connsiteY3" fmla="*/ 10019 h 10019"/>
              <a:gd name="connsiteX4" fmla="*/ 2 w 10002"/>
              <a:gd name="connsiteY4" fmla="*/ 10019 h 10019"/>
              <a:gd name="connsiteX5" fmla="*/ 1 w 10002"/>
              <a:gd name="connsiteY5" fmla="*/ 2898 h 10019"/>
              <a:gd name="connsiteX0" fmla="*/ 1 w 10002"/>
              <a:gd name="connsiteY0" fmla="*/ 2879 h 10000"/>
              <a:gd name="connsiteX1" fmla="*/ 2665 w 10002"/>
              <a:gd name="connsiteY1" fmla="*/ 5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879 h 10000"/>
              <a:gd name="connsiteX0" fmla="*/ 1 w 10002"/>
              <a:gd name="connsiteY0" fmla="*/ 2879 h 10000"/>
              <a:gd name="connsiteX1" fmla="*/ 1942 w 10002"/>
              <a:gd name="connsiteY1" fmla="*/ 5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879 h 10000"/>
              <a:gd name="connsiteX0" fmla="*/ 0 w 10015"/>
              <a:gd name="connsiteY0" fmla="*/ 2509 h 10000"/>
              <a:gd name="connsiteX1" fmla="*/ 1955 w 10015"/>
              <a:gd name="connsiteY1" fmla="*/ 5 h 10000"/>
              <a:gd name="connsiteX2" fmla="*/ 10015 w 10015"/>
              <a:gd name="connsiteY2" fmla="*/ 0 h 10000"/>
              <a:gd name="connsiteX3" fmla="*/ 10015 w 10015"/>
              <a:gd name="connsiteY3" fmla="*/ 10000 h 10000"/>
              <a:gd name="connsiteX4" fmla="*/ 15 w 10015"/>
              <a:gd name="connsiteY4" fmla="*/ 10000 h 10000"/>
              <a:gd name="connsiteX5" fmla="*/ 0 w 10015"/>
              <a:gd name="connsiteY5" fmla="*/ 2509 h 10000"/>
              <a:gd name="connsiteX0" fmla="*/ 28 w 10000"/>
              <a:gd name="connsiteY0" fmla="*/ 2453 h 10000"/>
              <a:gd name="connsiteX1" fmla="*/ 1940 w 10000"/>
              <a:gd name="connsiteY1" fmla="*/ 5 h 10000"/>
              <a:gd name="connsiteX2" fmla="*/ 10000 w 10000"/>
              <a:gd name="connsiteY2" fmla="*/ 0 h 10000"/>
              <a:gd name="connsiteX3" fmla="*/ 10000 w 10000"/>
              <a:gd name="connsiteY3" fmla="*/ 10000 h 10000"/>
              <a:gd name="connsiteX4" fmla="*/ 0 w 10000"/>
              <a:gd name="connsiteY4" fmla="*/ 10000 h 10000"/>
              <a:gd name="connsiteX5" fmla="*/ 28 w 10000"/>
              <a:gd name="connsiteY5" fmla="*/ 2453 h 10000"/>
              <a:gd name="connsiteX0" fmla="*/ 1 w 10001"/>
              <a:gd name="connsiteY0" fmla="*/ 2471 h 10000"/>
              <a:gd name="connsiteX1" fmla="*/ 1941 w 10001"/>
              <a:gd name="connsiteY1" fmla="*/ 5 h 10000"/>
              <a:gd name="connsiteX2" fmla="*/ 10001 w 10001"/>
              <a:gd name="connsiteY2" fmla="*/ 0 h 10000"/>
              <a:gd name="connsiteX3" fmla="*/ 10001 w 10001"/>
              <a:gd name="connsiteY3" fmla="*/ 10000 h 10000"/>
              <a:gd name="connsiteX4" fmla="*/ 1 w 10001"/>
              <a:gd name="connsiteY4" fmla="*/ 10000 h 10000"/>
              <a:gd name="connsiteX5" fmla="*/ 1 w 10001"/>
              <a:gd name="connsiteY5" fmla="*/ 2471 h 10000"/>
              <a:gd name="connsiteX0" fmla="*/ 1 w 10001"/>
              <a:gd name="connsiteY0" fmla="*/ 2471 h 10000"/>
              <a:gd name="connsiteX1" fmla="*/ 1934 w 10001"/>
              <a:gd name="connsiteY1" fmla="*/ 5 h 10000"/>
              <a:gd name="connsiteX2" fmla="*/ 10001 w 10001"/>
              <a:gd name="connsiteY2" fmla="*/ 0 h 10000"/>
              <a:gd name="connsiteX3" fmla="*/ 10001 w 10001"/>
              <a:gd name="connsiteY3" fmla="*/ 10000 h 10000"/>
              <a:gd name="connsiteX4" fmla="*/ 1 w 10001"/>
              <a:gd name="connsiteY4" fmla="*/ 10000 h 10000"/>
              <a:gd name="connsiteX5" fmla="*/ 1 w 10001"/>
              <a:gd name="connsiteY5" fmla="*/ 2471 h 10000"/>
              <a:gd name="connsiteX0" fmla="*/ 1 w 10001"/>
              <a:gd name="connsiteY0" fmla="*/ 2471 h 10000"/>
              <a:gd name="connsiteX1" fmla="*/ 1934 w 10001"/>
              <a:gd name="connsiteY1" fmla="*/ 1 h 10000"/>
              <a:gd name="connsiteX2" fmla="*/ 10001 w 10001"/>
              <a:gd name="connsiteY2" fmla="*/ 0 h 10000"/>
              <a:gd name="connsiteX3" fmla="*/ 10001 w 10001"/>
              <a:gd name="connsiteY3" fmla="*/ 10000 h 10000"/>
              <a:gd name="connsiteX4" fmla="*/ 1 w 10001"/>
              <a:gd name="connsiteY4" fmla="*/ 10000 h 10000"/>
              <a:gd name="connsiteX5" fmla="*/ 1 w 10001"/>
              <a:gd name="connsiteY5" fmla="*/ 2471 h 10000"/>
              <a:gd name="connsiteX0" fmla="*/ 1 w 10001"/>
              <a:gd name="connsiteY0" fmla="*/ 2480 h 10000"/>
              <a:gd name="connsiteX1" fmla="*/ 1934 w 10001"/>
              <a:gd name="connsiteY1" fmla="*/ 1 h 10000"/>
              <a:gd name="connsiteX2" fmla="*/ 10001 w 10001"/>
              <a:gd name="connsiteY2" fmla="*/ 0 h 10000"/>
              <a:gd name="connsiteX3" fmla="*/ 10001 w 10001"/>
              <a:gd name="connsiteY3" fmla="*/ 10000 h 10000"/>
              <a:gd name="connsiteX4" fmla="*/ 1 w 10001"/>
              <a:gd name="connsiteY4" fmla="*/ 10000 h 10000"/>
              <a:gd name="connsiteX5" fmla="*/ 1 w 10001"/>
              <a:gd name="connsiteY5" fmla="*/ 2480 h 10000"/>
              <a:gd name="connsiteX0" fmla="*/ 1 w 10001"/>
              <a:gd name="connsiteY0" fmla="*/ 2480 h 10000"/>
              <a:gd name="connsiteX1" fmla="*/ 1934 w 10001"/>
              <a:gd name="connsiteY1" fmla="*/ 1 h 10000"/>
              <a:gd name="connsiteX2" fmla="*/ 10001 w 10001"/>
              <a:gd name="connsiteY2" fmla="*/ 0 h 10000"/>
              <a:gd name="connsiteX3" fmla="*/ 10001 w 10001"/>
              <a:gd name="connsiteY3" fmla="*/ 10000 h 10000"/>
              <a:gd name="connsiteX4" fmla="*/ 5 w 10001"/>
              <a:gd name="connsiteY4" fmla="*/ 10000 h 10000"/>
              <a:gd name="connsiteX5" fmla="*/ 1 w 10001"/>
              <a:gd name="connsiteY5" fmla="*/ 2480 h 10000"/>
              <a:gd name="connsiteX0" fmla="*/ 3 w 9996"/>
              <a:gd name="connsiteY0" fmla="*/ 2475 h 10000"/>
              <a:gd name="connsiteX1" fmla="*/ 1929 w 9996"/>
              <a:gd name="connsiteY1" fmla="*/ 1 h 10000"/>
              <a:gd name="connsiteX2" fmla="*/ 9996 w 9996"/>
              <a:gd name="connsiteY2" fmla="*/ 0 h 10000"/>
              <a:gd name="connsiteX3" fmla="*/ 9996 w 9996"/>
              <a:gd name="connsiteY3" fmla="*/ 10000 h 10000"/>
              <a:gd name="connsiteX4" fmla="*/ 0 w 9996"/>
              <a:gd name="connsiteY4" fmla="*/ 10000 h 10000"/>
              <a:gd name="connsiteX5" fmla="*/ 3 w 9996"/>
              <a:gd name="connsiteY5" fmla="*/ 2475 h 10000"/>
              <a:gd name="connsiteX0" fmla="*/ 1 w 10002"/>
              <a:gd name="connsiteY0" fmla="*/ 2489 h 10000"/>
              <a:gd name="connsiteX1" fmla="*/ 1932 w 10002"/>
              <a:gd name="connsiteY1" fmla="*/ 1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489 h 10000"/>
              <a:gd name="connsiteX0" fmla="*/ 3 w 10000"/>
              <a:gd name="connsiteY0" fmla="*/ 2498 h 10000"/>
              <a:gd name="connsiteX1" fmla="*/ 1930 w 10000"/>
              <a:gd name="connsiteY1" fmla="*/ 1 h 10000"/>
              <a:gd name="connsiteX2" fmla="*/ 10000 w 10000"/>
              <a:gd name="connsiteY2" fmla="*/ 0 h 10000"/>
              <a:gd name="connsiteX3" fmla="*/ 10000 w 10000"/>
              <a:gd name="connsiteY3" fmla="*/ 10000 h 10000"/>
              <a:gd name="connsiteX4" fmla="*/ 0 w 10000"/>
              <a:gd name="connsiteY4" fmla="*/ 10000 h 10000"/>
              <a:gd name="connsiteX5" fmla="*/ 3 w 10000"/>
              <a:gd name="connsiteY5" fmla="*/ 2498 h 10000"/>
              <a:gd name="connsiteX0" fmla="*/ 1 w 10002"/>
              <a:gd name="connsiteY0" fmla="*/ 2498 h 10000"/>
              <a:gd name="connsiteX1" fmla="*/ 1932 w 10002"/>
              <a:gd name="connsiteY1" fmla="*/ 1 h 10000"/>
              <a:gd name="connsiteX2" fmla="*/ 10002 w 10002"/>
              <a:gd name="connsiteY2" fmla="*/ 0 h 10000"/>
              <a:gd name="connsiteX3" fmla="*/ 10002 w 10002"/>
              <a:gd name="connsiteY3" fmla="*/ 10000 h 10000"/>
              <a:gd name="connsiteX4" fmla="*/ 2 w 10002"/>
              <a:gd name="connsiteY4" fmla="*/ 10000 h 10000"/>
              <a:gd name="connsiteX5" fmla="*/ 1 w 10002"/>
              <a:gd name="connsiteY5" fmla="*/ 2498 h 10000"/>
              <a:gd name="connsiteX0" fmla="*/ 10 w 10011"/>
              <a:gd name="connsiteY0" fmla="*/ 2498 h 10000"/>
              <a:gd name="connsiteX1" fmla="*/ 1941 w 10011"/>
              <a:gd name="connsiteY1" fmla="*/ 1 h 10000"/>
              <a:gd name="connsiteX2" fmla="*/ 10011 w 10011"/>
              <a:gd name="connsiteY2" fmla="*/ 0 h 10000"/>
              <a:gd name="connsiteX3" fmla="*/ 10011 w 10011"/>
              <a:gd name="connsiteY3" fmla="*/ 10000 h 10000"/>
              <a:gd name="connsiteX4" fmla="*/ 0 w 10011"/>
              <a:gd name="connsiteY4" fmla="*/ 10000 h 10000"/>
              <a:gd name="connsiteX5" fmla="*/ 10 w 10011"/>
              <a:gd name="connsiteY5" fmla="*/ 2498 h 10000"/>
              <a:gd name="connsiteX0" fmla="*/ 4 w 10005"/>
              <a:gd name="connsiteY0" fmla="*/ 2498 h 10007"/>
              <a:gd name="connsiteX1" fmla="*/ 1935 w 10005"/>
              <a:gd name="connsiteY1" fmla="*/ 1 h 10007"/>
              <a:gd name="connsiteX2" fmla="*/ 10005 w 10005"/>
              <a:gd name="connsiteY2" fmla="*/ 0 h 10007"/>
              <a:gd name="connsiteX3" fmla="*/ 10005 w 10005"/>
              <a:gd name="connsiteY3" fmla="*/ 10000 h 10007"/>
              <a:gd name="connsiteX4" fmla="*/ 0 w 10005"/>
              <a:gd name="connsiteY4" fmla="*/ 10007 h 10007"/>
              <a:gd name="connsiteX5" fmla="*/ 4 w 10005"/>
              <a:gd name="connsiteY5" fmla="*/ 2498 h 1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5" h="10007">
                <a:moveTo>
                  <a:pt x="4" y="2498"/>
                </a:moveTo>
                <a:lnTo>
                  <a:pt x="1935" y="1"/>
                </a:lnTo>
                <a:lnTo>
                  <a:pt x="10005" y="0"/>
                </a:lnTo>
                <a:lnTo>
                  <a:pt x="10005" y="10000"/>
                </a:lnTo>
                <a:lnTo>
                  <a:pt x="0" y="10007"/>
                </a:lnTo>
                <a:cubicBezTo>
                  <a:pt x="6" y="7630"/>
                  <a:pt x="-2" y="4875"/>
                  <a:pt x="4" y="2498"/>
                </a:cubicBezTo>
                <a:close/>
              </a:path>
            </a:pathLst>
          </a:custGeom>
          <a:solidFill>
            <a:schemeClr val="accent2"/>
          </a:solidFill>
        </p:spPr>
        <p:txBody>
          <a:bodyPr/>
          <a:lstStyle>
            <a:lvl5pPr>
              <a:defRPr sz="1800">
                <a:latin typeface="M05 Text Office" panose="020B0504040000000004" pitchFamily="34" charset="0"/>
              </a:defRPr>
            </a:lvl5pPr>
          </a:lstStyle>
          <a:p>
            <a:pPr lvl="4"/>
            <a:r>
              <a:rPr lang="de-DE"/>
              <a:t>Bild durch Klicken auf Symbol hinzufügen</a:t>
            </a:r>
          </a:p>
        </p:txBody>
      </p:sp>
      <p:sp>
        <p:nvSpPr>
          <p:cNvPr id="9" name="Rechteck: eine Ecke abgeschnitten 8">
            <a:extLst>
              <a:ext uri="{FF2B5EF4-FFF2-40B4-BE49-F238E27FC236}">
                <a16:creationId xmlns:a16="http://schemas.microsoft.com/office/drawing/2014/main" id="{4A4143CF-26EB-4972-968A-2F935DB7DCAF}"/>
              </a:ext>
            </a:extLst>
          </p:cNvPr>
          <p:cNvSpPr/>
          <p:nvPr userDrawn="1"/>
        </p:nvSpPr>
        <p:spPr>
          <a:xfrm>
            <a:off x="0" y="0"/>
            <a:ext cx="3403600" cy="6858000"/>
          </a:xfrm>
          <a:prstGeom prst="snip1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05 Text Office" panose="020B0504040000000004" pitchFamily="34" charset="0"/>
            </a:endParaRPr>
          </a:p>
        </p:txBody>
      </p:sp>
      <p:sp>
        <p:nvSpPr>
          <p:cNvPr id="10" name="Textplatzhalter 13">
            <a:extLst>
              <a:ext uri="{FF2B5EF4-FFF2-40B4-BE49-F238E27FC236}">
                <a16:creationId xmlns:a16="http://schemas.microsoft.com/office/drawing/2014/main" id="{489E0638-C032-4A68-95FC-28D6B8392CF3}"/>
              </a:ext>
            </a:extLst>
          </p:cNvPr>
          <p:cNvSpPr>
            <a:spLocks noGrp="1"/>
          </p:cNvSpPr>
          <p:nvPr>
            <p:ph type="body" sz="quarter" idx="13" hasCustomPrompt="1"/>
          </p:nvPr>
        </p:nvSpPr>
        <p:spPr>
          <a:xfrm>
            <a:off x="148046" y="1979289"/>
            <a:ext cx="3077754" cy="3151511"/>
          </a:xfrm>
          <a:prstGeom prst="rect">
            <a:avLst/>
          </a:prstGeom>
        </p:spPr>
        <p:txBody>
          <a:bodyPr/>
          <a:lstStyle>
            <a:lvl1pPr marL="0" indent="0">
              <a:buNone/>
              <a:defRPr sz="3200" cap="all" baseline="0">
                <a:solidFill>
                  <a:schemeClr val="bg1"/>
                </a:solidFill>
                <a:latin typeface="M05 Text Office Bold" panose="020B0804040000000004" pitchFamily="34" charset="0"/>
              </a:defRPr>
            </a:lvl1pPr>
            <a:lvl2pPr>
              <a:defRPr sz="2000">
                <a:solidFill>
                  <a:schemeClr val="bg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de-DE"/>
              <a:t>Mastertext-format bearbeiten M05 Text </a:t>
            </a:r>
            <a:r>
              <a:rPr lang="de-DE" err="1"/>
              <a:t>bold</a:t>
            </a:r>
            <a:r>
              <a:rPr lang="de-DE"/>
              <a:t> </a:t>
            </a:r>
            <a:r>
              <a:rPr lang="de-DE" err="1"/>
              <a:t>pt</a:t>
            </a:r>
            <a:r>
              <a:rPr lang="de-DE"/>
              <a:t> 32</a:t>
            </a:r>
          </a:p>
        </p:txBody>
      </p:sp>
    </p:spTree>
    <p:extLst>
      <p:ext uri="{BB962C8B-B14F-4D97-AF65-F5344CB8AC3E}">
        <p14:creationId xmlns:p14="http://schemas.microsoft.com/office/powerpoint/2010/main" val="2379013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chlusschart">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C8953B28-C855-4D22-B1BB-D666AFCBEFC7}"/>
              </a:ext>
            </a:extLst>
          </p:cNvPr>
          <p:cNvPicPr>
            <a:picLocks noChangeAspect="1"/>
          </p:cNvPicPr>
          <p:nvPr userDrawn="1"/>
        </p:nvPicPr>
        <p:blipFill rotWithShape="1">
          <a:blip r:embed="rId2"/>
          <a:srcRect b="20276"/>
          <a:stretch/>
        </p:blipFill>
        <p:spPr>
          <a:xfrm>
            <a:off x="0" y="0"/>
            <a:ext cx="12192000" cy="6858000"/>
          </a:xfrm>
          <a:prstGeom prst="rect">
            <a:avLst/>
          </a:prstGeom>
        </p:spPr>
      </p:pic>
      <p:sp>
        <p:nvSpPr>
          <p:cNvPr id="7" name="Textplatzhalter 6">
            <a:extLst>
              <a:ext uri="{FF2B5EF4-FFF2-40B4-BE49-F238E27FC236}">
                <a16:creationId xmlns:a16="http://schemas.microsoft.com/office/drawing/2014/main" id="{DAB96F9B-74AE-4065-A1EB-85A45BC92679}"/>
              </a:ext>
            </a:extLst>
          </p:cNvPr>
          <p:cNvSpPr>
            <a:spLocks noGrp="1"/>
          </p:cNvSpPr>
          <p:nvPr>
            <p:ph type="body" sz="quarter" idx="12" hasCustomPrompt="1"/>
          </p:nvPr>
        </p:nvSpPr>
        <p:spPr>
          <a:xfrm>
            <a:off x="6635938" y="3443919"/>
            <a:ext cx="4320000" cy="324000"/>
          </a:xfrm>
          <a:prstGeom prst="rect">
            <a:avLst/>
          </a:prstGeom>
        </p:spPr>
        <p:txBody>
          <a:bodyPr/>
          <a:lstStyle>
            <a:lvl1pPr marL="0" indent="0">
              <a:buNone/>
              <a:defRPr b="1">
                <a:latin typeface="M05 Text Office" panose="020B0504040000000004" pitchFamily="34" charset="0"/>
              </a:defRPr>
            </a:lvl1pPr>
          </a:lstStyle>
          <a:p>
            <a:pPr lvl="0"/>
            <a:r>
              <a:rPr lang="de-DE"/>
              <a:t>Vorname Nachname</a:t>
            </a:r>
          </a:p>
        </p:txBody>
      </p:sp>
      <p:sp>
        <p:nvSpPr>
          <p:cNvPr id="8" name="Textplatzhalter 6">
            <a:extLst>
              <a:ext uri="{FF2B5EF4-FFF2-40B4-BE49-F238E27FC236}">
                <a16:creationId xmlns:a16="http://schemas.microsoft.com/office/drawing/2014/main" id="{36C421B6-806D-4CA6-B059-4BDFF332E55C}"/>
              </a:ext>
            </a:extLst>
          </p:cNvPr>
          <p:cNvSpPr>
            <a:spLocks noGrp="1"/>
          </p:cNvSpPr>
          <p:nvPr>
            <p:ph type="body" sz="quarter" idx="13" hasCustomPrompt="1"/>
          </p:nvPr>
        </p:nvSpPr>
        <p:spPr>
          <a:xfrm>
            <a:off x="6635938" y="3787395"/>
            <a:ext cx="4320000" cy="324000"/>
          </a:xfrm>
          <a:prstGeom prst="rect">
            <a:avLst/>
          </a:prstGeom>
        </p:spPr>
        <p:txBody>
          <a:bodyPr/>
          <a:lstStyle>
            <a:lvl1pPr marL="0" indent="0">
              <a:buNone/>
              <a:defRPr b="1">
                <a:latin typeface="M05 Text Office" panose="020B0504040000000004" pitchFamily="34" charset="0"/>
              </a:defRPr>
            </a:lvl1pPr>
          </a:lstStyle>
          <a:p>
            <a:pPr lvl="0"/>
            <a:r>
              <a:rPr lang="de-DE"/>
              <a:t>Position</a:t>
            </a:r>
          </a:p>
        </p:txBody>
      </p:sp>
      <p:sp>
        <p:nvSpPr>
          <p:cNvPr id="10" name="Textplatzhalter 9">
            <a:extLst>
              <a:ext uri="{FF2B5EF4-FFF2-40B4-BE49-F238E27FC236}">
                <a16:creationId xmlns:a16="http://schemas.microsoft.com/office/drawing/2014/main" id="{27B37613-CBB0-43E6-B2E3-D28B635103AF}"/>
              </a:ext>
            </a:extLst>
          </p:cNvPr>
          <p:cNvSpPr>
            <a:spLocks noGrp="1"/>
          </p:cNvSpPr>
          <p:nvPr>
            <p:ph type="body" sz="quarter" idx="14" hasCustomPrompt="1"/>
          </p:nvPr>
        </p:nvSpPr>
        <p:spPr>
          <a:xfrm>
            <a:off x="6635938" y="4210286"/>
            <a:ext cx="4320000" cy="830739"/>
          </a:xfrm>
          <a:prstGeom prst="rect">
            <a:avLst/>
          </a:prstGeom>
        </p:spPr>
        <p:txBody>
          <a:bodyPr/>
          <a:lstStyle>
            <a:lvl1pPr marL="0" indent="0">
              <a:buNone/>
              <a:defRPr>
                <a:latin typeface="M05 Text Office" panose="020B0504040000000004" pitchFamily="34" charset="0"/>
              </a:defRPr>
            </a:lvl1pPr>
          </a:lstStyle>
          <a:p>
            <a:pPr lvl="0"/>
            <a:r>
              <a:rPr lang="de-DE"/>
              <a:t>Adresse</a:t>
            </a:r>
          </a:p>
        </p:txBody>
      </p:sp>
      <p:sp>
        <p:nvSpPr>
          <p:cNvPr id="12" name="Textplatzhalter 11">
            <a:extLst>
              <a:ext uri="{FF2B5EF4-FFF2-40B4-BE49-F238E27FC236}">
                <a16:creationId xmlns:a16="http://schemas.microsoft.com/office/drawing/2014/main" id="{51A3B618-6875-4D6A-97DD-DD47DFE9B86F}"/>
              </a:ext>
            </a:extLst>
          </p:cNvPr>
          <p:cNvSpPr>
            <a:spLocks noGrp="1"/>
          </p:cNvSpPr>
          <p:nvPr>
            <p:ph type="body" sz="quarter" idx="15" hasCustomPrompt="1"/>
          </p:nvPr>
        </p:nvSpPr>
        <p:spPr>
          <a:xfrm>
            <a:off x="6635938" y="5158227"/>
            <a:ext cx="4320000" cy="360000"/>
          </a:xfrm>
          <a:prstGeom prst="rect">
            <a:avLst/>
          </a:prstGeom>
        </p:spPr>
        <p:txBody>
          <a:bodyPr/>
          <a:lstStyle>
            <a:lvl1pPr marL="0" indent="0">
              <a:buNone/>
              <a:defRPr>
                <a:latin typeface="M05 Text Office" panose="020B0504040000000004" pitchFamily="34" charset="0"/>
              </a:defRPr>
            </a:lvl1pPr>
          </a:lstStyle>
          <a:p>
            <a:pPr lvl="0"/>
            <a:r>
              <a:rPr lang="de-DE"/>
              <a:t>Tel.:</a:t>
            </a:r>
          </a:p>
        </p:txBody>
      </p:sp>
      <p:sp>
        <p:nvSpPr>
          <p:cNvPr id="14" name="Textplatzhalter 13">
            <a:extLst>
              <a:ext uri="{FF2B5EF4-FFF2-40B4-BE49-F238E27FC236}">
                <a16:creationId xmlns:a16="http://schemas.microsoft.com/office/drawing/2014/main" id="{52289DC4-4745-41DE-A83B-F6532EC20AEF}"/>
              </a:ext>
            </a:extLst>
          </p:cNvPr>
          <p:cNvSpPr>
            <a:spLocks noGrp="1"/>
          </p:cNvSpPr>
          <p:nvPr>
            <p:ph type="body" sz="quarter" idx="16" hasCustomPrompt="1"/>
          </p:nvPr>
        </p:nvSpPr>
        <p:spPr>
          <a:xfrm>
            <a:off x="6635938" y="5523985"/>
            <a:ext cx="4320000" cy="358775"/>
          </a:xfrm>
          <a:prstGeom prst="rect">
            <a:avLst/>
          </a:prstGeom>
        </p:spPr>
        <p:txBody>
          <a:bodyPr/>
          <a:lstStyle>
            <a:lvl1pPr marL="0" indent="0">
              <a:buNone/>
              <a:defRPr>
                <a:latin typeface="M05 Text Office" panose="020B0504040000000004" pitchFamily="34" charset="0"/>
              </a:defRPr>
            </a:lvl1pPr>
          </a:lstStyle>
          <a:p>
            <a:pPr lvl="0"/>
            <a:r>
              <a:rPr lang="de-DE"/>
              <a:t>Mob.:</a:t>
            </a:r>
          </a:p>
        </p:txBody>
      </p:sp>
      <p:sp>
        <p:nvSpPr>
          <p:cNvPr id="16" name="Textplatzhalter 15">
            <a:extLst>
              <a:ext uri="{FF2B5EF4-FFF2-40B4-BE49-F238E27FC236}">
                <a16:creationId xmlns:a16="http://schemas.microsoft.com/office/drawing/2014/main" id="{0F98FF12-2894-4D6F-9193-30CFBC52A5F5}"/>
              </a:ext>
            </a:extLst>
          </p:cNvPr>
          <p:cNvSpPr>
            <a:spLocks noGrp="1"/>
          </p:cNvSpPr>
          <p:nvPr>
            <p:ph type="body" sz="quarter" idx="17" hasCustomPrompt="1"/>
          </p:nvPr>
        </p:nvSpPr>
        <p:spPr>
          <a:xfrm>
            <a:off x="6635938" y="5889193"/>
            <a:ext cx="4320000" cy="358775"/>
          </a:xfrm>
          <a:prstGeom prst="rect">
            <a:avLst/>
          </a:prstGeom>
        </p:spPr>
        <p:txBody>
          <a:bodyPr/>
          <a:lstStyle>
            <a:lvl1pPr marL="0" indent="0">
              <a:buNone/>
              <a:defRPr>
                <a:latin typeface="M05 Text Office" panose="020B0504040000000004" pitchFamily="34" charset="0"/>
              </a:defRPr>
            </a:lvl1pPr>
          </a:lstStyle>
          <a:p>
            <a:pPr lvl="0"/>
            <a:r>
              <a:rPr lang="de-DE"/>
              <a:t>Mail: </a:t>
            </a:r>
          </a:p>
        </p:txBody>
      </p:sp>
      <p:sp>
        <p:nvSpPr>
          <p:cNvPr id="3" name="Rechteck: eine Ecke abgeschnitten 2">
            <a:extLst>
              <a:ext uri="{FF2B5EF4-FFF2-40B4-BE49-F238E27FC236}">
                <a16:creationId xmlns:a16="http://schemas.microsoft.com/office/drawing/2014/main" id="{1FFFF5C0-7ADF-4910-A52A-7420AD465704}"/>
              </a:ext>
            </a:extLst>
          </p:cNvPr>
          <p:cNvSpPr/>
          <p:nvPr userDrawn="1"/>
        </p:nvSpPr>
        <p:spPr>
          <a:xfrm flipH="1" flipV="1">
            <a:off x="1" y="0"/>
            <a:ext cx="2009020" cy="5765076"/>
          </a:xfrm>
          <a:custGeom>
            <a:avLst/>
            <a:gdLst>
              <a:gd name="connsiteX0" fmla="*/ 0 w 2002971"/>
              <a:gd name="connsiteY0" fmla="*/ 0 h 4946469"/>
              <a:gd name="connsiteX1" fmla="*/ 1001486 w 2002971"/>
              <a:gd name="connsiteY1" fmla="*/ 0 h 4946469"/>
              <a:gd name="connsiteX2" fmla="*/ 2002971 w 2002971"/>
              <a:gd name="connsiteY2" fmla="*/ 1001486 h 4946469"/>
              <a:gd name="connsiteX3" fmla="*/ 2002971 w 2002971"/>
              <a:gd name="connsiteY3" fmla="*/ 4946469 h 4946469"/>
              <a:gd name="connsiteX4" fmla="*/ 0 w 2002971"/>
              <a:gd name="connsiteY4" fmla="*/ 4946469 h 4946469"/>
              <a:gd name="connsiteX5" fmla="*/ 0 w 2002971"/>
              <a:gd name="connsiteY5" fmla="*/ 0 h 4946469"/>
              <a:gd name="connsiteX0" fmla="*/ 8708 w 2011679"/>
              <a:gd name="connsiteY0" fmla="*/ 818606 h 5765075"/>
              <a:gd name="connsiteX1" fmla="*/ 0 w 2011679"/>
              <a:gd name="connsiteY1" fmla="*/ 0 h 5765075"/>
              <a:gd name="connsiteX2" fmla="*/ 2011679 w 2011679"/>
              <a:gd name="connsiteY2" fmla="*/ 1820092 h 5765075"/>
              <a:gd name="connsiteX3" fmla="*/ 2011679 w 2011679"/>
              <a:gd name="connsiteY3" fmla="*/ 5765075 h 5765075"/>
              <a:gd name="connsiteX4" fmla="*/ 8708 w 2011679"/>
              <a:gd name="connsiteY4" fmla="*/ 5765075 h 5765075"/>
              <a:gd name="connsiteX5" fmla="*/ 8708 w 2011679"/>
              <a:gd name="connsiteY5" fmla="*/ 818606 h 5765075"/>
              <a:gd name="connsiteX0" fmla="*/ 8708 w 2020388"/>
              <a:gd name="connsiteY0" fmla="*/ 818606 h 5765075"/>
              <a:gd name="connsiteX1" fmla="*/ 0 w 2020388"/>
              <a:gd name="connsiteY1" fmla="*/ 0 h 5765075"/>
              <a:gd name="connsiteX2" fmla="*/ 2020388 w 2020388"/>
              <a:gd name="connsiteY2" fmla="*/ 2020389 h 5765075"/>
              <a:gd name="connsiteX3" fmla="*/ 2011679 w 2020388"/>
              <a:gd name="connsiteY3" fmla="*/ 5765075 h 5765075"/>
              <a:gd name="connsiteX4" fmla="*/ 8708 w 2020388"/>
              <a:gd name="connsiteY4" fmla="*/ 5765075 h 5765075"/>
              <a:gd name="connsiteX5" fmla="*/ 8708 w 2020388"/>
              <a:gd name="connsiteY5" fmla="*/ 818606 h 5765075"/>
              <a:gd name="connsiteX0" fmla="*/ 8708 w 2011679"/>
              <a:gd name="connsiteY0" fmla="*/ 818606 h 5765075"/>
              <a:gd name="connsiteX1" fmla="*/ 0 w 2011679"/>
              <a:gd name="connsiteY1" fmla="*/ 0 h 5765075"/>
              <a:gd name="connsiteX2" fmla="*/ 1942010 w 2011679"/>
              <a:gd name="connsiteY2" fmla="*/ 2211978 h 5765075"/>
              <a:gd name="connsiteX3" fmla="*/ 2011679 w 2011679"/>
              <a:gd name="connsiteY3" fmla="*/ 5765075 h 5765075"/>
              <a:gd name="connsiteX4" fmla="*/ 8708 w 2011679"/>
              <a:gd name="connsiteY4" fmla="*/ 5765075 h 5765075"/>
              <a:gd name="connsiteX5" fmla="*/ 8708 w 2011679"/>
              <a:gd name="connsiteY5" fmla="*/ 818606 h 5765075"/>
              <a:gd name="connsiteX0" fmla="*/ 8708 w 2011679"/>
              <a:gd name="connsiteY0" fmla="*/ 818606 h 5765075"/>
              <a:gd name="connsiteX1" fmla="*/ 0 w 2011679"/>
              <a:gd name="connsiteY1" fmla="*/ 0 h 5765075"/>
              <a:gd name="connsiteX2" fmla="*/ 2011678 w 2011679"/>
              <a:gd name="connsiteY2" fmla="*/ 2011681 h 5765075"/>
              <a:gd name="connsiteX3" fmla="*/ 2011679 w 2011679"/>
              <a:gd name="connsiteY3" fmla="*/ 5765075 h 5765075"/>
              <a:gd name="connsiteX4" fmla="*/ 8708 w 2011679"/>
              <a:gd name="connsiteY4" fmla="*/ 5765075 h 5765075"/>
              <a:gd name="connsiteX5" fmla="*/ 8708 w 2011679"/>
              <a:gd name="connsiteY5" fmla="*/ 818606 h 5765075"/>
              <a:gd name="connsiteX0" fmla="*/ 819 w 2003790"/>
              <a:gd name="connsiteY0" fmla="*/ 809729 h 5756198"/>
              <a:gd name="connsiteX1" fmla="*/ 989 w 2003790"/>
              <a:gd name="connsiteY1" fmla="*/ 0 h 5756198"/>
              <a:gd name="connsiteX2" fmla="*/ 2003789 w 2003790"/>
              <a:gd name="connsiteY2" fmla="*/ 2002804 h 5756198"/>
              <a:gd name="connsiteX3" fmla="*/ 2003790 w 2003790"/>
              <a:gd name="connsiteY3" fmla="*/ 5756198 h 5756198"/>
              <a:gd name="connsiteX4" fmla="*/ 819 w 2003790"/>
              <a:gd name="connsiteY4" fmla="*/ 5756198 h 5756198"/>
              <a:gd name="connsiteX5" fmla="*/ 819 w 2003790"/>
              <a:gd name="connsiteY5" fmla="*/ 809729 h 5756198"/>
              <a:gd name="connsiteX0" fmla="*/ 2135 w 2005106"/>
              <a:gd name="connsiteY0" fmla="*/ 809729 h 5756198"/>
              <a:gd name="connsiteX1" fmla="*/ 2305 w 2005106"/>
              <a:gd name="connsiteY1" fmla="*/ 0 h 5756198"/>
              <a:gd name="connsiteX2" fmla="*/ 2005105 w 2005106"/>
              <a:gd name="connsiteY2" fmla="*/ 2002804 h 5756198"/>
              <a:gd name="connsiteX3" fmla="*/ 2005106 w 2005106"/>
              <a:gd name="connsiteY3" fmla="*/ 5756198 h 5756198"/>
              <a:gd name="connsiteX4" fmla="*/ 2135 w 2005106"/>
              <a:gd name="connsiteY4" fmla="*/ 5756198 h 5756198"/>
              <a:gd name="connsiteX5" fmla="*/ 2135 w 2005106"/>
              <a:gd name="connsiteY5" fmla="*/ 809729 h 5756198"/>
              <a:gd name="connsiteX0" fmla="*/ 1176 w 2007107"/>
              <a:gd name="connsiteY0" fmla="*/ 809729 h 5756198"/>
              <a:gd name="connsiteX1" fmla="*/ 4306 w 2007107"/>
              <a:gd name="connsiteY1" fmla="*/ 0 h 5756198"/>
              <a:gd name="connsiteX2" fmla="*/ 2007106 w 2007107"/>
              <a:gd name="connsiteY2" fmla="*/ 2002804 h 5756198"/>
              <a:gd name="connsiteX3" fmla="*/ 2007107 w 2007107"/>
              <a:gd name="connsiteY3" fmla="*/ 5756198 h 5756198"/>
              <a:gd name="connsiteX4" fmla="*/ 4136 w 2007107"/>
              <a:gd name="connsiteY4" fmla="*/ 5756198 h 5756198"/>
              <a:gd name="connsiteX5" fmla="*/ 1176 w 2007107"/>
              <a:gd name="connsiteY5" fmla="*/ 809729 h 5756198"/>
              <a:gd name="connsiteX0" fmla="*/ 1176 w 2007107"/>
              <a:gd name="connsiteY0" fmla="*/ 812689 h 5759158"/>
              <a:gd name="connsiteX1" fmla="*/ 4306 w 2007107"/>
              <a:gd name="connsiteY1" fmla="*/ 0 h 5759158"/>
              <a:gd name="connsiteX2" fmla="*/ 2007106 w 2007107"/>
              <a:gd name="connsiteY2" fmla="*/ 2005764 h 5759158"/>
              <a:gd name="connsiteX3" fmla="*/ 2007107 w 2007107"/>
              <a:gd name="connsiteY3" fmla="*/ 5759158 h 5759158"/>
              <a:gd name="connsiteX4" fmla="*/ 4136 w 2007107"/>
              <a:gd name="connsiteY4" fmla="*/ 5759158 h 5759158"/>
              <a:gd name="connsiteX5" fmla="*/ 1176 w 2007107"/>
              <a:gd name="connsiteY5" fmla="*/ 812689 h 5759158"/>
              <a:gd name="connsiteX0" fmla="*/ 2134 w 2008065"/>
              <a:gd name="connsiteY0" fmla="*/ 818607 h 5765076"/>
              <a:gd name="connsiteX1" fmla="*/ 2305 w 2008065"/>
              <a:gd name="connsiteY1" fmla="*/ 0 h 5765076"/>
              <a:gd name="connsiteX2" fmla="*/ 2008064 w 2008065"/>
              <a:gd name="connsiteY2" fmla="*/ 2011682 h 5765076"/>
              <a:gd name="connsiteX3" fmla="*/ 2008065 w 2008065"/>
              <a:gd name="connsiteY3" fmla="*/ 5765076 h 5765076"/>
              <a:gd name="connsiteX4" fmla="*/ 5094 w 2008065"/>
              <a:gd name="connsiteY4" fmla="*/ 5765076 h 5765076"/>
              <a:gd name="connsiteX5" fmla="*/ 2134 w 2008065"/>
              <a:gd name="connsiteY5" fmla="*/ 818607 h 5765076"/>
              <a:gd name="connsiteX0" fmla="*/ 3089 w 2009020"/>
              <a:gd name="connsiteY0" fmla="*/ 818607 h 5765076"/>
              <a:gd name="connsiteX1" fmla="*/ 3260 w 2009020"/>
              <a:gd name="connsiteY1" fmla="*/ 0 h 5765076"/>
              <a:gd name="connsiteX2" fmla="*/ 2009019 w 2009020"/>
              <a:gd name="connsiteY2" fmla="*/ 2011682 h 5765076"/>
              <a:gd name="connsiteX3" fmla="*/ 2009020 w 2009020"/>
              <a:gd name="connsiteY3" fmla="*/ 5765076 h 5765076"/>
              <a:gd name="connsiteX4" fmla="*/ 131 w 2009020"/>
              <a:gd name="connsiteY4" fmla="*/ 5762117 h 5765076"/>
              <a:gd name="connsiteX5" fmla="*/ 3089 w 2009020"/>
              <a:gd name="connsiteY5" fmla="*/ 818607 h 5765076"/>
              <a:gd name="connsiteX0" fmla="*/ 3089 w 2009020"/>
              <a:gd name="connsiteY0" fmla="*/ 818607 h 5765076"/>
              <a:gd name="connsiteX1" fmla="*/ 3260 w 2009020"/>
              <a:gd name="connsiteY1" fmla="*/ 0 h 5765076"/>
              <a:gd name="connsiteX2" fmla="*/ 2009019 w 2009020"/>
              <a:gd name="connsiteY2" fmla="*/ 2006602 h 5765076"/>
              <a:gd name="connsiteX3" fmla="*/ 2009020 w 2009020"/>
              <a:gd name="connsiteY3" fmla="*/ 5765076 h 5765076"/>
              <a:gd name="connsiteX4" fmla="*/ 131 w 2009020"/>
              <a:gd name="connsiteY4" fmla="*/ 5762117 h 5765076"/>
              <a:gd name="connsiteX5" fmla="*/ 3089 w 2009020"/>
              <a:gd name="connsiteY5" fmla="*/ 818607 h 576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9020" h="5765076">
                <a:moveTo>
                  <a:pt x="3089" y="818607"/>
                </a:moveTo>
                <a:cubicBezTo>
                  <a:pt x="186" y="545738"/>
                  <a:pt x="244" y="272869"/>
                  <a:pt x="3260" y="0"/>
                </a:cubicBezTo>
                <a:lnTo>
                  <a:pt x="2009019" y="2006602"/>
                </a:lnTo>
                <a:cubicBezTo>
                  <a:pt x="2009019" y="3257733"/>
                  <a:pt x="2009020" y="4513945"/>
                  <a:pt x="2009020" y="5765076"/>
                </a:cubicBezTo>
                <a:lnTo>
                  <a:pt x="131" y="5762117"/>
                </a:lnTo>
                <a:cubicBezTo>
                  <a:pt x="-856" y="4113294"/>
                  <a:pt x="4076" y="2467430"/>
                  <a:pt x="3089" y="818607"/>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05 Text Office" panose="020B0504040000000004" pitchFamily="34" charset="0"/>
            </a:endParaRPr>
          </a:p>
        </p:txBody>
      </p:sp>
      <p:sp>
        <p:nvSpPr>
          <p:cNvPr id="2" name="Titel 1">
            <a:extLst>
              <a:ext uri="{FF2B5EF4-FFF2-40B4-BE49-F238E27FC236}">
                <a16:creationId xmlns:a16="http://schemas.microsoft.com/office/drawing/2014/main" id="{24DB710D-111D-4D1F-920E-93807F9F820B}"/>
              </a:ext>
            </a:extLst>
          </p:cNvPr>
          <p:cNvSpPr>
            <a:spLocks noGrp="1"/>
          </p:cNvSpPr>
          <p:nvPr>
            <p:ph type="title" hasCustomPrompt="1"/>
          </p:nvPr>
        </p:nvSpPr>
        <p:spPr>
          <a:xfrm>
            <a:off x="515938" y="625943"/>
            <a:ext cx="6120000" cy="702000"/>
          </a:xfrm>
        </p:spPr>
        <p:txBody>
          <a:bodyPr/>
          <a:lstStyle>
            <a:lvl1pPr>
              <a:defRPr cap="all" baseline="0">
                <a:solidFill>
                  <a:schemeClr val="bg1"/>
                </a:solidFill>
                <a:latin typeface="M05 Text Office Bold" panose="020B0804040000000004" pitchFamily="34" charset="0"/>
              </a:defRPr>
            </a:lvl1pPr>
          </a:lstStyle>
          <a:p>
            <a:r>
              <a:rPr lang="de-DE"/>
              <a:t>Vielen dank für ihr </a:t>
            </a:r>
            <a:r>
              <a:rPr lang="de-DE" err="1"/>
              <a:t>interesse</a:t>
            </a:r>
            <a:r>
              <a:rPr lang="de-DE"/>
              <a:t>!</a:t>
            </a:r>
            <a:br>
              <a:rPr lang="de-DE"/>
            </a:br>
            <a:r>
              <a:rPr lang="de-DE"/>
              <a:t>Wir freuen uns auf den weiteren </a:t>
            </a:r>
            <a:r>
              <a:rPr lang="de-DE" err="1"/>
              <a:t>dialog</a:t>
            </a:r>
            <a:r>
              <a:rPr lang="de-DE"/>
              <a:t>.</a:t>
            </a:r>
          </a:p>
        </p:txBody>
      </p:sp>
      <p:pic>
        <p:nvPicPr>
          <p:cNvPr id="13" name="D698148C-CA09-43BD-B1C9-3914DFABA756" descr="44114607-2DD6-4C93-9CE1-092E3839FC0E@fritz">
            <a:extLst>
              <a:ext uri="{FF2B5EF4-FFF2-40B4-BE49-F238E27FC236}">
                <a16:creationId xmlns:a16="http://schemas.microsoft.com/office/drawing/2014/main" id="{B656ED68-28DB-4837-8D76-3A74DEEA261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02818" y="5370031"/>
            <a:ext cx="1012407" cy="94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79267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image" Target="../media/image1.png"/><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heme" Target="../theme/theme3.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4.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image" Target="../media/image1.png"/><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537D5437-84D3-4978-B667-1C0C4CC76A39}"/>
              </a:ext>
            </a:extLst>
          </p:cNvPr>
          <p:cNvGrpSpPr>
            <a:grpSpLocks noChangeAspect="1"/>
          </p:cNvGrpSpPr>
          <p:nvPr userDrawn="1"/>
        </p:nvGrpSpPr>
        <p:grpSpPr>
          <a:xfrm>
            <a:off x="11079929" y="0"/>
            <a:ext cx="1112071" cy="1080000"/>
            <a:chOff x="709294" y="281532"/>
            <a:chExt cx="429826" cy="417430"/>
          </a:xfrm>
        </p:grpSpPr>
        <p:sp>
          <p:nvSpPr>
            <p:cNvPr id="12" name="Rechteck: eine Ecke abgeschnitten 3">
              <a:extLst>
                <a:ext uri="{FF2B5EF4-FFF2-40B4-BE49-F238E27FC236}">
                  <a16:creationId xmlns:a16="http://schemas.microsoft.com/office/drawing/2014/main" id="{B5C35C1B-42D9-4F63-95C6-FF1E6496753A}"/>
                </a:ext>
              </a:extLst>
            </p:cNvPr>
            <p:cNvSpPr/>
            <p:nvPr userDrawn="1"/>
          </p:nvSpPr>
          <p:spPr>
            <a:xfrm rot="16200000" flipH="1">
              <a:off x="656291" y="334535"/>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sp>
          <p:nvSpPr>
            <p:cNvPr id="13" name="Rechteck: eine Ecke abgeschnitten 3">
              <a:extLst>
                <a:ext uri="{FF2B5EF4-FFF2-40B4-BE49-F238E27FC236}">
                  <a16:creationId xmlns:a16="http://schemas.microsoft.com/office/drawing/2014/main" id="{1D7E76EC-8282-4316-A0EB-686A38CE1EB9}"/>
                </a:ext>
              </a:extLst>
            </p:cNvPr>
            <p:cNvSpPr/>
            <p:nvPr userDrawn="1"/>
          </p:nvSpPr>
          <p:spPr>
            <a:xfrm rot="5400000" flipH="1">
              <a:off x="656291" y="431046"/>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sp>
          <p:nvSpPr>
            <p:cNvPr id="14" name="Rechteck: eine Ecke abgeschnitten 3">
              <a:extLst>
                <a:ext uri="{FF2B5EF4-FFF2-40B4-BE49-F238E27FC236}">
                  <a16:creationId xmlns:a16="http://schemas.microsoft.com/office/drawing/2014/main" id="{3753FEF1-287D-464A-8A60-01CA1655228B}"/>
                </a:ext>
              </a:extLst>
            </p:cNvPr>
            <p:cNvSpPr/>
            <p:nvPr userDrawn="1"/>
          </p:nvSpPr>
          <p:spPr>
            <a:xfrm rot="5400000">
              <a:off x="871204" y="334535"/>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sp>
          <p:nvSpPr>
            <p:cNvPr id="15" name="Rechteck: eine Ecke abgeschnitten 3">
              <a:extLst>
                <a:ext uri="{FF2B5EF4-FFF2-40B4-BE49-F238E27FC236}">
                  <a16:creationId xmlns:a16="http://schemas.microsoft.com/office/drawing/2014/main" id="{FB0BC2A2-E40A-4E39-905D-79ADBDC9833A}"/>
                </a:ext>
              </a:extLst>
            </p:cNvPr>
            <p:cNvSpPr/>
            <p:nvPr userDrawn="1"/>
          </p:nvSpPr>
          <p:spPr>
            <a:xfrm rot="5400000" flipH="1" flipV="1">
              <a:off x="871204" y="431046"/>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grpSp>
      <p:sp>
        <p:nvSpPr>
          <p:cNvPr id="53" name="Foliennummernplatzhalter 52">
            <a:extLst>
              <a:ext uri="{FF2B5EF4-FFF2-40B4-BE49-F238E27FC236}">
                <a16:creationId xmlns:a16="http://schemas.microsoft.com/office/drawing/2014/main" id="{F46AF86A-C60B-4EC1-A145-300A7AB7CE39}"/>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037" name="Titelplatzhalter 1036">
            <a:extLst>
              <a:ext uri="{FF2B5EF4-FFF2-40B4-BE49-F238E27FC236}">
                <a16:creationId xmlns:a16="http://schemas.microsoft.com/office/drawing/2014/main" id="{49D302E7-BD56-4476-894F-7892CD1541B8}"/>
              </a:ext>
            </a:extLst>
          </p:cNvPr>
          <p:cNvSpPr>
            <a:spLocks noGrp="1"/>
          </p:cNvSpPr>
          <p:nvPr>
            <p:ph type="title"/>
          </p:nvPr>
        </p:nvSpPr>
        <p:spPr>
          <a:xfrm>
            <a:off x="330201" y="550151"/>
            <a:ext cx="10728000" cy="702000"/>
          </a:xfrm>
          <a:prstGeom prst="rect">
            <a:avLst/>
          </a:prstGeom>
        </p:spPr>
        <p:txBody>
          <a:bodyPr vert="horz" lIns="0" tIns="0" rIns="54000" bIns="0" rtlCol="0" anchor="t">
            <a:noAutofit/>
          </a:bodyPr>
          <a:lstStyle/>
          <a:p>
            <a:r>
              <a:rPr lang="de-DE" sz="2800">
                <a:solidFill>
                  <a:schemeClr val="bg2"/>
                </a:solidFill>
              </a:rPr>
              <a:t>ZWEIZEILIGE ÜBERSCHRIFT M05 TEXT BOLD 28 PT IN GROSSBUCHSTABEN IN ROT</a:t>
            </a:r>
          </a:p>
        </p:txBody>
      </p:sp>
      <p:sp>
        <p:nvSpPr>
          <p:cNvPr id="4" name="Rechteck 3">
            <a:extLst>
              <a:ext uri="{FF2B5EF4-FFF2-40B4-BE49-F238E27FC236}">
                <a16:creationId xmlns:a16="http://schemas.microsoft.com/office/drawing/2014/main" id="{52FA2AB1-917F-4ACE-B865-C4FD1BE84CB0}"/>
              </a:ext>
            </a:extLst>
          </p:cNvPr>
          <p:cNvSpPr/>
          <p:nvPr userDrawn="1"/>
        </p:nvSpPr>
        <p:spPr>
          <a:xfrm>
            <a:off x="11635963" y="1080002"/>
            <a:ext cx="556037" cy="57779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05 Text Office" panose="020B0504040000000004" pitchFamily="34" charset="0"/>
            </a:endParaRPr>
          </a:p>
        </p:txBody>
      </p:sp>
      <p:pic>
        <p:nvPicPr>
          <p:cNvPr id="2050" name="D698148C-CA09-43BD-B1C9-3914DFABA756" descr="44114607-2DD6-4C93-9CE1-092E3839FC0E@fritz">
            <a:extLst>
              <a:ext uri="{FF2B5EF4-FFF2-40B4-BE49-F238E27FC236}">
                <a16:creationId xmlns:a16="http://schemas.microsoft.com/office/drawing/2014/main" id="{9EEAA12B-9749-4B94-A057-8D5FE74C2B9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1258785" y="550151"/>
            <a:ext cx="754353" cy="70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91279326"/>
      </p:ext>
    </p:extLst>
  </p:cSld>
  <p:clrMap bg1="lt1" tx1="dk1" bg2="lt2" tx2="dk2" accent1="accent1" accent2="accent2" accent3="accent3" accent4="accent4" accent5="accent5" accent6="accent6" hlink="hlink" folHlink="folHlink"/>
  <p:sldLayoutIdLst>
    <p:sldLayoutId id="2147483950" r:id="rId1"/>
    <p:sldLayoutId id="2147483986" r:id="rId2"/>
    <p:sldLayoutId id="2147483951" r:id="rId3"/>
    <p:sldLayoutId id="2147483956" r:id="rId4"/>
    <p:sldLayoutId id="2147483957" r:id="rId5"/>
    <p:sldLayoutId id="2147483958" r:id="rId6"/>
    <p:sldLayoutId id="2147483959" r:id="rId7"/>
    <p:sldLayoutId id="2147483960" r:id="rId8"/>
    <p:sldLayoutId id="2147483961" r:id="rId9"/>
    <p:sldLayoutId id="2147484023" r:id="rId10"/>
    <p:sldLayoutId id="2147484024" r:id="rId11"/>
  </p:sldLayoutIdLst>
  <p:hf hdr="0" ftr="0" dt="0"/>
  <p:txStyles>
    <p:titleStyle>
      <a:lvl1pPr algn="l" defTabSz="914400" rtl="0" eaLnBrk="1" latinLnBrk="0" hangingPunct="1">
        <a:lnSpc>
          <a:spcPct val="90000"/>
        </a:lnSpc>
        <a:spcBef>
          <a:spcPct val="0"/>
        </a:spcBef>
        <a:buNone/>
        <a:defRPr sz="2800" kern="1200" cap="all" baseline="0">
          <a:solidFill>
            <a:schemeClr val="bg2"/>
          </a:solidFill>
          <a:latin typeface="M05 Text Office Bold" panose="020B0804040000000004" pitchFamily="34" charset="0"/>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85">
          <p15:clr>
            <a:srgbClr val="F26B43"/>
          </p15:clr>
        </p15:guide>
        <p15:guide id="2" pos="211">
          <p15:clr>
            <a:srgbClr val="F26B43"/>
          </p15:clr>
        </p15:guide>
        <p15:guide id="3" pos="7333">
          <p15:clr>
            <a:srgbClr val="F26B43"/>
          </p15:clr>
        </p15:guide>
        <p15:guide id="4" orient="horz" pos="3974">
          <p15:clr>
            <a:srgbClr val="F26B43"/>
          </p15:clr>
        </p15:guide>
        <p15:guide id="5" pos="69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537D5437-84D3-4978-B667-1C0C4CC76A39}"/>
              </a:ext>
            </a:extLst>
          </p:cNvPr>
          <p:cNvGrpSpPr>
            <a:grpSpLocks noChangeAspect="1"/>
          </p:cNvGrpSpPr>
          <p:nvPr userDrawn="1"/>
        </p:nvGrpSpPr>
        <p:grpSpPr>
          <a:xfrm>
            <a:off x="11079929" y="0"/>
            <a:ext cx="1112071" cy="1080000"/>
            <a:chOff x="709294" y="281532"/>
            <a:chExt cx="429826" cy="417430"/>
          </a:xfrm>
        </p:grpSpPr>
        <p:sp>
          <p:nvSpPr>
            <p:cNvPr id="12" name="Rechteck: eine Ecke abgeschnitten 3">
              <a:extLst>
                <a:ext uri="{FF2B5EF4-FFF2-40B4-BE49-F238E27FC236}">
                  <a16:creationId xmlns:a16="http://schemas.microsoft.com/office/drawing/2014/main" id="{B5C35C1B-42D9-4F63-95C6-FF1E6496753A}"/>
                </a:ext>
              </a:extLst>
            </p:cNvPr>
            <p:cNvSpPr/>
            <p:nvPr userDrawn="1"/>
          </p:nvSpPr>
          <p:spPr>
            <a:xfrm rot="16200000" flipH="1">
              <a:off x="656291" y="334535"/>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sp>
          <p:nvSpPr>
            <p:cNvPr id="13" name="Rechteck: eine Ecke abgeschnitten 3">
              <a:extLst>
                <a:ext uri="{FF2B5EF4-FFF2-40B4-BE49-F238E27FC236}">
                  <a16:creationId xmlns:a16="http://schemas.microsoft.com/office/drawing/2014/main" id="{1D7E76EC-8282-4316-A0EB-686A38CE1EB9}"/>
                </a:ext>
              </a:extLst>
            </p:cNvPr>
            <p:cNvSpPr/>
            <p:nvPr userDrawn="1"/>
          </p:nvSpPr>
          <p:spPr>
            <a:xfrm rot="5400000" flipH="1">
              <a:off x="656291" y="431046"/>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sp>
          <p:nvSpPr>
            <p:cNvPr id="14" name="Rechteck: eine Ecke abgeschnitten 3">
              <a:extLst>
                <a:ext uri="{FF2B5EF4-FFF2-40B4-BE49-F238E27FC236}">
                  <a16:creationId xmlns:a16="http://schemas.microsoft.com/office/drawing/2014/main" id="{3753FEF1-287D-464A-8A60-01CA1655228B}"/>
                </a:ext>
              </a:extLst>
            </p:cNvPr>
            <p:cNvSpPr/>
            <p:nvPr userDrawn="1"/>
          </p:nvSpPr>
          <p:spPr>
            <a:xfrm rot="5400000">
              <a:off x="871204" y="334535"/>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sp>
          <p:nvSpPr>
            <p:cNvPr id="15" name="Rechteck: eine Ecke abgeschnitten 3">
              <a:extLst>
                <a:ext uri="{FF2B5EF4-FFF2-40B4-BE49-F238E27FC236}">
                  <a16:creationId xmlns:a16="http://schemas.microsoft.com/office/drawing/2014/main" id="{FB0BC2A2-E40A-4E39-905D-79ADBDC9833A}"/>
                </a:ext>
              </a:extLst>
            </p:cNvPr>
            <p:cNvSpPr/>
            <p:nvPr userDrawn="1"/>
          </p:nvSpPr>
          <p:spPr>
            <a:xfrm rot="5400000" flipH="1" flipV="1">
              <a:off x="871204" y="431046"/>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grpSp>
      <p:sp>
        <p:nvSpPr>
          <p:cNvPr id="53" name="Foliennummernplatzhalter 52">
            <a:extLst>
              <a:ext uri="{FF2B5EF4-FFF2-40B4-BE49-F238E27FC236}">
                <a16:creationId xmlns:a16="http://schemas.microsoft.com/office/drawing/2014/main" id="{F46AF86A-C60B-4EC1-A145-300A7AB7CE39}"/>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037" name="Titelplatzhalter 1036">
            <a:extLst>
              <a:ext uri="{FF2B5EF4-FFF2-40B4-BE49-F238E27FC236}">
                <a16:creationId xmlns:a16="http://schemas.microsoft.com/office/drawing/2014/main" id="{49D302E7-BD56-4476-894F-7892CD1541B8}"/>
              </a:ext>
            </a:extLst>
          </p:cNvPr>
          <p:cNvSpPr>
            <a:spLocks noGrp="1"/>
          </p:cNvSpPr>
          <p:nvPr>
            <p:ph type="title"/>
          </p:nvPr>
        </p:nvSpPr>
        <p:spPr>
          <a:xfrm>
            <a:off x="330201" y="550151"/>
            <a:ext cx="10728000" cy="702000"/>
          </a:xfrm>
          <a:prstGeom prst="rect">
            <a:avLst/>
          </a:prstGeom>
        </p:spPr>
        <p:txBody>
          <a:bodyPr vert="horz" lIns="0" tIns="0" rIns="54000" bIns="0" rtlCol="0" anchor="t">
            <a:noAutofit/>
          </a:bodyPr>
          <a:lstStyle/>
          <a:p>
            <a:r>
              <a:rPr lang="de-DE" sz="2800">
                <a:solidFill>
                  <a:schemeClr val="bg2"/>
                </a:solidFill>
              </a:rPr>
              <a:t>ZWEIZEILIGE ÜBERSCHRIFT M05 TEXT BOLD 28 PT IN GROSSBUCHSTABEN IN ROT</a:t>
            </a:r>
          </a:p>
        </p:txBody>
      </p:sp>
      <p:sp>
        <p:nvSpPr>
          <p:cNvPr id="4" name="Rechteck 3">
            <a:extLst>
              <a:ext uri="{FF2B5EF4-FFF2-40B4-BE49-F238E27FC236}">
                <a16:creationId xmlns:a16="http://schemas.microsoft.com/office/drawing/2014/main" id="{52FA2AB1-917F-4ACE-B865-C4FD1BE84CB0}"/>
              </a:ext>
            </a:extLst>
          </p:cNvPr>
          <p:cNvSpPr/>
          <p:nvPr userDrawn="1"/>
        </p:nvSpPr>
        <p:spPr>
          <a:xfrm>
            <a:off x="11635963" y="1080002"/>
            <a:ext cx="556037" cy="57779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05 Text Office" panose="020B0504040000000004" pitchFamily="34" charset="0"/>
            </a:endParaRPr>
          </a:p>
        </p:txBody>
      </p:sp>
      <p:pic>
        <p:nvPicPr>
          <p:cNvPr id="2050" name="D698148C-CA09-43BD-B1C9-3914DFABA756" descr="44114607-2DD6-4C93-9CE1-092E3839FC0E@fritz">
            <a:extLst>
              <a:ext uri="{FF2B5EF4-FFF2-40B4-BE49-F238E27FC236}">
                <a16:creationId xmlns:a16="http://schemas.microsoft.com/office/drawing/2014/main" id="{9EEAA12B-9749-4B94-A057-8D5FE74C2B95}"/>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258785" y="550151"/>
            <a:ext cx="754353" cy="70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44394986"/>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9" r:id="rId5"/>
    <p:sldLayoutId id="2147484020" r:id="rId6"/>
  </p:sldLayoutIdLst>
  <p:hf hdr="0" ftr="0" dt="0"/>
  <p:txStyles>
    <p:titleStyle>
      <a:lvl1pPr algn="l" defTabSz="914400" rtl="0" eaLnBrk="1" latinLnBrk="0" hangingPunct="1">
        <a:lnSpc>
          <a:spcPct val="90000"/>
        </a:lnSpc>
        <a:spcBef>
          <a:spcPct val="0"/>
        </a:spcBef>
        <a:buNone/>
        <a:defRPr sz="2800" kern="1200" cap="all" baseline="0">
          <a:solidFill>
            <a:schemeClr val="bg2"/>
          </a:solidFill>
          <a:latin typeface="M05 Text Office Bold" panose="020B0804040000000004" pitchFamily="34" charset="0"/>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85">
          <p15:clr>
            <a:srgbClr val="F26B43"/>
          </p15:clr>
        </p15:guide>
        <p15:guide id="2" pos="211">
          <p15:clr>
            <a:srgbClr val="F26B43"/>
          </p15:clr>
        </p15:guide>
        <p15:guide id="3" pos="7333">
          <p15:clr>
            <a:srgbClr val="F26B43"/>
          </p15:clr>
        </p15:guide>
        <p15:guide id="4" orient="horz" pos="3974">
          <p15:clr>
            <a:srgbClr val="F26B43"/>
          </p15:clr>
        </p15:guide>
        <p15:guide id="5" pos="69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537D5437-84D3-4978-B667-1C0C4CC76A39}"/>
              </a:ext>
            </a:extLst>
          </p:cNvPr>
          <p:cNvGrpSpPr>
            <a:grpSpLocks noChangeAspect="1"/>
          </p:cNvGrpSpPr>
          <p:nvPr userDrawn="1"/>
        </p:nvGrpSpPr>
        <p:grpSpPr>
          <a:xfrm>
            <a:off x="11079929" y="0"/>
            <a:ext cx="1112071" cy="1080000"/>
            <a:chOff x="709294" y="281532"/>
            <a:chExt cx="429826" cy="417430"/>
          </a:xfrm>
        </p:grpSpPr>
        <p:sp>
          <p:nvSpPr>
            <p:cNvPr id="12" name="Rechteck: eine Ecke abgeschnitten 3">
              <a:extLst>
                <a:ext uri="{FF2B5EF4-FFF2-40B4-BE49-F238E27FC236}">
                  <a16:creationId xmlns:a16="http://schemas.microsoft.com/office/drawing/2014/main" id="{B5C35C1B-42D9-4F63-95C6-FF1E6496753A}"/>
                </a:ext>
              </a:extLst>
            </p:cNvPr>
            <p:cNvSpPr/>
            <p:nvPr userDrawn="1"/>
          </p:nvSpPr>
          <p:spPr>
            <a:xfrm rot="16200000" flipH="1">
              <a:off x="656291" y="334535"/>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sp>
          <p:nvSpPr>
            <p:cNvPr id="13" name="Rechteck: eine Ecke abgeschnitten 3">
              <a:extLst>
                <a:ext uri="{FF2B5EF4-FFF2-40B4-BE49-F238E27FC236}">
                  <a16:creationId xmlns:a16="http://schemas.microsoft.com/office/drawing/2014/main" id="{1D7E76EC-8282-4316-A0EB-686A38CE1EB9}"/>
                </a:ext>
              </a:extLst>
            </p:cNvPr>
            <p:cNvSpPr/>
            <p:nvPr userDrawn="1"/>
          </p:nvSpPr>
          <p:spPr>
            <a:xfrm rot="5400000" flipH="1">
              <a:off x="656291" y="431046"/>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sp>
          <p:nvSpPr>
            <p:cNvPr id="14" name="Rechteck: eine Ecke abgeschnitten 3">
              <a:extLst>
                <a:ext uri="{FF2B5EF4-FFF2-40B4-BE49-F238E27FC236}">
                  <a16:creationId xmlns:a16="http://schemas.microsoft.com/office/drawing/2014/main" id="{3753FEF1-287D-464A-8A60-01CA1655228B}"/>
                </a:ext>
              </a:extLst>
            </p:cNvPr>
            <p:cNvSpPr/>
            <p:nvPr userDrawn="1"/>
          </p:nvSpPr>
          <p:spPr>
            <a:xfrm rot="5400000">
              <a:off x="871204" y="334535"/>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sp>
          <p:nvSpPr>
            <p:cNvPr id="15" name="Rechteck: eine Ecke abgeschnitten 3">
              <a:extLst>
                <a:ext uri="{FF2B5EF4-FFF2-40B4-BE49-F238E27FC236}">
                  <a16:creationId xmlns:a16="http://schemas.microsoft.com/office/drawing/2014/main" id="{FB0BC2A2-E40A-4E39-905D-79ADBDC9833A}"/>
                </a:ext>
              </a:extLst>
            </p:cNvPr>
            <p:cNvSpPr/>
            <p:nvPr userDrawn="1"/>
          </p:nvSpPr>
          <p:spPr>
            <a:xfrm rot="5400000" flipH="1" flipV="1">
              <a:off x="871204" y="431046"/>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grpSp>
      <p:sp>
        <p:nvSpPr>
          <p:cNvPr id="53" name="Foliennummernplatzhalter 52">
            <a:extLst>
              <a:ext uri="{FF2B5EF4-FFF2-40B4-BE49-F238E27FC236}">
                <a16:creationId xmlns:a16="http://schemas.microsoft.com/office/drawing/2014/main" id="{F46AF86A-C60B-4EC1-A145-300A7AB7CE39}"/>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037" name="Titelplatzhalter 1036">
            <a:extLst>
              <a:ext uri="{FF2B5EF4-FFF2-40B4-BE49-F238E27FC236}">
                <a16:creationId xmlns:a16="http://schemas.microsoft.com/office/drawing/2014/main" id="{49D302E7-BD56-4476-894F-7892CD1541B8}"/>
              </a:ext>
            </a:extLst>
          </p:cNvPr>
          <p:cNvSpPr>
            <a:spLocks noGrp="1"/>
          </p:cNvSpPr>
          <p:nvPr>
            <p:ph type="title"/>
          </p:nvPr>
        </p:nvSpPr>
        <p:spPr>
          <a:xfrm>
            <a:off x="330201" y="550151"/>
            <a:ext cx="10728000" cy="702000"/>
          </a:xfrm>
          <a:prstGeom prst="rect">
            <a:avLst/>
          </a:prstGeom>
        </p:spPr>
        <p:txBody>
          <a:bodyPr vert="horz" lIns="0" tIns="0" rIns="54000" bIns="0" rtlCol="0" anchor="t">
            <a:noAutofit/>
          </a:bodyPr>
          <a:lstStyle/>
          <a:p>
            <a:r>
              <a:rPr lang="de-DE" sz="2800">
                <a:solidFill>
                  <a:schemeClr val="bg2"/>
                </a:solidFill>
              </a:rPr>
              <a:t>ZWEIZEILIGE ÜBERSCHRIFT M05 TEXT BOLD 28 PT IN GROSSBUCHSTABEN IN ROT</a:t>
            </a:r>
          </a:p>
        </p:txBody>
      </p:sp>
      <p:sp>
        <p:nvSpPr>
          <p:cNvPr id="4" name="Rechteck 3">
            <a:extLst>
              <a:ext uri="{FF2B5EF4-FFF2-40B4-BE49-F238E27FC236}">
                <a16:creationId xmlns:a16="http://schemas.microsoft.com/office/drawing/2014/main" id="{52FA2AB1-917F-4ACE-B865-C4FD1BE84CB0}"/>
              </a:ext>
            </a:extLst>
          </p:cNvPr>
          <p:cNvSpPr/>
          <p:nvPr userDrawn="1"/>
        </p:nvSpPr>
        <p:spPr>
          <a:xfrm>
            <a:off x="11635963" y="1080002"/>
            <a:ext cx="556037" cy="57779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05 Text Office" panose="020B0504040000000004" pitchFamily="34" charset="0"/>
            </a:endParaRPr>
          </a:p>
        </p:txBody>
      </p:sp>
      <p:pic>
        <p:nvPicPr>
          <p:cNvPr id="2050" name="D698148C-CA09-43BD-B1C9-3914DFABA756" descr="44114607-2DD6-4C93-9CE1-092E3839FC0E@fritz">
            <a:extLst>
              <a:ext uri="{FF2B5EF4-FFF2-40B4-BE49-F238E27FC236}">
                <a16:creationId xmlns:a16="http://schemas.microsoft.com/office/drawing/2014/main" id="{9EEAA12B-9749-4B94-A057-8D5FE74C2B95}"/>
              </a:ext>
            </a:extLst>
          </p:cNvPr>
          <p:cNvPicPr>
            <a:picLocks noChangeAspect="1" noChangeArrowheads="1"/>
          </p:cNvPicPr>
          <p:nvPr userDrawn="1"/>
        </p:nvPicPr>
        <p:blipFill>
          <a:blip r:embed="rId25">
            <a:extLst>
              <a:ext uri="{28A0092B-C50C-407E-A947-70E740481C1C}">
                <a14:useLocalDpi xmlns:a14="http://schemas.microsoft.com/office/drawing/2010/main" val="0"/>
              </a:ext>
            </a:extLst>
          </a:blip>
          <a:srcRect/>
          <a:stretch>
            <a:fillRect/>
          </a:stretch>
        </p:blipFill>
        <p:spPr bwMode="auto">
          <a:xfrm>
            <a:off x="11258785" y="550151"/>
            <a:ext cx="754353" cy="70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35472977"/>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82" r:id="rId7"/>
    <p:sldLayoutId id="2147483992" r:id="rId8"/>
    <p:sldLayoutId id="2147483968" r:id="rId9"/>
    <p:sldLayoutId id="2147483969" r:id="rId10"/>
    <p:sldLayoutId id="2147483970" r:id="rId11"/>
    <p:sldLayoutId id="2147483971" r:id="rId12"/>
    <p:sldLayoutId id="2147483977" r:id="rId13"/>
    <p:sldLayoutId id="2147483972" r:id="rId14"/>
    <p:sldLayoutId id="2147483973" r:id="rId15"/>
    <p:sldLayoutId id="2147483974" r:id="rId16"/>
    <p:sldLayoutId id="2147483975" r:id="rId17"/>
    <p:sldLayoutId id="2147484021" r:id="rId18"/>
    <p:sldLayoutId id="2147483976" r:id="rId19"/>
    <p:sldLayoutId id="2147483988" r:id="rId20"/>
    <p:sldLayoutId id="2147483989" r:id="rId21"/>
    <p:sldLayoutId id="2147483997" r:id="rId22"/>
    <p:sldLayoutId id="2147483998" r:id="rId23"/>
  </p:sldLayoutIdLst>
  <p:hf hdr="0" ftr="0" dt="0"/>
  <p:txStyles>
    <p:titleStyle>
      <a:lvl1pPr algn="l" defTabSz="914400" rtl="0" eaLnBrk="1" latinLnBrk="0" hangingPunct="1">
        <a:lnSpc>
          <a:spcPct val="90000"/>
        </a:lnSpc>
        <a:spcBef>
          <a:spcPct val="0"/>
        </a:spcBef>
        <a:buNone/>
        <a:defRPr sz="2800" kern="1200" cap="all" baseline="0">
          <a:solidFill>
            <a:schemeClr val="bg2"/>
          </a:solidFill>
          <a:latin typeface="M05 Text Office Bold" panose="020B0804040000000004" pitchFamily="34" charset="0"/>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85">
          <p15:clr>
            <a:srgbClr val="F26B43"/>
          </p15:clr>
        </p15:guide>
        <p15:guide id="2" pos="211">
          <p15:clr>
            <a:srgbClr val="F26B43"/>
          </p15:clr>
        </p15:guide>
        <p15:guide id="3" pos="7333">
          <p15:clr>
            <a:srgbClr val="F26B43"/>
          </p15:clr>
        </p15:guide>
        <p15:guide id="4" orient="horz" pos="3974">
          <p15:clr>
            <a:srgbClr val="F26B43"/>
          </p15:clr>
        </p15:guide>
        <p15:guide id="5" pos="697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537D5437-84D3-4978-B667-1C0C4CC76A39}"/>
              </a:ext>
            </a:extLst>
          </p:cNvPr>
          <p:cNvGrpSpPr>
            <a:grpSpLocks noChangeAspect="1"/>
          </p:cNvGrpSpPr>
          <p:nvPr userDrawn="1"/>
        </p:nvGrpSpPr>
        <p:grpSpPr>
          <a:xfrm>
            <a:off x="11079929" y="0"/>
            <a:ext cx="1112071" cy="1080000"/>
            <a:chOff x="709294" y="281532"/>
            <a:chExt cx="429826" cy="417430"/>
          </a:xfrm>
        </p:grpSpPr>
        <p:sp>
          <p:nvSpPr>
            <p:cNvPr id="12" name="Rechteck: eine Ecke abgeschnitten 3">
              <a:extLst>
                <a:ext uri="{FF2B5EF4-FFF2-40B4-BE49-F238E27FC236}">
                  <a16:creationId xmlns:a16="http://schemas.microsoft.com/office/drawing/2014/main" id="{B5C35C1B-42D9-4F63-95C6-FF1E6496753A}"/>
                </a:ext>
              </a:extLst>
            </p:cNvPr>
            <p:cNvSpPr/>
            <p:nvPr userDrawn="1"/>
          </p:nvSpPr>
          <p:spPr>
            <a:xfrm rot="16200000" flipH="1">
              <a:off x="656291" y="334535"/>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sp>
          <p:nvSpPr>
            <p:cNvPr id="13" name="Rechteck: eine Ecke abgeschnitten 3">
              <a:extLst>
                <a:ext uri="{FF2B5EF4-FFF2-40B4-BE49-F238E27FC236}">
                  <a16:creationId xmlns:a16="http://schemas.microsoft.com/office/drawing/2014/main" id="{1D7E76EC-8282-4316-A0EB-686A38CE1EB9}"/>
                </a:ext>
              </a:extLst>
            </p:cNvPr>
            <p:cNvSpPr/>
            <p:nvPr userDrawn="1"/>
          </p:nvSpPr>
          <p:spPr>
            <a:xfrm rot="5400000" flipH="1">
              <a:off x="656291" y="431046"/>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sp>
          <p:nvSpPr>
            <p:cNvPr id="14" name="Rechteck: eine Ecke abgeschnitten 3">
              <a:extLst>
                <a:ext uri="{FF2B5EF4-FFF2-40B4-BE49-F238E27FC236}">
                  <a16:creationId xmlns:a16="http://schemas.microsoft.com/office/drawing/2014/main" id="{3753FEF1-287D-464A-8A60-01CA1655228B}"/>
                </a:ext>
              </a:extLst>
            </p:cNvPr>
            <p:cNvSpPr/>
            <p:nvPr userDrawn="1"/>
          </p:nvSpPr>
          <p:spPr>
            <a:xfrm rot="5400000">
              <a:off x="871204" y="334535"/>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sp>
          <p:nvSpPr>
            <p:cNvPr id="15" name="Rechteck: eine Ecke abgeschnitten 3">
              <a:extLst>
                <a:ext uri="{FF2B5EF4-FFF2-40B4-BE49-F238E27FC236}">
                  <a16:creationId xmlns:a16="http://schemas.microsoft.com/office/drawing/2014/main" id="{FB0BC2A2-E40A-4E39-905D-79ADBDC9833A}"/>
                </a:ext>
              </a:extLst>
            </p:cNvPr>
            <p:cNvSpPr/>
            <p:nvPr userDrawn="1"/>
          </p:nvSpPr>
          <p:spPr>
            <a:xfrm rot="5400000" flipH="1" flipV="1">
              <a:off x="871204" y="431046"/>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grpSp>
      <p:sp>
        <p:nvSpPr>
          <p:cNvPr id="53" name="Foliennummernplatzhalter 52">
            <a:extLst>
              <a:ext uri="{FF2B5EF4-FFF2-40B4-BE49-F238E27FC236}">
                <a16:creationId xmlns:a16="http://schemas.microsoft.com/office/drawing/2014/main" id="{F46AF86A-C60B-4EC1-A145-300A7AB7CE39}"/>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037" name="Titelplatzhalter 1036">
            <a:extLst>
              <a:ext uri="{FF2B5EF4-FFF2-40B4-BE49-F238E27FC236}">
                <a16:creationId xmlns:a16="http://schemas.microsoft.com/office/drawing/2014/main" id="{49D302E7-BD56-4476-894F-7892CD1541B8}"/>
              </a:ext>
            </a:extLst>
          </p:cNvPr>
          <p:cNvSpPr>
            <a:spLocks noGrp="1"/>
          </p:cNvSpPr>
          <p:nvPr>
            <p:ph type="title"/>
          </p:nvPr>
        </p:nvSpPr>
        <p:spPr>
          <a:xfrm>
            <a:off x="330201" y="550151"/>
            <a:ext cx="10728000" cy="702000"/>
          </a:xfrm>
          <a:prstGeom prst="rect">
            <a:avLst/>
          </a:prstGeom>
        </p:spPr>
        <p:txBody>
          <a:bodyPr vert="horz" lIns="0" tIns="0" rIns="54000" bIns="0" rtlCol="0" anchor="t">
            <a:noAutofit/>
          </a:bodyPr>
          <a:lstStyle/>
          <a:p>
            <a:r>
              <a:rPr lang="de-DE" sz="2800">
                <a:solidFill>
                  <a:schemeClr val="bg2"/>
                </a:solidFill>
              </a:rPr>
              <a:t>ZWEIZEILIGE ÜBERSCHRIFT M05 TEXT BOLD 28 PT IN GROSSBUCHSTABEN IN ROT</a:t>
            </a:r>
          </a:p>
        </p:txBody>
      </p:sp>
      <p:sp>
        <p:nvSpPr>
          <p:cNvPr id="4" name="Rechteck 3">
            <a:extLst>
              <a:ext uri="{FF2B5EF4-FFF2-40B4-BE49-F238E27FC236}">
                <a16:creationId xmlns:a16="http://schemas.microsoft.com/office/drawing/2014/main" id="{52FA2AB1-917F-4ACE-B865-C4FD1BE84CB0}"/>
              </a:ext>
            </a:extLst>
          </p:cNvPr>
          <p:cNvSpPr/>
          <p:nvPr userDrawn="1"/>
        </p:nvSpPr>
        <p:spPr>
          <a:xfrm>
            <a:off x="11635963" y="1080002"/>
            <a:ext cx="556037" cy="57779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05 Text Office" panose="020B0504040000000004" pitchFamily="34" charset="0"/>
            </a:endParaRPr>
          </a:p>
        </p:txBody>
      </p:sp>
      <p:pic>
        <p:nvPicPr>
          <p:cNvPr id="2050" name="D698148C-CA09-43BD-B1C9-3914DFABA756" descr="44114607-2DD6-4C93-9CE1-092E3839FC0E@fritz">
            <a:extLst>
              <a:ext uri="{FF2B5EF4-FFF2-40B4-BE49-F238E27FC236}">
                <a16:creationId xmlns:a16="http://schemas.microsoft.com/office/drawing/2014/main" id="{9EEAA12B-9749-4B94-A057-8D5FE74C2B95}"/>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1258785" y="550151"/>
            <a:ext cx="754353" cy="70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4876577"/>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832" r:id="rId4"/>
    <p:sldLayoutId id="2147483833" r:id="rId5"/>
    <p:sldLayoutId id="2147483990" r:id="rId6"/>
    <p:sldLayoutId id="2147483991" r:id="rId7"/>
    <p:sldLayoutId id="2147483834" r:id="rId8"/>
    <p:sldLayoutId id="2147483835" r:id="rId9"/>
    <p:sldLayoutId id="2147483836" r:id="rId10"/>
    <p:sldLayoutId id="2147483837" r:id="rId11"/>
    <p:sldLayoutId id="2147483999" r:id="rId12"/>
  </p:sldLayoutIdLst>
  <p:hf hdr="0" ftr="0" dt="0"/>
  <p:txStyles>
    <p:titleStyle>
      <a:lvl1pPr algn="l" defTabSz="914400" rtl="0" eaLnBrk="1" latinLnBrk="0" hangingPunct="1">
        <a:lnSpc>
          <a:spcPct val="90000"/>
        </a:lnSpc>
        <a:spcBef>
          <a:spcPct val="0"/>
        </a:spcBef>
        <a:buNone/>
        <a:defRPr sz="2800" kern="1200" cap="all" baseline="0">
          <a:solidFill>
            <a:schemeClr val="bg2"/>
          </a:solidFill>
          <a:latin typeface="M05 Text Office Bold" panose="020B0804040000000004" pitchFamily="34" charset="0"/>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85">
          <p15:clr>
            <a:srgbClr val="F26B43"/>
          </p15:clr>
        </p15:guide>
        <p15:guide id="2" pos="211">
          <p15:clr>
            <a:srgbClr val="F26B43"/>
          </p15:clr>
        </p15:guide>
        <p15:guide id="3" pos="7333">
          <p15:clr>
            <a:srgbClr val="F26B43"/>
          </p15:clr>
        </p15:guide>
        <p15:guide id="4" orient="horz" pos="3974">
          <p15:clr>
            <a:srgbClr val="F26B43"/>
          </p15:clr>
        </p15:guide>
        <p15:guide id="5" pos="697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537D5437-84D3-4978-B667-1C0C4CC76A39}"/>
              </a:ext>
            </a:extLst>
          </p:cNvPr>
          <p:cNvGrpSpPr>
            <a:grpSpLocks noChangeAspect="1"/>
          </p:cNvGrpSpPr>
          <p:nvPr userDrawn="1"/>
        </p:nvGrpSpPr>
        <p:grpSpPr>
          <a:xfrm>
            <a:off x="11079929" y="0"/>
            <a:ext cx="1112071" cy="1080000"/>
            <a:chOff x="709294" y="281532"/>
            <a:chExt cx="429826" cy="417430"/>
          </a:xfrm>
        </p:grpSpPr>
        <p:sp>
          <p:nvSpPr>
            <p:cNvPr id="12" name="Rechteck: eine Ecke abgeschnitten 3">
              <a:extLst>
                <a:ext uri="{FF2B5EF4-FFF2-40B4-BE49-F238E27FC236}">
                  <a16:creationId xmlns:a16="http://schemas.microsoft.com/office/drawing/2014/main" id="{B5C35C1B-42D9-4F63-95C6-FF1E6496753A}"/>
                </a:ext>
              </a:extLst>
            </p:cNvPr>
            <p:cNvSpPr/>
            <p:nvPr userDrawn="1"/>
          </p:nvSpPr>
          <p:spPr>
            <a:xfrm rot="16200000" flipH="1">
              <a:off x="656291" y="334535"/>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sp>
          <p:nvSpPr>
            <p:cNvPr id="13" name="Rechteck: eine Ecke abgeschnitten 3">
              <a:extLst>
                <a:ext uri="{FF2B5EF4-FFF2-40B4-BE49-F238E27FC236}">
                  <a16:creationId xmlns:a16="http://schemas.microsoft.com/office/drawing/2014/main" id="{1D7E76EC-8282-4316-A0EB-686A38CE1EB9}"/>
                </a:ext>
              </a:extLst>
            </p:cNvPr>
            <p:cNvSpPr/>
            <p:nvPr userDrawn="1"/>
          </p:nvSpPr>
          <p:spPr>
            <a:xfrm rot="5400000" flipH="1">
              <a:off x="656291" y="431046"/>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sp>
          <p:nvSpPr>
            <p:cNvPr id="14" name="Rechteck: eine Ecke abgeschnitten 3">
              <a:extLst>
                <a:ext uri="{FF2B5EF4-FFF2-40B4-BE49-F238E27FC236}">
                  <a16:creationId xmlns:a16="http://schemas.microsoft.com/office/drawing/2014/main" id="{3753FEF1-287D-464A-8A60-01CA1655228B}"/>
                </a:ext>
              </a:extLst>
            </p:cNvPr>
            <p:cNvSpPr/>
            <p:nvPr userDrawn="1"/>
          </p:nvSpPr>
          <p:spPr>
            <a:xfrm rot="5400000">
              <a:off x="871204" y="334535"/>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sp>
          <p:nvSpPr>
            <p:cNvPr id="15" name="Rechteck: eine Ecke abgeschnitten 3">
              <a:extLst>
                <a:ext uri="{FF2B5EF4-FFF2-40B4-BE49-F238E27FC236}">
                  <a16:creationId xmlns:a16="http://schemas.microsoft.com/office/drawing/2014/main" id="{FB0BC2A2-E40A-4E39-905D-79ADBDC9833A}"/>
                </a:ext>
              </a:extLst>
            </p:cNvPr>
            <p:cNvSpPr/>
            <p:nvPr userDrawn="1"/>
          </p:nvSpPr>
          <p:spPr>
            <a:xfrm rot="5400000" flipH="1" flipV="1">
              <a:off x="871204" y="431046"/>
              <a:ext cx="320919" cy="214913"/>
            </a:xfrm>
            <a:custGeom>
              <a:avLst/>
              <a:gdLst>
                <a:gd name="connsiteX0" fmla="*/ 0 w 1547814"/>
                <a:gd name="connsiteY0" fmla="*/ 0 h 1036463"/>
                <a:gd name="connsiteX1" fmla="*/ 1029583 w 1547814"/>
                <a:gd name="connsiteY1" fmla="*/ 0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47814 w 1547814"/>
                <a:gd name="connsiteY2" fmla="*/ 518232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8139 w 1547814"/>
                <a:gd name="connsiteY1" fmla="*/ 3912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 name="connsiteX0" fmla="*/ 0 w 1547814"/>
                <a:gd name="connsiteY0" fmla="*/ 0 h 1036463"/>
                <a:gd name="connsiteX1" fmla="*/ 494234 w 1547814"/>
                <a:gd name="connsiteY1" fmla="*/ 7 h 1036463"/>
                <a:gd name="connsiteX2" fmla="*/ 1532186 w 1547814"/>
                <a:gd name="connsiteY2" fmla="*/ 1034047 h 1036463"/>
                <a:gd name="connsiteX3" fmla="*/ 1547814 w 1547814"/>
                <a:gd name="connsiteY3" fmla="*/ 1036463 h 1036463"/>
                <a:gd name="connsiteX4" fmla="*/ 0 w 1547814"/>
                <a:gd name="connsiteY4" fmla="*/ 1036463 h 1036463"/>
                <a:gd name="connsiteX5" fmla="*/ 0 w 1547814"/>
                <a:gd name="connsiteY5" fmla="*/ 0 h 103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814" h="1036463">
                  <a:moveTo>
                    <a:pt x="0" y="0"/>
                  </a:moveTo>
                  <a:lnTo>
                    <a:pt x="494234" y="7"/>
                  </a:lnTo>
                  <a:lnTo>
                    <a:pt x="1532186" y="1034047"/>
                  </a:lnTo>
                  <a:lnTo>
                    <a:pt x="1547814" y="1036463"/>
                  </a:lnTo>
                  <a:lnTo>
                    <a:pt x="0" y="1036463"/>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12">
                <a:latin typeface="M05 Text Office" panose="020B0504040000000004" pitchFamily="34" charset="0"/>
              </a:endParaRPr>
            </a:p>
          </p:txBody>
        </p:sp>
      </p:grpSp>
      <p:sp>
        <p:nvSpPr>
          <p:cNvPr id="53" name="Foliennummernplatzhalter 52">
            <a:extLst>
              <a:ext uri="{FF2B5EF4-FFF2-40B4-BE49-F238E27FC236}">
                <a16:creationId xmlns:a16="http://schemas.microsoft.com/office/drawing/2014/main" id="{F46AF86A-C60B-4EC1-A145-300A7AB7CE39}"/>
              </a:ext>
            </a:extLst>
          </p:cNvPr>
          <p:cNvSpPr>
            <a:spLocks noGrp="1"/>
          </p:cNvSpPr>
          <p:nvPr>
            <p:ph type="sldNum" sz="quarter" idx="4"/>
          </p:nvPr>
        </p:nvSpPr>
        <p:spPr>
          <a:xfrm>
            <a:off x="10274459" y="6394450"/>
            <a:ext cx="781050" cy="365125"/>
          </a:xfrm>
          <a:prstGeom prst="rect">
            <a:avLst/>
          </a:prstGeom>
        </p:spPr>
        <p:txBody>
          <a:bodyPr vert="horz" lIns="91440" tIns="45720" rIns="91440" bIns="45720" rtlCol="0" anchor="ctr"/>
          <a:lstStyle>
            <a:lvl1pPr algn="r">
              <a:defRPr sz="800">
                <a:solidFill>
                  <a:schemeClr val="tx2"/>
                </a:solidFill>
                <a:latin typeface="M05 Text Office" panose="020B0504040000000004" pitchFamily="34" charset="0"/>
              </a:defRPr>
            </a:lvl1pPr>
          </a:lstStyle>
          <a:p>
            <a:r>
              <a:rPr lang="de-DE"/>
              <a:t>Seite </a:t>
            </a:r>
            <a:fld id="{A8D1AB97-F97B-4190-BD45-5A4F2F283CBD}" type="slidenum">
              <a:rPr lang="de-DE" smtClean="0"/>
              <a:pPr/>
              <a:t>‹Nr.›</a:t>
            </a:fld>
            <a:endParaRPr lang="de-DE"/>
          </a:p>
        </p:txBody>
      </p:sp>
      <p:sp>
        <p:nvSpPr>
          <p:cNvPr id="1037" name="Titelplatzhalter 1036">
            <a:extLst>
              <a:ext uri="{FF2B5EF4-FFF2-40B4-BE49-F238E27FC236}">
                <a16:creationId xmlns:a16="http://schemas.microsoft.com/office/drawing/2014/main" id="{49D302E7-BD56-4476-894F-7892CD1541B8}"/>
              </a:ext>
            </a:extLst>
          </p:cNvPr>
          <p:cNvSpPr>
            <a:spLocks noGrp="1"/>
          </p:cNvSpPr>
          <p:nvPr>
            <p:ph type="title"/>
          </p:nvPr>
        </p:nvSpPr>
        <p:spPr>
          <a:xfrm>
            <a:off x="330201" y="550151"/>
            <a:ext cx="10728000" cy="702000"/>
          </a:xfrm>
          <a:prstGeom prst="rect">
            <a:avLst/>
          </a:prstGeom>
        </p:spPr>
        <p:txBody>
          <a:bodyPr vert="horz" lIns="0" tIns="0" rIns="54000" bIns="0" rtlCol="0" anchor="t">
            <a:noAutofit/>
          </a:bodyPr>
          <a:lstStyle/>
          <a:p>
            <a:r>
              <a:rPr lang="de-DE" sz="2800">
                <a:solidFill>
                  <a:schemeClr val="bg2"/>
                </a:solidFill>
              </a:rPr>
              <a:t>ZWEIZEILIGE ÜBERSCHRIFT M05 TEXT BOLD 28 PT IN GROSSBUCHSTABEN IN ROT</a:t>
            </a:r>
          </a:p>
        </p:txBody>
      </p:sp>
      <p:sp>
        <p:nvSpPr>
          <p:cNvPr id="4" name="Rechteck 3">
            <a:extLst>
              <a:ext uri="{FF2B5EF4-FFF2-40B4-BE49-F238E27FC236}">
                <a16:creationId xmlns:a16="http://schemas.microsoft.com/office/drawing/2014/main" id="{52FA2AB1-917F-4ACE-B865-C4FD1BE84CB0}"/>
              </a:ext>
            </a:extLst>
          </p:cNvPr>
          <p:cNvSpPr/>
          <p:nvPr userDrawn="1"/>
        </p:nvSpPr>
        <p:spPr>
          <a:xfrm>
            <a:off x="11635963" y="1080002"/>
            <a:ext cx="556037" cy="57779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M05 Text Office" panose="020B0504040000000004" pitchFamily="34" charset="0"/>
            </a:endParaRPr>
          </a:p>
        </p:txBody>
      </p:sp>
      <p:pic>
        <p:nvPicPr>
          <p:cNvPr id="2050" name="D698148C-CA09-43BD-B1C9-3914DFABA756" descr="44114607-2DD6-4C93-9CE1-092E3839FC0E@fritz">
            <a:extLst>
              <a:ext uri="{FF2B5EF4-FFF2-40B4-BE49-F238E27FC236}">
                <a16:creationId xmlns:a16="http://schemas.microsoft.com/office/drawing/2014/main" id="{9EEAA12B-9749-4B94-A057-8D5FE74C2B95}"/>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1258785" y="550151"/>
            <a:ext cx="754353" cy="70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5334914"/>
      </p:ext>
    </p:extLst>
  </p:cSld>
  <p:clrMap bg1="lt1" tx1="dk1" bg2="lt2" tx2="dk2" accent1="accent1" accent2="accent2" accent3="accent3" accent4="accent4" accent5="accent5" accent6="accent6" hlink="hlink" folHlink="folHlink"/>
  <p:sldLayoutIdLst>
    <p:sldLayoutId id="2147483987" r:id="rId1"/>
    <p:sldLayoutId id="2147483910" r:id="rId2"/>
    <p:sldLayoutId id="2147483911" r:id="rId3"/>
    <p:sldLayoutId id="2147483874" r:id="rId4"/>
    <p:sldLayoutId id="2147483978" r:id="rId5"/>
    <p:sldLayoutId id="2147483996" r:id="rId6"/>
    <p:sldLayoutId id="2147483993" r:id="rId7"/>
    <p:sldLayoutId id="2147484003" r:id="rId8"/>
    <p:sldLayoutId id="2147483994" r:id="rId9"/>
    <p:sldLayoutId id="2147483995" r:id="rId10"/>
    <p:sldLayoutId id="2147483914" r:id="rId11"/>
  </p:sldLayoutIdLst>
  <p:hf hdr="0" ftr="0" dt="0"/>
  <p:txStyles>
    <p:titleStyle>
      <a:lvl1pPr algn="l" defTabSz="914400" rtl="0" eaLnBrk="1" latinLnBrk="0" hangingPunct="1">
        <a:lnSpc>
          <a:spcPct val="90000"/>
        </a:lnSpc>
        <a:spcBef>
          <a:spcPct val="0"/>
        </a:spcBef>
        <a:buNone/>
        <a:defRPr sz="2800" kern="1200" cap="all" baseline="0">
          <a:solidFill>
            <a:schemeClr val="bg2"/>
          </a:solidFill>
          <a:latin typeface="M05 Text Office Bold" panose="020B0804040000000004" pitchFamily="34" charset="0"/>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M05 Text BETA" panose="020B0004040000000004" pitchFamily="34" charset="0"/>
        <a:buChar char="&gt;"/>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M05 Text BETA" panose="020B0004040000000004" pitchFamily="34" charset="0"/>
        <a:buChar char="&gt;"/>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M05 Text BETA" panose="020B0004040000000004" pitchFamily="34" charset="0"/>
        <a:buChar char="&gt;"/>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M05 Text BETA" panose="020B0004040000000004" pitchFamily="34" charset="0"/>
        <a:buChar char="&gt;"/>
        <a:defRPr sz="1200" kern="1200">
          <a:solidFill>
            <a:schemeClr val="tx1"/>
          </a:solidFill>
          <a:latin typeface="M05 Text BETA" panose="020B000404000000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85">
          <p15:clr>
            <a:srgbClr val="F26B43"/>
          </p15:clr>
        </p15:guide>
        <p15:guide id="2" pos="211">
          <p15:clr>
            <a:srgbClr val="F26B43"/>
          </p15:clr>
        </p15:guide>
        <p15:guide id="3" pos="7333">
          <p15:clr>
            <a:srgbClr val="F26B43"/>
          </p15:clr>
        </p15:guide>
        <p15:guide id="4" orient="horz" pos="3974">
          <p15:clr>
            <a:srgbClr val="F26B43"/>
          </p15:clr>
        </p15:guide>
        <p15:guide id="5" pos="697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4F03D157-CBC4-461E-9FAF-C4FC6C52D874}"/>
              </a:ext>
            </a:extLst>
          </p:cNvPr>
          <p:cNvSpPr>
            <a:spLocks noGrp="1"/>
          </p:cNvSpPr>
          <p:nvPr>
            <p:ph type="body" sz="quarter" idx="11"/>
          </p:nvPr>
        </p:nvSpPr>
        <p:spPr>
          <a:xfrm>
            <a:off x="183222" y="3742899"/>
            <a:ext cx="11825555" cy="1813839"/>
          </a:xfrm>
        </p:spPr>
        <p:txBody>
          <a:bodyPr/>
          <a:lstStyle/>
          <a:p>
            <a:r>
              <a:rPr lang="de-DE" sz="3600" dirty="0"/>
              <a:t>Informationen für </a:t>
            </a:r>
            <a:r>
              <a:rPr lang="de-DE" sz="3600" dirty="0" err="1"/>
              <a:t>gästefans</a:t>
            </a:r>
            <a:endParaRPr lang="de-DE" sz="3200" dirty="0"/>
          </a:p>
          <a:p>
            <a:r>
              <a:rPr lang="de-DE" sz="2800" dirty="0">
                <a:latin typeface="M05 Text BETA Light" panose="020B0404040000000004" pitchFamily="34" charset="0"/>
              </a:rPr>
              <a:t>Bundesligaspiele in der MEWA ARENA</a:t>
            </a:r>
          </a:p>
          <a:p>
            <a:endParaRPr lang="de-DE" dirty="0"/>
          </a:p>
          <a:p>
            <a:endParaRPr lang="de-DE" dirty="0"/>
          </a:p>
        </p:txBody>
      </p:sp>
    </p:spTree>
    <p:extLst>
      <p:ext uri="{BB962C8B-B14F-4D97-AF65-F5344CB8AC3E}">
        <p14:creationId xmlns:p14="http://schemas.microsoft.com/office/powerpoint/2010/main" val="34253046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8399B9B-71FC-4428-BD47-DF4B53667A7D}"/>
              </a:ext>
            </a:extLst>
          </p:cNvPr>
          <p:cNvSpPr>
            <a:spLocks noGrp="1"/>
          </p:cNvSpPr>
          <p:nvPr>
            <p:ph type="body" sz="quarter" idx="13"/>
          </p:nvPr>
        </p:nvSpPr>
        <p:spPr>
          <a:xfrm>
            <a:off x="330201" y="1252152"/>
            <a:ext cx="10734674" cy="5142298"/>
          </a:xfrm>
        </p:spPr>
        <p:txBody>
          <a:bodyPr/>
          <a:lstStyle/>
          <a:p>
            <a:pPr marL="0" indent="0">
              <a:lnSpc>
                <a:spcPct val="107000"/>
              </a:lnSpc>
              <a:spcAft>
                <a:spcPts val="800"/>
              </a:spcAft>
              <a:buNone/>
            </a:pPr>
            <a:r>
              <a:rPr lang="de-DE" sz="2000" b="1" dirty="0">
                <a:effectLst/>
                <a:latin typeface="M05 Text BETA Light" panose="020B0404040000000004" pitchFamily="34" charset="0"/>
                <a:ea typeface="Calibri" panose="020F0502020204030204" pitchFamily="34" charset="0"/>
                <a:cs typeface="Times New Roman" panose="02020603050405020304" pitchFamily="18" charset="0"/>
              </a:rPr>
              <a:t>Einlass</a:t>
            </a:r>
          </a:p>
          <a:p>
            <a:pPr>
              <a:lnSpc>
                <a:spcPct val="107000"/>
              </a:lnSpc>
              <a:spcAft>
                <a:spcPts val="800"/>
              </a:spcAft>
            </a:pPr>
            <a:r>
              <a:rPr lang="de-DE" sz="1600" b="1" dirty="0">
                <a:effectLst/>
                <a:latin typeface="M05 Text BETA Light" panose="020B0404040000000004" pitchFamily="34" charset="0"/>
                <a:ea typeface="Calibri" panose="020F0502020204030204" pitchFamily="34" charset="0"/>
                <a:cs typeface="Times New Roman" panose="02020603050405020304" pitchFamily="18" charset="0"/>
              </a:rPr>
              <a:t>Stadionöffnung</a:t>
            </a:r>
            <a:r>
              <a:rPr lang="de-DE" sz="1600" b="1" dirty="0">
                <a:latin typeface="M05 Text BETA Light" panose="020B0404040000000004" pitchFamily="34" charset="0"/>
                <a:ea typeface="Calibri" panose="020F0502020204030204" pitchFamily="34" charset="0"/>
                <a:cs typeface="Times New Roman" panose="02020603050405020304" pitchFamily="18" charset="0"/>
              </a:rPr>
              <a:t>: </a:t>
            </a:r>
            <a:r>
              <a:rPr lang="de-DE" sz="1600" dirty="0">
                <a:latin typeface="M05 Text BETA Light" panose="020B0404040000000004" pitchFamily="34" charset="0"/>
                <a:ea typeface="Calibri" panose="020F0502020204030204" pitchFamily="34" charset="0"/>
                <a:cs typeface="Times New Roman" panose="02020603050405020304" pitchFamily="18" charset="0"/>
              </a:rPr>
              <a:t>Das Stadion öffnet</a:t>
            </a:r>
            <a:r>
              <a:rPr lang="de-DE" sz="1600" dirty="0">
                <a:effectLst/>
                <a:latin typeface="M05 Text BETA Light" panose="020B0404040000000004" pitchFamily="34" charset="0"/>
                <a:ea typeface="Calibri" panose="020F0502020204030204" pitchFamily="34" charset="0"/>
                <a:cs typeface="Times New Roman" panose="02020603050405020304" pitchFamily="18" charset="0"/>
              </a:rPr>
              <a:t> </a:t>
            </a:r>
            <a:r>
              <a:rPr lang="de-DE" sz="1600" b="1" dirty="0">
                <a:effectLst/>
                <a:latin typeface="M05 Text BETA Light" panose="020B0404040000000004" pitchFamily="34" charset="0"/>
                <a:ea typeface="Calibri" panose="020F0502020204030204" pitchFamily="34" charset="0"/>
                <a:cs typeface="Times New Roman" panose="02020603050405020304" pitchFamily="18" charset="0"/>
              </a:rPr>
              <a:t>2h</a:t>
            </a:r>
            <a:r>
              <a:rPr lang="de-DE" sz="1600" dirty="0">
                <a:effectLst/>
                <a:latin typeface="M05 Text BETA Light" panose="020B0404040000000004" pitchFamily="34" charset="0"/>
                <a:ea typeface="Calibri" panose="020F0502020204030204" pitchFamily="34" charset="0"/>
                <a:cs typeface="Times New Roman" panose="02020603050405020304" pitchFamily="18" charset="0"/>
              </a:rPr>
              <a:t> vor Spielbeginn</a:t>
            </a:r>
            <a:r>
              <a:rPr lang="de-DE" sz="1600" dirty="0">
                <a:latin typeface="M05 Text BETA Light" panose="020B0404040000000004" pitchFamily="34" charset="0"/>
                <a:ea typeface="Calibri" panose="020F0502020204030204" pitchFamily="34" charset="0"/>
                <a:cs typeface="Times New Roman" panose="02020603050405020304" pitchFamily="18" charset="0"/>
              </a:rPr>
              <a:t>, die </a:t>
            </a:r>
            <a:r>
              <a:rPr lang="de-DE" sz="1600" dirty="0">
                <a:effectLst/>
                <a:latin typeface="M05 Text BETA Light" panose="020B0404040000000004" pitchFamily="34" charset="0"/>
                <a:ea typeface="Calibri" panose="020F0502020204030204" pitchFamily="34" charset="0"/>
                <a:cs typeface="Times New Roman" panose="02020603050405020304" pitchFamily="18" charset="0"/>
              </a:rPr>
              <a:t>Gäste-Tageskasse ebenso.</a:t>
            </a:r>
            <a:endParaRPr lang="de-DE" sz="16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600" b="1" dirty="0">
                <a:effectLst/>
                <a:latin typeface="M05 Text BETA Light" panose="020B0404040000000004" pitchFamily="34" charset="0"/>
                <a:ea typeface="Calibri" panose="020F0502020204030204" pitchFamily="34" charset="0"/>
                <a:cs typeface="Times New Roman" panose="02020603050405020304" pitchFamily="18" charset="0"/>
              </a:rPr>
              <a:t>Abgabestelle: </a:t>
            </a:r>
            <a:r>
              <a:rPr lang="de-DE" sz="1600" dirty="0">
                <a:effectLst/>
                <a:latin typeface="M05 Text BETA Light" panose="020B0404040000000004" pitchFamily="34" charset="0"/>
                <a:ea typeface="Calibri" panose="020F0502020204030204" pitchFamily="34" charset="0"/>
                <a:cs typeface="Times New Roman" panose="02020603050405020304" pitchFamily="18" charset="0"/>
              </a:rPr>
              <a:t>Beim Einlass besteht die Möglichkeit Rucksäcke und Taschen (größer als   30cm x 30cm x 15cm) kostenfrei abzugeben, da diese nicht mit ins Stadion genommen werden dürfen. Bauchtaschen, Turnbeutel, sowie die Stadiontasche sind nicht von dieser Regelung betroffen. Professionelle Fotokameras mit Wechselobjektiv über 200mm Brennweite und weitere Wechselobjektive, sowie Videokameras sind </a:t>
            </a:r>
            <a:r>
              <a:rPr lang="de-DE" sz="1600" b="1" dirty="0">
                <a:effectLst/>
                <a:latin typeface="M05 Text BETA Light" panose="020B0404040000000004" pitchFamily="34" charset="0"/>
                <a:ea typeface="Calibri" panose="020F0502020204030204" pitchFamily="34" charset="0"/>
                <a:cs typeface="Times New Roman" panose="02020603050405020304" pitchFamily="18" charset="0"/>
              </a:rPr>
              <a:t>nicht gestattet</a:t>
            </a:r>
            <a:r>
              <a:rPr lang="de-DE" sz="1600" dirty="0">
                <a:effectLst/>
                <a:latin typeface="M05 Text BETA Light" panose="020B0404040000000004" pitchFamily="34" charset="0"/>
                <a:ea typeface="Calibri" panose="020F0502020204030204" pitchFamily="34" charset="0"/>
                <a:cs typeface="Times New Roman" panose="02020603050405020304" pitchFamily="18" charset="0"/>
              </a:rPr>
              <a:t>.</a:t>
            </a:r>
            <a:endParaRPr lang="de-DE" sz="16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600" b="1" dirty="0">
                <a:effectLst/>
                <a:latin typeface="M05 Text BETA Light" panose="020B0404040000000004" pitchFamily="34" charset="0"/>
                <a:ea typeface="Calibri" panose="020F0502020204030204" pitchFamily="34" charset="0"/>
                <a:cs typeface="Times New Roman" panose="02020603050405020304" pitchFamily="18" charset="0"/>
              </a:rPr>
              <a:t>Promillegrenze</a:t>
            </a:r>
            <a:r>
              <a:rPr lang="de-DE" sz="1600" dirty="0">
                <a:effectLst/>
                <a:latin typeface="M05 Text BETA Light" panose="020B0404040000000004" pitchFamily="34" charset="0"/>
                <a:ea typeface="Calibri" panose="020F0502020204030204" pitchFamily="34" charset="0"/>
                <a:cs typeface="Times New Roman" panose="02020603050405020304" pitchFamily="18" charset="0"/>
              </a:rPr>
              <a:t>: Eine festgelegte Promillegrenze gibt es nicht, jedoch wird erkennbar angetrunkenen Personen der Zutritt zur MEWA ARENA untersagt.</a:t>
            </a:r>
            <a:endParaRPr lang="de-DE" sz="16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0000"/>
              </a:lnSpc>
              <a:spcAft>
                <a:spcPts val="800"/>
              </a:spcAft>
            </a:pPr>
            <a:r>
              <a:rPr lang="de-DE" sz="1600" dirty="0">
                <a:effectLst/>
                <a:latin typeface="M05 Text BETA Light" panose="020B0404040000000004" pitchFamily="34" charset="0"/>
                <a:ea typeface="Calibri" panose="020F0502020204030204" pitchFamily="34" charset="0"/>
                <a:cs typeface="Times New Roman" panose="02020603050405020304" pitchFamily="18" charset="0"/>
              </a:rPr>
              <a:t> </a:t>
            </a:r>
            <a:r>
              <a:rPr lang="de-DE" sz="1600" b="1" dirty="0">
                <a:effectLst/>
                <a:latin typeface="M05 Text BETA Light" panose="020B0404040000000004" pitchFamily="34" charset="0"/>
                <a:ea typeface="Calibri" panose="020F0502020204030204" pitchFamily="34" charset="0"/>
                <a:cs typeface="Times New Roman" panose="02020603050405020304" pitchFamily="18" charset="0"/>
              </a:rPr>
              <a:t>Verpflegung: </a:t>
            </a:r>
            <a:r>
              <a:rPr lang="de-DE" sz="1600" dirty="0">
                <a:effectLst/>
                <a:latin typeface="M05 Text BETA Light" panose="020B0404040000000004" pitchFamily="34" charset="0"/>
                <a:ea typeface="Calibri" panose="020F0502020204030204" pitchFamily="34" charset="0"/>
                <a:cs typeface="Calibri" panose="020F0502020204030204" pitchFamily="34" charset="0"/>
              </a:rPr>
              <a:t>Die Mitnahme von Getränken ist nicht gestattet. Ausgenommen hiervon sind Tetra Paks bis 0,25l. Im Gästebereich kann mit </a:t>
            </a:r>
            <a:r>
              <a:rPr lang="de-DE" sz="1600">
                <a:effectLst/>
                <a:latin typeface="M05 Text BETA Light" panose="020B0404040000000004" pitchFamily="34" charset="0"/>
                <a:ea typeface="Calibri" panose="020F0502020204030204" pitchFamily="34" charset="0"/>
                <a:cs typeface="Calibri" panose="020F0502020204030204" pitchFamily="34" charset="0"/>
              </a:rPr>
              <a:t>der EC-Karte </a:t>
            </a:r>
            <a:r>
              <a:rPr lang="de-DE" sz="1600" dirty="0">
                <a:effectLst/>
                <a:latin typeface="M05 Text BETA Light" panose="020B0404040000000004" pitchFamily="34" charset="0"/>
                <a:ea typeface="Calibri" panose="020F0502020204030204" pitchFamily="34" charset="0"/>
                <a:cs typeface="Calibri" panose="020F0502020204030204" pitchFamily="34" charset="0"/>
              </a:rPr>
              <a:t>und Kreditkarte bezahlt werden. Ebenso ist es möglich mit Google Pay und Apple Pay zu zahlen. </a:t>
            </a:r>
            <a:r>
              <a:rPr lang="de-DE" sz="1600" b="1" dirty="0">
                <a:effectLst/>
                <a:latin typeface="M05 Text BETA Light" panose="020B0404040000000004" pitchFamily="34" charset="0"/>
                <a:ea typeface="Calibri" panose="020F0502020204030204" pitchFamily="34" charset="0"/>
                <a:cs typeface="Calibri" panose="020F0502020204030204" pitchFamily="34" charset="0"/>
              </a:rPr>
              <a:t>Eine Barzahlung ist nicht möglich!  </a:t>
            </a:r>
            <a:endParaRPr lang="de-DE" sz="16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Titel 2">
            <a:extLst>
              <a:ext uri="{FF2B5EF4-FFF2-40B4-BE49-F238E27FC236}">
                <a16:creationId xmlns:a16="http://schemas.microsoft.com/office/drawing/2014/main" id="{28FE8943-7F47-4B99-9664-63DE59F62234}"/>
              </a:ext>
            </a:extLst>
          </p:cNvPr>
          <p:cNvSpPr>
            <a:spLocks noGrp="1"/>
          </p:cNvSpPr>
          <p:nvPr>
            <p:ph type="title"/>
          </p:nvPr>
        </p:nvSpPr>
        <p:spPr/>
        <p:txBody>
          <a:bodyPr/>
          <a:lstStyle/>
          <a:p>
            <a:r>
              <a:rPr lang="de-DE"/>
              <a:t>Allgemeine Informationen</a:t>
            </a:r>
          </a:p>
        </p:txBody>
      </p:sp>
      <p:sp>
        <p:nvSpPr>
          <p:cNvPr id="4" name="Foliennummernplatzhalter 3">
            <a:extLst>
              <a:ext uri="{FF2B5EF4-FFF2-40B4-BE49-F238E27FC236}">
                <a16:creationId xmlns:a16="http://schemas.microsoft.com/office/drawing/2014/main" id="{790298B8-00FE-4129-80EA-5CB3A7BC2A58}"/>
              </a:ext>
            </a:extLst>
          </p:cNvPr>
          <p:cNvSpPr>
            <a:spLocks noGrp="1"/>
          </p:cNvSpPr>
          <p:nvPr>
            <p:ph type="sldNum" sz="quarter" idx="4"/>
          </p:nvPr>
        </p:nvSpPr>
        <p:spPr/>
        <p:txBody>
          <a:bodyPr/>
          <a:lstStyle/>
          <a:p>
            <a:r>
              <a:rPr lang="de-DE"/>
              <a:t>Seite </a:t>
            </a:r>
            <a:fld id="{A8D1AB97-F97B-4190-BD45-5A4F2F283CBD}" type="slidenum">
              <a:rPr lang="de-DE" smtClean="0"/>
              <a:pPr/>
              <a:t>2</a:t>
            </a:fld>
            <a:endParaRPr lang="de-DE"/>
          </a:p>
        </p:txBody>
      </p:sp>
      <p:sp>
        <p:nvSpPr>
          <p:cNvPr id="5" name="Textplatzhalter 4">
            <a:extLst>
              <a:ext uri="{FF2B5EF4-FFF2-40B4-BE49-F238E27FC236}">
                <a16:creationId xmlns:a16="http://schemas.microsoft.com/office/drawing/2014/main" id="{9892483E-4E85-47A7-BF42-0338EE66ADCB}"/>
              </a:ext>
            </a:extLst>
          </p:cNvPr>
          <p:cNvSpPr>
            <a:spLocks noGrp="1"/>
          </p:cNvSpPr>
          <p:nvPr>
            <p:ph type="body" sz="quarter" idx="14"/>
          </p:nvPr>
        </p:nvSpPr>
        <p:spPr/>
        <p:txBody>
          <a:bodyPr/>
          <a:lstStyle/>
          <a:p>
            <a:r>
              <a:rPr lang="de-DE"/>
              <a:t>Faninformationen</a:t>
            </a:r>
          </a:p>
        </p:txBody>
      </p:sp>
    </p:spTree>
    <p:extLst>
      <p:ext uri="{BB962C8B-B14F-4D97-AF65-F5344CB8AC3E}">
        <p14:creationId xmlns:p14="http://schemas.microsoft.com/office/powerpoint/2010/main" val="37905516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8399B9B-71FC-4428-BD47-DF4B53667A7D}"/>
              </a:ext>
            </a:extLst>
          </p:cNvPr>
          <p:cNvSpPr>
            <a:spLocks noGrp="1"/>
          </p:cNvSpPr>
          <p:nvPr>
            <p:ph type="body" sz="quarter" idx="13"/>
          </p:nvPr>
        </p:nvSpPr>
        <p:spPr>
          <a:xfrm>
            <a:off x="330201" y="1252152"/>
            <a:ext cx="10734674" cy="5056574"/>
          </a:xfrm>
        </p:spPr>
        <p:txBody>
          <a:bodyPr/>
          <a:lstStyle/>
          <a:p>
            <a:pPr marL="0" indent="0">
              <a:buNone/>
            </a:pPr>
            <a:r>
              <a:rPr lang="de-DE" sz="1600" b="1" dirty="0">
                <a:solidFill>
                  <a:srgbClr val="000000"/>
                </a:solidFill>
                <a:effectLst/>
                <a:latin typeface="+mn-lt"/>
                <a:ea typeface="Calibri" panose="020F0502020204030204" pitchFamily="34" charset="0"/>
                <a:cs typeface="Times New Roman" panose="02020603050405020304" pitchFamily="18" charset="0"/>
              </a:rPr>
              <a:t>Adresse: MEWA ARENA, Eugen-Salomon-Straße 1, 55128 Mainz</a:t>
            </a:r>
            <a:endParaRPr lang="de-DE" dirty="0">
              <a:effectLst/>
              <a:latin typeface="+mn-lt"/>
              <a:ea typeface="Calibri" panose="020F0502020204030204" pitchFamily="34" charset="0"/>
              <a:cs typeface="Times New Roman" panose="02020603050405020304" pitchFamily="18" charset="0"/>
            </a:endParaRPr>
          </a:p>
          <a:p>
            <a:pPr marL="0" indent="0">
              <a:lnSpc>
                <a:spcPct val="107000"/>
              </a:lnSpc>
              <a:spcAft>
                <a:spcPts val="800"/>
              </a:spcAft>
              <a:buNone/>
            </a:pPr>
            <a:r>
              <a:rPr lang="de-DE" dirty="0">
                <a:effectLst/>
                <a:latin typeface="+mj-lt"/>
                <a:ea typeface="Calibri" panose="020F0502020204030204" pitchFamily="34" charset="0"/>
                <a:cs typeface="Times New Roman" panose="02020603050405020304" pitchFamily="18" charset="0"/>
              </a:rPr>
              <a:t>Mit dem Zug/ ÖPNV</a:t>
            </a:r>
          </a:p>
          <a:p>
            <a:pPr algn="just">
              <a:lnSpc>
                <a:spcPct val="100000"/>
              </a:lnSpc>
              <a:spcBef>
                <a:spcPts val="600"/>
              </a:spcBef>
              <a:spcAft>
                <a:spcPts val="800"/>
              </a:spcAft>
            </a:pPr>
            <a:r>
              <a:rPr lang="de-DE" sz="1600" dirty="0">
                <a:effectLst/>
                <a:latin typeface="M05 Text BETA Light" panose="020B0404040000000004" pitchFamily="34" charset="0"/>
                <a:ea typeface="Calibri" panose="020F0502020204030204" pitchFamily="34" charset="0"/>
                <a:cs typeface="Calibri" panose="020F0502020204030204" pitchFamily="34" charset="0"/>
              </a:rPr>
              <a:t>Der öffentliche Bus-Shuttle startet direkt am Hauptbahnhof und fährt bis zur Haltestelle </a:t>
            </a:r>
            <a:r>
              <a:rPr lang="de-DE" sz="1600" dirty="0" err="1">
                <a:effectLst/>
                <a:latin typeface="M05 Text BETA Light" panose="020B0404040000000004" pitchFamily="34" charset="0"/>
                <a:ea typeface="Calibri" panose="020F0502020204030204" pitchFamily="34" charset="0"/>
                <a:cs typeface="Calibri" panose="020F0502020204030204" pitchFamily="34" charset="0"/>
              </a:rPr>
              <a:t>Kisselberg</a:t>
            </a:r>
            <a:r>
              <a:rPr lang="de-DE" sz="1600" dirty="0">
                <a:effectLst/>
                <a:latin typeface="M05 Text BETA Light" panose="020B0404040000000004" pitchFamily="34" charset="0"/>
                <a:ea typeface="Calibri" panose="020F0502020204030204" pitchFamily="34" charset="0"/>
                <a:cs typeface="Calibri" panose="020F0502020204030204" pitchFamily="34" charset="0"/>
              </a:rPr>
              <a:t>. Von dort aus sind es ca. 10 Minuten Gehwe</a:t>
            </a:r>
            <a:r>
              <a:rPr lang="de-DE" sz="1600" dirty="0">
                <a:latin typeface="M05 Text BETA Light" panose="020B0404040000000004" pitchFamily="34" charset="0"/>
                <a:ea typeface="Calibri" panose="020F0502020204030204" pitchFamily="34" charset="0"/>
                <a:cs typeface="Calibri" panose="020F0502020204030204" pitchFamily="34" charset="0"/>
              </a:rPr>
              <a:t>g zur Arena.</a:t>
            </a:r>
            <a:endParaRPr lang="de-DE" sz="1600" dirty="0">
              <a:effectLst/>
              <a:latin typeface="M05 Text BETA Light" panose="020B0404040000000004" pitchFamily="34" charset="0"/>
              <a:ea typeface="Calibri" panose="020F0502020204030204" pitchFamily="34" charset="0"/>
              <a:cs typeface="Calibri" panose="020F0502020204030204" pitchFamily="34" charset="0"/>
            </a:endParaRPr>
          </a:p>
          <a:p>
            <a:pPr algn="just">
              <a:lnSpc>
                <a:spcPct val="100000"/>
              </a:lnSpc>
              <a:spcBef>
                <a:spcPts val="600"/>
              </a:spcBef>
              <a:spcAft>
                <a:spcPts val="800"/>
              </a:spcAft>
            </a:pPr>
            <a:r>
              <a:rPr lang="de-DE" sz="1600" dirty="0">
                <a:latin typeface="M05 Text BETA Light" panose="020B0404040000000004" pitchFamily="34" charset="0"/>
                <a:ea typeface="Calibri" panose="020F0502020204030204" pitchFamily="34" charset="0"/>
                <a:cs typeface="Calibri" panose="020F0502020204030204" pitchFamily="34" charset="0"/>
              </a:rPr>
              <a:t>Straßenbahnhaltestelle Arena: Jakob-Heinz-Straße/ Arena, Linie 51 &amp; 53</a:t>
            </a:r>
          </a:p>
          <a:p>
            <a:pPr algn="just">
              <a:lnSpc>
                <a:spcPct val="100000"/>
              </a:lnSpc>
              <a:spcBef>
                <a:spcPts val="600"/>
              </a:spcBef>
              <a:spcAft>
                <a:spcPts val="800"/>
              </a:spcAft>
            </a:pPr>
            <a:r>
              <a:rPr lang="de-DE" sz="1600" dirty="0">
                <a:effectLst/>
                <a:latin typeface="M05 Text BETA Light" panose="020B0404040000000004" pitchFamily="34" charset="0"/>
                <a:ea typeface="Calibri" panose="020F0502020204030204" pitchFamily="34" charset="0"/>
                <a:cs typeface="Calibri" panose="020F0502020204030204" pitchFamily="34" charset="0"/>
              </a:rPr>
              <a:t>Bushaltestelle: </a:t>
            </a:r>
            <a:r>
              <a:rPr lang="de-DE" sz="1600" dirty="0" err="1">
                <a:effectLst/>
                <a:latin typeface="M05 Text BETA Light" panose="020B0404040000000004" pitchFamily="34" charset="0"/>
                <a:ea typeface="Calibri" panose="020F0502020204030204" pitchFamily="34" charset="0"/>
                <a:cs typeface="Calibri" panose="020F0502020204030204" pitchFamily="34" charset="0"/>
              </a:rPr>
              <a:t>Kisselberg</a:t>
            </a:r>
            <a:r>
              <a:rPr lang="de-DE" sz="1600" dirty="0">
                <a:effectLst/>
                <a:latin typeface="M05 Text BETA Light" panose="020B0404040000000004" pitchFamily="34" charset="0"/>
                <a:ea typeface="Calibri" panose="020F0502020204030204" pitchFamily="34" charset="0"/>
                <a:cs typeface="Calibri" panose="020F0502020204030204" pitchFamily="34" charset="0"/>
              </a:rPr>
              <a:t>, Busse 54, 55, 56, 58, 62, 74</a:t>
            </a:r>
            <a:r>
              <a:rPr lang="de-DE" sz="1600" dirty="0">
                <a:latin typeface="M05 Text BETA Light" panose="020B0404040000000004" pitchFamily="34" charset="0"/>
                <a:ea typeface="Calibri" panose="020F0502020204030204" pitchFamily="34" charset="0"/>
                <a:cs typeface="Calibri" panose="020F0502020204030204" pitchFamily="34" charset="0"/>
              </a:rPr>
              <a:t>, 91, 93</a:t>
            </a:r>
          </a:p>
          <a:p>
            <a:pPr marL="0" indent="0" algn="just">
              <a:lnSpc>
                <a:spcPct val="100000"/>
              </a:lnSpc>
              <a:spcBef>
                <a:spcPts val="600"/>
              </a:spcBef>
              <a:spcAft>
                <a:spcPts val="800"/>
              </a:spcAft>
              <a:buNone/>
            </a:pPr>
            <a:endParaRPr lang="de-DE" sz="1600" dirty="0">
              <a:latin typeface="M05 Text BETA Light" panose="020B0404040000000004" pitchFamily="34" charset="0"/>
              <a:ea typeface="Calibri" panose="020F0502020204030204" pitchFamily="34" charset="0"/>
              <a:cs typeface="Calibri" panose="020F0502020204030204" pitchFamily="34" charset="0"/>
            </a:endParaRPr>
          </a:p>
          <a:p>
            <a:pPr marL="0" indent="0" algn="just">
              <a:lnSpc>
                <a:spcPct val="100000"/>
              </a:lnSpc>
              <a:spcBef>
                <a:spcPts val="600"/>
              </a:spcBef>
              <a:spcAft>
                <a:spcPts val="800"/>
              </a:spcAft>
              <a:buNone/>
            </a:pPr>
            <a:r>
              <a:rPr lang="de-DE" dirty="0">
                <a:effectLst/>
                <a:latin typeface="+mj-lt"/>
                <a:ea typeface="Calibri" panose="020F0502020204030204" pitchFamily="34" charset="0"/>
                <a:cs typeface="Times New Roman" panose="02020603050405020304" pitchFamily="18" charset="0"/>
              </a:rPr>
              <a:t>Mit dem Reisebus</a:t>
            </a:r>
          </a:p>
          <a:p>
            <a:pPr>
              <a:lnSpc>
                <a:spcPct val="110000"/>
              </a:lnSpc>
              <a:spcBef>
                <a:spcPts val="600"/>
              </a:spcBef>
              <a:spcAft>
                <a:spcPts val="800"/>
              </a:spcAft>
            </a:pPr>
            <a:r>
              <a:rPr lang="de-DE" sz="1600" dirty="0">
                <a:effectLst/>
                <a:latin typeface="M05 Text BETA Light" panose="020B0404040000000004" pitchFamily="34" charset="0"/>
                <a:ea typeface="Calibri" panose="020F0502020204030204" pitchFamily="34" charset="0"/>
                <a:cs typeface="Calibri" panose="020F0502020204030204" pitchFamily="34" charset="0"/>
              </a:rPr>
              <a:t>Für Fanbusse stehen Parkplätze </a:t>
            </a:r>
            <a:r>
              <a:rPr lang="de-DE" sz="1600" b="1" dirty="0">
                <a:effectLst/>
                <a:latin typeface="M05 Text BETA Light" panose="020B0404040000000004" pitchFamily="34" charset="0"/>
                <a:ea typeface="Calibri" panose="020F0502020204030204" pitchFamily="34" charset="0"/>
                <a:cs typeface="Calibri" panose="020F0502020204030204" pitchFamily="34" charset="0"/>
              </a:rPr>
              <a:t>(P9)</a:t>
            </a:r>
            <a:r>
              <a:rPr lang="de-DE" sz="1600" dirty="0">
                <a:effectLst/>
                <a:latin typeface="M05 Text BETA Light" panose="020B0404040000000004" pitchFamily="34" charset="0"/>
                <a:ea typeface="Calibri" panose="020F0502020204030204" pitchFamily="34" charset="0"/>
                <a:cs typeface="Calibri" panose="020F0502020204030204" pitchFamily="34" charset="0"/>
              </a:rPr>
              <a:t> am Gästeblock zur Verfügung. Die Kosten betragen pro Bus </a:t>
            </a:r>
            <a:r>
              <a:rPr lang="de-DE" sz="1600" b="1" dirty="0">
                <a:effectLst/>
                <a:latin typeface="M05 Text BETA Light" panose="020B0404040000000004" pitchFamily="34" charset="0"/>
                <a:ea typeface="Calibri" panose="020F0502020204030204" pitchFamily="34" charset="0"/>
                <a:cs typeface="Calibri" panose="020F0502020204030204" pitchFamily="34" charset="0"/>
              </a:rPr>
              <a:t>20 Euro </a:t>
            </a:r>
            <a:r>
              <a:rPr lang="de-DE" sz="1600" dirty="0">
                <a:effectLst/>
                <a:latin typeface="M05 Text BETA Light" panose="020B0404040000000004" pitchFamily="34" charset="0"/>
                <a:ea typeface="Calibri" panose="020F0502020204030204" pitchFamily="34" charset="0"/>
                <a:cs typeface="Calibri" panose="020F0502020204030204" pitchFamily="34" charset="0"/>
              </a:rPr>
              <a:t>und für jeden Neuner </a:t>
            </a:r>
            <a:r>
              <a:rPr lang="de-DE" sz="1600" b="1" dirty="0">
                <a:effectLst/>
                <a:latin typeface="M05 Text BETA Light" panose="020B0404040000000004" pitchFamily="34" charset="0"/>
                <a:ea typeface="Calibri" panose="020F0502020204030204" pitchFamily="34" charset="0"/>
                <a:cs typeface="Calibri" panose="020F0502020204030204" pitchFamily="34" charset="0"/>
              </a:rPr>
              <a:t>10 Euro</a:t>
            </a:r>
            <a:r>
              <a:rPr lang="de-DE" sz="1600" dirty="0">
                <a:effectLst/>
                <a:latin typeface="M05 Text BETA Light" panose="020B0404040000000004" pitchFamily="34" charset="0"/>
                <a:ea typeface="Calibri" panose="020F0502020204030204" pitchFamily="34" charset="0"/>
                <a:cs typeface="Calibri" panose="020F0502020204030204" pitchFamily="34" charset="0"/>
              </a:rPr>
              <a:t>. </a:t>
            </a:r>
          </a:p>
          <a:p>
            <a:pPr>
              <a:lnSpc>
                <a:spcPct val="110000"/>
              </a:lnSpc>
              <a:spcBef>
                <a:spcPts val="600"/>
              </a:spcBef>
              <a:spcAft>
                <a:spcPts val="800"/>
              </a:spcAft>
            </a:pPr>
            <a:r>
              <a:rPr lang="de-DE" sz="1600" dirty="0">
                <a:effectLst/>
                <a:latin typeface="M05 Text BETA Light" panose="020B0404040000000004" pitchFamily="34" charset="0"/>
                <a:ea typeface="Calibri" panose="020F0502020204030204" pitchFamily="34" charset="0"/>
                <a:cs typeface="Calibri" panose="020F0502020204030204" pitchFamily="34" charset="0"/>
              </a:rPr>
              <a:t>Die Zufahrt erfolgt </a:t>
            </a:r>
            <a:r>
              <a:rPr lang="de-DE" sz="1600" b="1" u="sng" dirty="0">
                <a:effectLst/>
                <a:latin typeface="M05 Text BETA Light" panose="020B0404040000000004" pitchFamily="34" charset="0"/>
                <a:ea typeface="Calibri" panose="020F0502020204030204" pitchFamily="34" charset="0"/>
                <a:cs typeface="Calibri" panose="020F0502020204030204" pitchFamily="34" charset="0"/>
              </a:rPr>
              <a:t>nur</a:t>
            </a:r>
            <a:r>
              <a:rPr lang="de-DE" sz="1600" dirty="0">
                <a:effectLst/>
                <a:latin typeface="M05 Text BETA Light" panose="020B0404040000000004" pitchFamily="34" charset="0"/>
                <a:ea typeface="Calibri" panose="020F0502020204030204" pitchFamily="34" charset="0"/>
                <a:cs typeface="Calibri" panose="020F0502020204030204" pitchFamily="34" charset="0"/>
              </a:rPr>
              <a:t> über die Koblenzer Straße (Abfahrt Lerchenberg)!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e-DE" sz="1800" dirty="0">
                <a:solidFill>
                  <a:srgbClr val="000000"/>
                </a:solidFill>
                <a:effectLst/>
                <a:latin typeface="M05 Text BETA Light" panose="020B0404040000000004" pitchFamily="34" charset="0"/>
                <a:ea typeface="Calibri" panose="020F0502020204030204" pitchFamily="34" charset="0"/>
                <a:cs typeface="Times New Roman" panose="02020603050405020304" pitchFamily="18" charset="0"/>
              </a:rPr>
              <a:t>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Titel 2">
            <a:extLst>
              <a:ext uri="{FF2B5EF4-FFF2-40B4-BE49-F238E27FC236}">
                <a16:creationId xmlns:a16="http://schemas.microsoft.com/office/drawing/2014/main" id="{28FE8943-7F47-4B99-9664-63DE59F62234}"/>
              </a:ext>
            </a:extLst>
          </p:cNvPr>
          <p:cNvSpPr>
            <a:spLocks noGrp="1"/>
          </p:cNvSpPr>
          <p:nvPr>
            <p:ph type="title"/>
          </p:nvPr>
        </p:nvSpPr>
        <p:spPr/>
        <p:txBody>
          <a:bodyPr/>
          <a:lstStyle/>
          <a:p>
            <a:r>
              <a:rPr lang="de-DE"/>
              <a:t>anreise</a:t>
            </a:r>
          </a:p>
        </p:txBody>
      </p:sp>
      <p:sp>
        <p:nvSpPr>
          <p:cNvPr id="4" name="Foliennummernplatzhalter 3">
            <a:extLst>
              <a:ext uri="{FF2B5EF4-FFF2-40B4-BE49-F238E27FC236}">
                <a16:creationId xmlns:a16="http://schemas.microsoft.com/office/drawing/2014/main" id="{790298B8-00FE-4129-80EA-5CB3A7BC2A58}"/>
              </a:ext>
            </a:extLst>
          </p:cNvPr>
          <p:cNvSpPr>
            <a:spLocks noGrp="1"/>
          </p:cNvSpPr>
          <p:nvPr>
            <p:ph type="sldNum" sz="quarter" idx="4"/>
          </p:nvPr>
        </p:nvSpPr>
        <p:spPr/>
        <p:txBody>
          <a:bodyPr/>
          <a:lstStyle/>
          <a:p>
            <a:r>
              <a:rPr lang="de-DE"/>
              <a:t>Seite </a:t>
            </a:r>
            <a:fld id="{A8D1AB97-F97B-4190-BD45-5A4F2F283CBD}" type="slidenum">
              <a:rPr lang="de-DE" smtClean="0"/>
              <a:pPr/>
              <a:t>3</a:t>
            </a:fld>
            <a:endParaRPr lang="de-DE"/>
          </a:p>
        </p:txBody>
      </p:sp>
      <p:sp>
        <p:nvSpPr>
          <p:cNvPr id="5" name="Textplatzhalter 4">
            <a:extLst>
              <a:ext uri="{FF2B5EF4-FFF2-40B4-BE49-F238E27FC236}">
                <a16:creationId xmlns:a16="http://schemas.microsoft.com/office/drawing/2014/main" id="{9892483E-4E85-47A7-BF42-0338EE66ADCB}"/>
              </a:ext>
            </a:extLst>
          </p:cNvPr>
          <p:cNvSpPr>
            <a:spLocks noGrp="1"/>
          </p:cNvSpPr>
          <p:nvPr>
            <p:ph type="body" sz="quarter" idx="14"/>
          </p:nvPr>
        </p:nvSpPr>
        <p:spPr/>
        <p:txBody>
          <a:bodyPr/>
          <a:lstStyle/>
          <a:p>
            <a:r>
              <a:rPr lang="de-DE"/>
              <a:t>Faninformationen</a:t>
            </a:r>
          </a:p>
        </p:txBody>
      </p:sp>
    </p:spTree>
    <p:extLst>
      <p:ext uri="{BB962C8B-B14F-4D97-AF65-F5344CB8AC3E}">
        <p14:creationId xmlns:p14="http://schemas.microsoft.com/office/powerpoint/2010/main" val="9907224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380165CE-355B-40B8-91C6-C920694723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45192" y="901151"/>
            <a:ext cx="5647377" cy="5056574"/>
          </a:xfrm>
          <a:prstGeom prst="rect">
            <a:avLst/>
          </a:prstGeom>
        </p:spPr>
      </p:pic>
      <p:sp>
        <p:nvSpPr>
          <p:cNvPr id="2" name="Textplatzhalter 1">
            <a:extLst>
              <a:ext uri="{FF2B5EF4-FFF2-40B4-BE49-F238E27FC236}">
                <a16:creationId xmlns:a16="http://schemas.microsoft.com/office/drawing/2014/main" id="{08399B9B-71FC-4428-BD47-DF4B53667A7D}"/>
              </a:ext>
            </a:extLst>
          </p:cNvPr>
          <p:cNvSpPr>
            <a:spLocks noGrp="1"/>
          </p:cNvSpPr>
          <p:nvPr>
            <p:ph type="body" sz="quarter" idx="13"/>
          </p:nvPr>
        </p:nvSpPr>
        <p:spPr>
          <a:xfrm>
            <a:off x="330202" y="1252152"/>
            <a:ext cx="4981538" cy="5056574"/>
          </a:xfrm>
        </p:spPr>
        <p:txBody>
          <a:bodyPr/>
          <a:lstStyle/>
          <a:p>
            <a:pPr marL="0" indent="0">
              <a:lnSpc>
                <a:spcPct val="107000"/>
              </a:lnSpc>
              <a:spcAft>
                <a:spcPts val="800"/>
              </a:spcAft>
              <a:buNone/>
            </a:pPr>
            <a:r>
              <a:rPr lang="de-DE">
                <a:effectLst/>
                <a:latin typeface="+mj-lt"/>
                <a:ea typeface="Calibri" panose="020F0502020204030204" pitchFamily="34" charset="0"/>
                <a:cs typeface="Times New Roman" panose="02020603050405020304" pitchFamily="18" charset="0"/>
              </a:rPr>
              <a:t>Mit dem PKW</a:t>
            </a:r>
          </a:p>
          <a:p>
            <a:pPr algn="just">
              <a:lnSpc>
                <a:spcPct val="110000"/>
              </a:lnSpc>
              <a:spcAft>
                <a:spcPts val="800"/>
              </a:spcAft>
            </a:pPr>
            <a:r>
              <a:rPr lang="de-DE" sz="1400">
                <a:effectLst/>
                <a:latin typeface="M05 Text BETA Light" panose="020B0404040000000004" pitchFamily="34" charset="0"/>
                <a:ea typeface="Calibri" panose="020F0502020204030204" pitchFamily="34" charset="0"/>
                <a:cs typeface="Calibri" panose="020F0502020204030204" pitchFamily="34" charset="0"/>
              </a:rPr>
              <a:t>An der MEWA ARENA stehen keine Parkplätze f</a:t>
            </a:r>
            <a:r>
              <a:rPr lang="de-DE" sz="1400">
                <a:latin typeface="M05 Text BETA Light" panose="020B0404040000000004" pitchFamily="34" charset="0"/>
                <a:ea typeface="Calibri" panose="020F0502020204030204" pitchFamily="34" charset="0"/>
                <a:cs typeface="Calibri" panose="020F0502020204030204" pitchFamily="34" charset="0"/>
              </a:rPr>
              <a:t>ür PKWs zur Verfügung. Die mit dem PKW anreisenden Gästefans können a</a:t>
            </a:r>
            <a:r>
              <a:rPr lang="de-DE" sz="1400">
                <a:effectLst/>
                <a:latin typeface="M05 Text BETA Light" panose="020B0404040000000004" pitchFamily="34" charset="0"/>
                <a:ea typeface="Calibri" panose="020F0502020204030204" pitchFamily="34" charset="0"/>
                <a:cs typeface="Calibri" panose="020F0502020204030204" pitchFamily="34" charset="0"/>
              </a:rPr>
              <a:t>lternativ auf dem </a:t>
            </a:r>
            <a:r>
              <a:rPr lang="de-DE" sz="1400" u="sng">
                <a:effectLst/>
                <a:latin typeface="M05 Text BETA Light" panose="020B0404040000000004" pitchFamily="34" charset="0"/>
                <a:ea typeface="Calibri" panose="020F0502020204030204" pitchFamily="34" charset="0"/>
                <a:cs typeface="Calibri" panose="020F0502020204030204" pitchFamily="34" charset="0"/>
              </a:rPr>
              <a:t>kostenfreien</a:t>
            </a:r>
            <a:r>
              <a:rPr lang="de-DE" sz="1400">
                <a:effectLst/>
                <a:latin typeface="M05 Text BETA Light" panose="020B0404040000000004" pitchFamily="34" charset="0"/>
                <a:ea typeface="Calibri" panose="020F0502020204030204" pitchFamily="34" charset="0"/>
                <a:cs typeface="Calibri" panose="020F0502020204030204" pitchFamily="34" charset="0"/>
              </a:rPr>
              <a:t> Park-and-ride-Parkplatz an der Messe (Genfer Allee, 55129 Mainz) parken. Von dort verkehren zahlreiche Shuttlebusse. In Mainz gibt es eine Umweltzone, die nur mit einer grünen Plakette befahren werden darf. Der Messe-Parkplatz ist hiervon nicht betroffen. </a:t>
            </a:r>
          </a:p>
          <a:p>
            <a:pPr algn="just">
              <a:lnSpc>
                <a:spcPct val="110000"/>
              </a:lnSpc>
              <a:spcAft>
                <a:spcPts val="800"/>
              </a:spcAft>
            </a:pPr>
            <a:r>
              <a:rPr lang="de-DE" sz="1400">
                <a:latin typeface="M05 Text BETA Light" panose="020B0404040000000004" pitchFamily="34" charset="0"/>
                <a:ea typeface="Calibri" panose="020F0502020204030204" pitchFamily="34" charset="0"/>
                <a:cs typeface="Calibri" panose="020F0502020204030204" pitchFamily="34" charset="0"/>
              </a:rPr>
              <a:t>Die Arena ist aus folgenden Richtungen zu erreichen:</a:t>
            </a:r>
            <a:endParaRPr lang="de-DE" sz="1400">
              <a:effectLst/>
              <a:latin typeface="M05 Text BETA Light" panose="020B0404040000000004" pitchFamily="34" charset="0"/>
              <a:ea typeface="Calibri" panose="020F0502020204030204" pitchFamily="34" charset="0"/>
              <a:cs typeface="Calibri" panose="020F0502020204030204" pitchFamily="34" charset="0"/>
            </a:endParaRPr>
          </a:p>
          <a:p>
            <a:pPr lvl="1" algn="just">
              <a:lnSpc>
                <a:spcPct val="100000"/>
              </a:lnSpc>
              <a:spcBef>
                <a:spcPts val="600"/>
              </a:spcBef>
              <a:spcAft>
                <a:spcPts val="800"/>
              </a:spcAft>
            </a:pPr>
            <a:r>
              <a:rPr lang="de-DE" sz="1400">
                <a:latin typeface="M05 Text BETA Light" panose="020B0404040000000004" pitchFamily="34" charset="0"/>
                <a:ea typeface="Calibri" panose="020F0502020204030204" pitchFamily="34" charset="0"/>
                <a:cs typeface="Calibri" panose="020F0502020204030204" pitchFamily="34" charset="0"/>
              </a:rPr>
              <a:t>Aus dem Norden: A 643</a:t>
            </a:r>
          </a:p>
          <a:p>
            <a:pPr lvl="1" algn="just">
              <a:lnSpc>
                <a:spcPct val="100000"/>
              </a:lnSpc>
              <a:spcBef>
                <a:spcPts val="600"/>
              </a:spcBef>
              <a:spcAft>
                <a:spcPts val="800"/>
              </a:spcAft>
            </a:pPr>
            <a:r>
              <a:rPr lang="de-DE" sz="1400">
                <a:effectLst/>
                <a:latin typeface="M05 Text BETA Light" panose="020B0404040000000004" pitchFamily="34" charset="0"/>
                <a:ea typeface="Calibri" panose="020F0502020204030204" pitchFamily="34" charset="0"/>
                <a:cs typeface="Calibri" panose="020F0502020204030204" pitchFamily="34" charset="0"/>
              </a:rPr>
              <a:t>Aus dem Süden: A 63</a:t>
            </a:r>
          </a:p>
          <a:p>
            <a:pPr lvl="1" algn="just">
              <a:lnSpc>
                <a:spcPct val="100000"/>
              </a:lnSpc>
              <a:spcBef>
                <a:spcPts val="600"/>
              </a:spcBef>
              <a:spcAft>
                <a:spcPts val="800"/>
              </a:spcAft>
            </a:pPr>
            <a:r>
              <a:rPr lang="de-DE" sz="1400">
                <a:latin typeface="M05 Text BETA Light" panose="020B0404040000000004" pitchFamily="34" charset="0"/>
                <a:ea typeface="Calibri" panose="020F0502020204030204" pitchFamily="34" charset="0"/>
                <a:cs typeface="Calibri" panose="020F0502020204030204" pitchFamily="34" charset="0"/>
              </a:rPr>
              <a:t>Aus dem Osten: A 60</a:t>
            </a:r>
          </a:p>
          <a:p>
            <a:pPr lvl="1" algn="just">
              <a:lnSpc>
                <a:spcPct val="100000"/>
              </a:lnSpc>
              <a:spcBef>
                <a:spcPts val="600"/>
              </a:spcBef>
              <a:spcAft>
                <a:spcPts val="800"/>
              </a:spcAft>
            </a:pPr>
            <a:r>
              <a:rPr lang="de-DE" sz="1400">
                <a:effectLst/>
                <a:latin typeface="M05 Text BETA Light" panose="020B0404040000000004" pitchFamily="34" charset="0"/>
                <a:ea typeface="Calibri" panose="020F0502020204030204" pitchFamily="34" charset="0"/>
                <a:cs typeface="Calibri" panose="020F0502020204030204" pitchFamily="34" charset="0"/>
              </a:rPr>
              <a:t>Aus dem Westen: A 60, L419/ Saarstraße</a:t>
            </a:r>
          </a:p>
          <a:p>
            <a:pPr marL="0" indent="0" algn="just">
              <a:lnSpc>
                <a:spcPct val="100000"/>
              </a:lnSpc>
              <a:spcBef>
                <a:spcPts val="600"/>
              </a:spcBef>
              <a:spcAft>
                <a:spcPts val="800"/>
              </a:spcAft>
              <a:buNone/>
            </a:pPr>
            <a:endParaRPr lang="de-DE" sz="1600">
              <a:effectLst/>
              <a:latin typeface="M05 Text BETA Light" panose="020B0404040000000004" pitchFamily="34" charset="0"/>
              <a:ea typeface="Calibri" panose="020F0502020204030204" pitchFamily="34" charset="0"/>
              <a:cs typeface="Calibri" panose="020F0502020204030204" pitchFamily="34" charset="0"/>
            </a:endParaRPr>
          </a:p>
          <a:p>
            <a:pPr algn="just">
              <a:lnSpc>
                <a:spcPct val="110000"/>
              </a:lnSpc>
              <a:spcAft>
                <a:spcPts val="800"/>
              </a:spcAft>
            </a:pPr>
            <a:endParaRPr lang="de-DE" sz="1600">
              <a:effectLst/>
              <a:latin typeface="Calibri" panose="020F0502020204030204" pitchFamily="34" charset="0"/>
              <a:ea typeface="Calibri" panose="020F0502020204030204" pitchFamily="34" charset="0"/>
              <a:cs typeface="Times New Roman" panose="02020603050405020304" pitchFamily="18" charset="0"/>
            </a:endParaRPr>
          </a:p>
          <a:p>
            <a:pPr marL="0" indent="0" algn="just">
              <a:lnSpc>
                <a:spcPct val="100000"/>
              </a:lnSpc>
              <a:spcAft>
                <a:spcPts val="800"/>
              </a:spcAft>
              <a:buNone/>
            </a:pPr>
            <a:endParaRPr lang="de-DE" sz="180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e-DE" sz="1800">
                <a:solidFill>
                  <a:srgbClr val="000000"/>
                </a:solidFill>
                <a:effectLst/>
                <a:latin typeface="M05 Text BETA Light" panose="020B0404040000000004" pitchFamily="34" charset="0"/>
                <a:ea typeface="Calibri" panose="020F0502020204030204" pitchFamily="34" charset="0"/>
                <a:cs typeface="Times New Roman" panose="02020603050405020304" pitchFamily="18" charset="0"/>
              </a:rPr>
              <a:t>	</a:t>
            </a:r>
            <a:endParaRPr lang="de-DE"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Titel 2">
            <a:extLst>
              <a:ext uri="{FF2B5EF4-FFF2-40B4-BE49-F238E27FC236}">
                <a16:creationId xmlns:a16="http://schemas.microsoft.com/office/drawing/2014/main" id="{28FE8943-7F47-4B99-9664-63DE59F62234}"/>
              </a:ext>
            </a:extLst>
          </p:cNvPr>
          <p:cNvSpPr>
            <a:spLocks noGrp="1"/>
          </p:cNvSpPr>
          <p:nvPr>
            <p:ph type="title"/>
          </p:nvPr>
        </p:nvSpPr>
        <p:spPr/>
        <p:txBody>
          <a:bodyPr/>
          <a:lstStyle/>
          <a:p>
            <a:r>
              <a:rPr lang="de-DE"/>
              <a:t>anreise</a:t>
            </a:r>
          </a:p>
        </p:txBody>
      </p:sp>
      <p:sp>
        <p:nvSpPr>
          <p:cNvPr id="4" name="Foliennummernplatzhalter 3">
            <a:extLst>
              <a:ext uri="{FF2B5EF4-FFF2-40B4-BE49-F238E27FC236}">
                <a16:creationId xmlns:a16="http://schemas.microsoft.com/office/drawing/2014/main" id="{790298B8-00FE-4129-80EA-5CB3A7BC2A58}"/>
              </a:ext>
            </a:extLst>
          </p:cNvPr>
          <p:cNvSpPr>
            <a:spLocks noGrp="1"/>
          </p:cNvSpPr>
          <p:nvPr>
            <p:ph type="sldNum" sz="quarter" idx="4"/>
          </p:nvPr>
        </p:nvSpPr>
        <p:spPr/>
        <p:txBody>
          <a:bodyPr/>
          <a:lstStyle/>
          <a:p>
            <a:r>
              <a:rPr lang="de-DE"/>
              <a:t>Seite </a:t>
            </a:r>
            <a:fld id="{A8D1AB97-F97B-4190-BD45-5A4F2F283CBD}" type="slidenum">
              <a:rPr lang="de-DE" smtClean="0"/>
              <a:pPr/>
              <a:t>4</a:t>
            </a:fld>
            <a:endParaRPr lang="de-DE"/>
          </a:p>
        </p:txBody>
      </p:sp>
      <p:sp>
        <p:nvSpPr>
          <p:cNvPr id="5" name="Textplatzhalter 4">
            <a:extLst>
              <a:ext uri="{FF2B5EF4-FFF2-40B4-BE49-F238E27FC236}">
                <a16:creationId xmlns:a16="http://schemas.microsoft.com/office/drawing/2014/main" id="{9892483E-4E85-47A7-BF42-0338EE66ADCB}"/>
              </a:ext>
            </a:extLst>
          </p:cNvPr>
          <p:cNvSpPr>
            <a:spLocks noGrp="1"/>
          </p:cNvSpPr>
          <p:nvPr>
            <p:ph type="body" sz="quarter" idx="14"/>
          </p:nvPr>
        </p:nvSpPr>
        <p:spPr/>
        <p:txBody>
          <a:bodyPr/>
          <a:lstStyle/>
          <a:p>
            <a:r>
              <a:rPr lang="de-DE"/>
              <a:t>Faninformationen</a:t>
            </a:r>
          </a:p>
        </p:txBody>
      </p:sp>
    </p:spTree>
    <p:extLst>
      <p:ext uri="{BB962C8B-B14F-4D97-AF65-F5344CB8AC3E}">
        <p14:creationId xmlns:p14="http://schemas.microsoft.com/office/powerpoint/2010/main" val="613213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descr="Ein Bild, das Text, Screenshot, Diagramm, Plan enthält.&#10;&#10;Automatisch generierte Beschreibung">
            <a:extLst>
              <a:ext uri="{FF2B5EF4-FFF2-40B4-BE49-F238E27FC236}">
                <a16:creationId xmlns:a16="http://schemas.microsoft.com/office/drawing/2014/main" id="{819F41BC-79A6-A989-5237-435DFDD74B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3500" y="184384"/>
            <a:ext cx="9268910" cy="6673615"/>
          </a:xfrm>
          <a:prstGeom prst="rect">
            <a:avLst/>
          </a:prstGeom>
        </p:spPr>
      </p:pic>
      <p:sp>
        <p:nvSpPr>
          <p:cNvPr id="3" name="Titel 2">
            <a:extLst>
              <a:ext uri="{FF2B5EF4-FFF2-40B4-BE49-F238E27FC236}">
                <a16:creationId xmlns:a16="http://schemas.microsoft.com/office/drawing/2014/main" id="{28FE8943-7F47-4B99-9664-63DE59F62234}"/>
              </a:ext>
            </a:extLst>
          </p:cNvPr>
          <p:cNvSpPr>
            <a:spLocks noGrp="1"/>
          </p:cNvSpPr>
          <p:nvPr>
            <p:ph type="title"/>
          </p:nvPr>
        </p:nvSpPr>
        <p:spPr/>
        <p:txBody>
          <a:bodyPr/>
          <a:lstStyle/>
          <a:p>
            <a:r>
              <a:rPr lang="de-DE" dirty="0"/>
              <a:t>Stadion </a:t>
            </a:r>
          </a:p>
        </p:txBody>
      </p:sp>
      <p:sp>
        <p:nvSpPr>
          <p:cNvPr id="4" name="Foliennummernplatzhalter 3">
            <a:extLst>
              <a:ext uri="{FF2B5EF4-FFF2-40B4-BE49-F238E27FC236}">
                <a16:creationId xmlns:a16="http://schemas.microsoft.com/office/drawing/2014/main" id="{790298B8-00FE-4129-80EA-5CB3A7BC2A58}"/>
              </a:ext>
            </a:extLst>
          </p:cNvPr>
          <p:cNvSpPr>
            <a:spLocks noGrp="1"/>
          </p:cNvSpPr>
          <p:nvPr>
            <p:ph type="sldNum" sz="quarter" idx="4"/>
          </p:nvPr>
        </p:nvSpPr>
        <p:spPr/>
        <p:txBody>
          <a:bodyPr/>
          <a:lstStyle/>
          <a:p>
            <a:r>
              <a:rPr lang="de-DE"/>
              <a:t>Seite </a:t>
            </a:r>
            <a:fld id="{A8D1AB97-F97B-4190-BD45-5A4F2F283CBD}" type="slidenum">
              <a:rPr lang="de-DE" smtClean="0"/>
              <a:pPr/>
              <a:t>5</a:t>
            </a:fld>
            <a:endParaRPr lang="de-DE"/>
          </a:p>
        </p:txBody>
      </p:sp>
      <p:sp>
        <p:nvSpPr>
          <p:cNvPr id="5" name="Textplatzhalter 4">
            <a:extLst>
              <a:ext uri="{FF2B5EF4-FFF2-40B4-BE49-F238E27FC236}">
                <a16:creationId xmlns:a16="http://schemas.microsoft.com/office/drawing/2014/main" id="{9892483E-4E85-47A7-BF42-0338EE66ADCB}"/>
              </a:ext>
            </a:extLst>
          </p:cNvPr>
          <p:cNvSpPr>
            <a:spLocks noGrp="1"/>
          </p:cNvSpPr>
          <p:nvPr>
            <p:ph type="body" sz="quarter" idx="14"/>
          </p:nvPr>
        </p:nvSpPr>
        <p:spPr/>
        <p:txBody>
          <a:bodyPr/>
          <a:lstStyle/>
          <a:p>
            <a:r>
              <a:rPr lang="de-DE"/>
              <a:t>Faninformationen</a:t>
            </a:r>
          </a:p>
        </p:txBody>
      </p:sp>
    </p:spTree>
    <p:extLst>
      <p:ext uri="{BB962C8B-B14F-4D97-AF65-F5344CB8AC3E}">
        <p14:creationId xmlns:p14="http://schemas.microsoft.com/office/powerpoint/2010/main" val="15461681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Ein Bild, das Text, Diagramm, Reihe, Screenshot enthält.&#10;&#10;Automatisch generierte Beschreibung">
            <a:extLst>
              <a:ext uri="{FF2B5EF4-FFF2-40B4-BE49-F238E27FC236}">
                <a16:creationId xmlns:a16="http://schemas.microsoft.com/office/drawing/2014/main" id="{46B12F3C-F683-D3FD-7E2C-F05412C62E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3502" y="1252151"/>
            <a:ext cx="6010615" cy="4786042"/>
          </a:xfrm>
          <a:prstGeom prst="rect">
            <a:avLst/>
          </a:prstGeom>
        </p:spPr>
      </p:pic>
      <p:sp>
        <p:nvSpPr>
          <p:cNvPr id="2" name="Textplatzhalter 1">
            <a:extLst>
              <a:ext uri="{FF2B5EF4-FFF2-40B4-BE49-F238E27FC236}">
                <a16:creationId xmlns:a16="http://schemas.microsoft.com/office/drawing/2014/main" id="{C370A4C6-81CF-A5D2-6C88-6EC540EDEF42}"/>
              </a:ext>
            </a:extLst>
          </p:cNvPr>
          <p:cNvSpPr>
            <a:spLocks noGrp="1"/>
          </p:cNvSpPr>
          <p:nvPr>
            <p:ph type="body" sz="quarter" idx="13"/>
          </p:nvPr>
        </p:nvSpPr>
        <p:spPr>
          <a:xfrm>
            <a:off x="6935993" y="1513865"/>
            <a:ext cx="4119516" cy="4156197"/>
          </a:xfrm>
        </p:spPr>
        <p:txBody>
          <a:bodyPr/>
          <a:lstStyle/>
          <a:p>
            <a:r>
              <a:rPr lang="de-DE" sz="1600" dirty="0">
                <a:effectLst/>
                <a:latin typeface="M05 Text BETA Light" panose="020B0404040000000004" pitchFamily="34" charset="0"/>
                <a:ea typeface="Calibri" panose="020F0502020204030204" pitchFamily="34" charset="0"/>
                <a:cs typeface="Times New Roman" panose="02020603050405020304" pitchFamily="18" charset="0"/>
              </a:rPr>
              <a:t>Bitte beachtet, dass in den Blöcken </a:t>
            </a:r>
            <a:r>
              <a:rPr lang="de-DE" sz="1600" b="1" dirty="0">
                <a:effectLst/>
                <a:latin typeface="M05 Text BETA Light" panose="020B0404040000000004" pitchFamily="34" charset="0"/>
                <a:ea typeface="Calibri" panose="020F0502020204030204" pitchFamily="34" charset="0"/>
                <a:cs typeface="Times New Roman" panose="02020603050405020304" pitchFamily="18" charset="0"/>
              </a:rPr>
              <a:t>A, O, P-S, sowie O-K </a:t>
            </a:r>
            <a:r>
              <a:rPr lang="de-DE" sz="1600" dirty="0">
                <a:effectLst/>
                <a:latin typeface="M05 Text BETA Light" panose="020B0404040000000004" pitchFamily="34" charset="0"/>
                <a:ea typeface="Calibri" panose="020F0502020204030204" pitchFamily="34" charset="0"/>
                <a:cs typeface="Times New Roman" panose="02020603050405020304" pitchFamily="18" charset="0"/>
              </a:rPr>
              <a:t>das Tragen von Gästekleidung </a:t>
            </a:r>
            <a:r>
              <a:rPr lang="de-DE" sz="1600" b="1" u="sng" dirty="0">
                <a:effectLst/>
                <a:latin typeface="M05 Text BETA Light" panose="020B0404040000000004" pitchFamily="34" charset="0"/>
                <a:ea typeface="Calibri" panose="020F0502020204030204" pitchFamily="34" charset="0"/>
                <a:cs typeface="Times New Roman" panose="02020603050405020304" pitchFamily="18" charset="0"/>
              </a:rPr>
              <a:t>strikt</a:t>
            </a:r>
            <a:r>
              <a:rPr lang="de-DE" sz="1600" dirty="0">
                <a:effectLst/>
                <a:latin typeface="M05 Text BETA Light" panose="020B0404040000000004" pitchFamily="34" charset="0"/>
                <a:ea typeface="Calibri" panose="020F0502020204030204" pitchFamily="34" charset="0"/>
                <a:cs typeface="Times New Roman" panose="02020603050405020304" pitchFamily="18" charset="0"/>
              </a:rPr>
              <a:t> untersagt ist. Es wird entsprechend kontrolliert und der Fan </a:t>
            </a:r>
            <a:r>
              <a:rPr lang="de-DE" sz="1600" dirty="0">
                <a:latin typeface="M05 Text BETA Light" panose="020B0404040000000004" pitchFamily="34" charset="0"/>
                <a:ea typeface="Calibri" panose="020F0502020204030204" pitchFamily="34" charset="0"/>
                <a:cs typeface="Times New Roman" panose="02020603050405020304" pitchFamily="18" charset="0"/>
              </a:rPr>
              <a:t>abgewiesen, sollte er Gastkleidung tragen. </a:t>
            </a:r>
            <a:r>
              <a:rPr lang="de-DE" sz="1600" dirty="0">
                <a:effectLst/>
                <a:latin typeface="M05 Text BETA Light" panose="020B0404040000000004" pitchFamily="34" charset="0"/>
                <a:ea typeface="Calibri" panose="020F0502020204030204" pitchFamily="34" charset="0"/>
                <a:cs typeface="Times New Roman" panose="02020603050405020304" pitchFamily="18" charset="0"/>
              </a:rPr>
              <a:t>Gleiches gilt für den Außenbereich hinter der Heim-Stehtribüne, inklusive </a:t>
            </a:r>
            <a:r>
              <a:rPr lang="de-DE" sz="1600" b="1" dirty="0" err="1">
                <a:effectLst/>
                <a:latin typeface="M05 Text BETA Light" panose="020B0404040000000004" pitchFamily="34" charset="0"/>
                <a:ea typeface="Calibri" panose="020F0502020204030204" pitchFamily="34" charset="0"/>
                <a:cs typeface="Times New Roman" panose="02020603050405020304" pitchFamily="18" charset="0"/>
              </a:rPr>
              <a:t>Schobbeschachtel</a:t>
            </a:r>
            <a:r>
              <a:rPr lang="de-DE" sz="1600" dirty="0">
                <a:effectLst/>
                <a:latin typeface="M05 Text BETA Light" panose="020B0404040000000004" pitchFamily="34" charset="0"/>
                <a:ea typeface="Calibri" panose="020F0502020204030204" pitchFamily="34" charset="0"/>
                <a:cs typeface="Times New Roman" panose="02020603050405020304" pitchFamily="18" charset="0"/>
              </a:rPr>
              <a:t> und </a:t>
            </a:r>
            <a:r>
              <a:rPr lang="de-DE" sz="1600" b="1" dirty="0" err="1">
                <a:effectLst/>
                <a:latin typeface="M05 Text BETA Light" panose="020B0404040000000004" pitchFamily="34" charset="0"/>
                <a:ea typeface="Calibri" panose="020F0502020204030204" pitchFamily="34" charset="0"/>
                <a:cs typeface="Times New Roman" panose="02020603050405020304" pitchFamily="18" charset="0"/>
              </a:rPr>
              <a:t>Hasekaste</a:t>
            </a:r>
            <a:r>
              <a:rPr lang="de-DE" sz="1600" dirty="0">
                <a:effectLst/>
                <a:latin typeface="M05 Text BETA Light" panose="020B0404040000000004" pitchFamily="34" charset="0"/>
                <a:ea typeface="Calibri" panose="020F0502020204030204" pitchFamily="34" charset="0"/>
                <a:cs typeface="Times New Roman" panose="02020603050405020304" pitchFamily="18" charset="0"/>
              </a:rPr>
              <a:t>. Der Zugang durch die Eingänge Nord, Nord-West, Süd-West und Süd-Ost ist Fans in Gästekleidung nicht gestattet.</a:t>
            </a:r>
          </a:p>
          <a:p>
            <a:endParaRPr lang="de-DE" dirty="0"/>
          </a:p>
        </p:txBody>
      </p:sp>
      <p:sp>
        <p:nvSpPr>
          <p:cNvPr id="3" name="Titel 2">
            <a:extLst>
              <a:ext uri="{FF2B5EF4-FFF2-40B4-BE49-F238E27FC236}">
                <a16:creationId xmlns:a16="http://schemas.microsoft.com/office/drawing/2014/main" id="{A8FE4117-7EDE-E9E7-A0F5-640D0E63F227}"/>
              </a:ext>
            </a:extLst>
          </p:cNvPr>
          <p:cNvSpPr>
            <a:spLocks noGrp="1"/>
          </p:cNvSpPr>
          <p:nvPr>
            <p:ph type="title"/>
          </p:nvPr>
        </p:nvSpPr>
        <p:spPr/>
        <p:txBody>
          <a:bodyPr/>
          <a:lstStyle/>
          <a:p>
            <a:r>
              <a:rPr lang="de-DE" err="1"/>
              <a:t>stadion</a:t>
            </a:r>
            <a:endParaRPr lang="de-DE"/>
          </a:p>
        </p:txBody>
      </p:sp>
      <p:sp>
        <p:nvSpPr>
          <p:cNvPr id="4" name="Foliennummernplatzhalter 3">
            <a:extLst>
              <a:ext uri="{FF2B5EF4-FFF2-40B4-BE49-F238E27FC236}">
                <a16:creationId xmlns:a16="http://schemas.microsoft.com/office/drawing/2014/main" id="{28F85034-C697-EE0C-6397-04CD38C1B24B}"/>
              </a:ext>
            </a:extLst>
          </p:cNvPr>
          <p:cNvSpPr>
            <a:spLocks noGrp="1"/>
          </p:cNvSpPr>
          <p:nvPr>
            <p:ph type="sldNum" sz="quarter" idx="4"/>
          </p:nvPr>
        </p:nvSpPr>
        <p:spPr/>
        <p:txBody>
          <a:bodyPr/>
          <a:lstStyle/>
          <a:p>
            <a:r>
              <a:rPr lang="de-DE"/>
              <a:t>Seite </a:t>
            </a:r>
            <a:fld id="{A8D1AB97-F97B-4190-BD45-5A4F2F283CBD}" type="slidenum">
              <a:rPr lang="de-DE" smtClean="0"/>
              <a:pPr/>
              <a:t>6</a:t>
            </a:fld>
            <a:endParaRPr lang="de-DE"/>
          </a:p>
        </p:txBody>
      </p:sp>
      <p:sp>
        <p:nvSpPr>
          <p:cNvPr id="5" name="Textplatzhalter 4">
            <a:extLst>
              <a:ext uri="{FF2B5EF4-FFF2-40B4-BE49-F238E27FC236}">
                <a16:creationId xmlns:a16="http://schemas.microsoft.com/office/drawing/2014/main" id="{6C4A4586-DC36-B021-95DD-B917341A06CE}"/>
              </a:ext>
            </a:extLst>
          </p:cNvPr>
          <p:cNvSpPr>
            <a:spLocks noGrp="1"/>
          </p:cNvSpPr>
          <p:nvPr>
            <p:ph type="body" sz="quarter" idx="14"/>
          </p:nvPr>
        </p:nvSpPr>
        <p:spPr/>
        <p:txBody>
          <a:bodyPr/>
          <a:lstStyle/>
          <a:p>
            <a:r>
              <a:rPr lang="de-DE" err="1"/>
              <a:t>faninformationen</a:t>
            </a:r>
            <a:endParaRPr lang="de-DE"/>
          </a:p>
        </p:txBody>
      </p:sp>
      <p:sp>
        <p:nvSpPr>
          <p:cNvPr id="9" name="Textfeld 8">
            <a:extLst>
              <a:ext uri="{FF2B5EF4-FFF2-40B4-BE49-F238E27FC236}">
                <a16:creationId xmlns:a16="http://schemas.microsoft.com/office/drawing/2014/main" id="{2B22519F-EC94-8607-E3D7-5781A2857B29}"/>
              </a:ext>
            </a:extLst>
          </p:cNvPr>
          <p:cNvSpPr txBox="1"/>
          <p:nvPr/>
        </p:nvSpPr>
        <p:spPr>
          <a:xfrm>
            <a:off x="5600965" y="5261793"/>
            <a:ext cx="569215" cy="338554"/>
          </a:xfrm>
          <a:prstGeom prst="rect">
            <a:avLst/>
          </a:prstGeom>
          <a:noFill/>
        </p:spPr>
        <p:txBody>
          <a:bodyPr wrap="square" rtlCol="0">
            <a:spAutoFit/>
          </a:bodyPr>
          <a:lstStyle/>
          <a:p>
            <a:r>
              <a:rPr lang="de-DE" sz="1600" dirty="0"/>
              <a:t>SO</a:t>
            </a:r>
          </a:p>
        </p:txBody>
      </p:sp>
      <p:sp>
        <p:nvSpPr>
          <p:cNvPr id="10" name="Textfeld 9">
            <a:extLst>
              <a:ext uri="{FF2B5EF4-FFF2-40B4-BE49-F238E27FC236}">
                <a16:creationId xmlns:a16="http://schemas.microsoft.com/office/drawing/2014/main" id="{65ABC382-FA66-D0D3-5F87-A05D937FB38E}"/>
              </a:ext>
            </a:extLst>
          </p:cNvPr>
          <p:cNvSpPr txBox="1"/>
          <p:nvPr/>
        </p:nvSpPr>
        <p:spPr>
          <a:xfrm>
            <a:off x="642244" y="5244415"/>
            <a:ext cx="701430" cy="338554"/>
          </a:xfrm>
          <a:prstGeom prst="rect">
            <a:avLst/>
          </a:prstGeom>
          <a:noFill/>
        </p:spPr>
        <p:txBody>
          <a:bodyPr wrap="square" rtlCol="0">
            <a:spAutoFit/>
          </a:bodyPr>
          <a:lstStyle/>
          <a:p>
            <a:r>
              <a:rPr lang="de-DE" sz="1600" dirty="0"/>
              <a:t>SW</a:t>
            </a:r>
          </a:p>
        </p:txBody>
      </p:sp>
      <p:sp>
        <p:nvSpPr>
          <p:cNvPr id="11" name="Textfeld 10">
            <a:extLst>
              <a:ext uri="{FF2B5EF4-FFF2-40B4-BE49-F238E27FC236}">
                <a16:creationId xmlns:a16="http://schemas.microsoft.com/office/drawing/2014/main" id="{5F84C495-BAD2-3F34-22B2-A9A844B99696}"/>
              </a:ext>
            </a:extLst>
          </p:cNvPr>
          <p:cNvSpPr txBox="1"/>
          <p:nvPr/>
        </p:nvSpPr>
        <p:spPr>
          <a:xfrm>
            <a:off x="642244" y="1560018"/>
            <a:ext cx="701430" cy="338554"/>
          </a:xfrm>
          <a:prstGeom prst="rect">
            <a:avLst/>
          </a:prstGeom>
          <a:noFill/>
        </p:spPr>
        <p:txBody>
          <a:bodyPr wrap="square" rtlCol="0">
            <a:spAutoFit/>
          </a:bodyPr>
          <a:lstStyle/>
          <a:p>
            <a:r>
              <a:rPr lang="de-DE" sz="1600" dirty="0"/>
              <a:t>NW</a:t>
            </a:r>
          </a:p>
        </p:txBody>
      </p:sp>
      <p:sp>
        <p:nvSpPr>
          <p:cNvPr id="12" name="Textfeld 11">
            <a:extLst>
              <a:ext uri="{FF2B5EF4-FFF2-40B4-BE49-F238E27FC236}">
                <a16:creationId xmlns:a16="http://schemas.microsoft.com/office/drawing/2014/main" id="{129424BC-0C07-0AED-3501-03CBCB4AFB01}"/>
              </a:ext>
            </a:extLst>
          </p:cNvPr>
          <p:cNvSpPr txBox="1"/>
          <p:nvPr/>
        </p:nvSpPr>
        <p:spPr>
          <a:xfrm>
            <a:off x="5600965" y="1560018"/>
            <a:ext cx="701430" cy="338554"/>
          </a:xfrm>
          <a:prstGeom prst="rect">
            <a:avLst/>
          </a:prstGeom>
          <a:noFill/>
        </p:spPr>
        <p:txBody>
          <a:bodyPr wrap="square" rtlCol="0">
            <a:spAutoFit/>
          </a:bodyPr>
          <a:lstStyle/>
          <a:p>
            <a:r>
              <a:rPr lang="de-DE" sz="1600" dirty="0"/>
              <a:t>NO</a:t>
            </a:r>
          </a:p>
        </p:txBody>
      </p:sp>
    </p:spTree>
    <p:extLst>
      <p:ext uri="{BB962C8B-B14F-4D97-AF65-F5344CB8AC3E}">
        <p14:creationId xmlns:p14="http://schemas.microsoft.com/office/powerpoint/2010/main" val="27408524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C0E4561C-35FD-4AD6-B424-6727EB1B6752}"/>
              </a:ext>
            </a:extLst>
          </p:cNvPr>
          <p:cNvSpPr>
            <a:spLocks noGrp="1"/>
          </p:cNvSpPr>
          <p:nvPr>
            <p:ph type="sldNum" sz="quarter" idx="10"/>
          </p:nvPr>
        </p:nvSpPr>
        <p:spPr/>
        <p:txBody>
          <a:bodyPr/>
          <a:lstStyle/>
          <a:p>
            <a:r>
              <a:rPr lang="de-DE"/>
              <a:t>Seite </a:t>
            </a:r>
            <a:fld id="{A8D1AB97-F97B-4190-BD45-5A4F2F283CBD}" type="slidenum">
              <a:rPr lang="de-DE" smtClean="0"/>
              <a:pPr/>
              <a:t>7</a:t>
            </a:fld>
            <a:endParaRPr lang="de-DE"/>
          </a:p>
        </p:txBody>
      </p:sp>
      <p:pic>
        <p:nvPicPr>
          <p:cNvPr id="9" name="Bildplatzhalter 8">
            <a:extLst>
              <a:ext uri="{FF2B5EF4-FFF2-40B4-BE49-F238E27FC236}">
                <a16:creationId xmlns:a16="http://schemas.microsoft.com/office/drawing/2014/main" id="{2498C378-451F-4C85-88D2-1B3F4F8D82C0}"/>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14248" b="14248"/>
          <a:stretch/>
        </p:blipFill>
        <p:spPr>
          <a:xfrm>
            <a:off x="7045483" y="1672815"/>
            <a:ext cx="4010025" cy="2150485"/>
          </a:xfrm>
        </p:spPr>
      </p:pic>
      <p:sp>
        <p:nvSpPr>
          <p:cNvPr id="4" name="Textplatzhalter 3">
            <a:extLst>
              <a:ext uri="{FF2B5EF4-FFF2-40B4-BE49-F238E27FC236}">
                <a16:creationId xmlns:a16="http://schemas.microsoft.com/office/drawing/2014/main" id="{7D57CB4E-A8FB-42FC-81DF-3A59331CCFF5}"/>
              </a:ext>
            </a:extLst>
          </p:cNvPr>
          <p:cNvSpPr>
            <a:spLocks noGrp="1"/>
          </p:cNvSpPr>
          <p:nvPr>
            <p:ph type="body" sz="quarter" idx="14"/>
          </p:nvPr>
        </p:nvSpPr>
        <p:spPr>
          <a:xfrm>
            <a:off x="330201" y="1712762"/>
            <a:ext cx="6540499" cy="4427537"/>
          </a:xfrm>
        </p:spPr>
        <p:txBody>
          <a:bodyPr/>
          <a:lstStyle/>
          <a:p>
            <a:pPr>
              <a:lnSpc>
                <a:spcPct val="107000"/>
              </a:lnSpc>
              <a:spcAft>
                <a:spcPts val="800"/>
              </a:spcAft>
            </a:pPr>
            <a:r>
              <a:rPr lang="de-DE" sz="1800" dirty="0">
                <a:effectLst/>
                <a:latin typeface="M05 Text BETA Light" panose="020B0404040000000004" pitchFamily="34" charset="0"/>
                <a:ea typeface="Calibri" panose="020F0502020204030204" pitchFamily="34" charset="0"/>
                <a:cs typeface="Times New Roman" panose="02020603050405020304" pitchFamily="18" charset="0"/>
              </a:rPr>
              <a:t>Die Blöcke H,I (Sitzblöcke) und J (Stehblock) zählen zum Gastbereich.</a:t>
            </a:r>
          </a:p>
          <a:p>
            <a:pPr>
              <a:lnSpc>
                <a:spcPct val="107000"/>
              </a:lnSpc>
              <a:spcAft>
                <a:spcPts val="800"/>
              </a:spcAft>
            </a:pPr>
            <a:r>
              <a:rPr lang="de-DE" sz="1800" dirty="0">
                <a:effectLst/>
                <a:latin typeface="M05 Text BETA Light" panose="020B0404040000000004" pitchFamily="34" charset="0"/>
                <a:ea typeface="Calibri" panose="020F0502020204030204" pitchFamily="34" charset="0"/>
                <a:cs typeface="Times New Roman" panose="02020603050405020304" pitchFamily="18" charset="0"/>
              </a:rPr>
              <a:t>Die Materialkontrolle wird in einem, durch einen Zaun separierten Bereich auf P9 direkt neben dem Gästeeinlass stattfinden. Der Bereich ist von allen Seiten einsehbar, sodass die Fans jederzeit Einblick zu den Kontrollen erhalten. Dort kann auf Tischen das Material zur Durchsicht ausgebreitet werden, was eine entspannte Kontrolle ermöglicht. Im Anschluss an die Kontrolle werden die Tickets der Personen, die bei der Kontrolle dabei waren, durch den Ordnungsdienst gescannt. Den Bereich können während der Kontrolle nur so viele Fans betreten, dass die Kontrolle ordnungsgemäß durchgeführt werden kann. </a:t>
            </a:r>
            <a:endParaRPr lang="de-DE" dirty="0">
              <a:effectLst/>
              <a:latin typeface="M05 Text BETA Light" panose="020B0404040000000004" pitchFamily="34" charset="0"/>
              <a:ea typeface="Calibri" panose="020F0502020204030204" pitchFamily="34" charset="0"/>
              <a:cs typeface="Times New Roman" panose="02020603050405020304" pitchFamily="18" charset="0"/>
            </a:endParaRPr>
          </a:p>
        </p:txBody>
      </p:sp>
      <p:sp>
        <p:nvSpPr>
          <p:cNvPr id="5" name="Titel 4">
            <a:extLst>
              <a:ext uri="{FF2B5EF4-FFF2-40B4-BE49-F238E27FC236}">
                <a16:creationId xmlns:a16="http://schemas.microsoft.com/office/drawing/2014/main" id="{FC18724E-D943-4E1E-ABFC-F5AED83C9EE0}"/>
              </a:ext>
            </a:extLst>
          </p:cNvPr>
          <p:cNvSpPr>
            <a:spLocks noGrp="1"/>
          </p:cNvSpPr>
          <p:nvPr>
            <p:ph type="title"/>
          </p:nvPr>
        </p:nvSpPr>
        <p:spPr/>
        <p:txBody>
          <a:bodyPr/>
          <a:lstStyle/>
          <a:p>
            <a:r>
              <a:rPr lang="de-DE" err="1"/>
              <a:t>gastbereich</a:t>
            </a:r>
            <a:endParaRPr lang="de-DE"/>
          </a:p>
        </p:txBody>
      </p:sp>
      <p:sp>
        <p:nvSpPr>
          <p:cNvPr id="6" name="Textplatzhalter 5">
            <a:extLst>
              <a:ext uri="{FF2B5EF4-FFF2-40B4-BE49-F238E27FC236}">
                <a16:creationId xmlns:a16="http://schemas.microsoft.com/office/drawing/2014/main" id="{A4FB6C1D-D245-476D-A03F-FC8885D85649}"/>
              </a:ext>
            </a:extLst>
          </p:cNvPr>
          <p:cNvSpPr>
            <a:spLocks noGrp="1"/>
          </p:cNvSpPr>
          <p:nvPr>
            <p:ph type="body" sz="quarter" idx="15"/>
          </p:nvPr>
        </p:nvSpPr>
        <p:spPr>
          <a:xfrm>
            <a:off x="330201" y="210106"/>
            <a:ext cx="8978717" cy="277200"/>
          </a:xfrm>
        </p:spPr>
        <p:txBody>
          <a:bodyPr/>
          <a:lstStyle/>
          <a:p>
            <a:r>
              <a:rPr lang="de-DE" err="1"/>
              <a:t>faninformationen</a:t>
            </a:r>
            <a:endParaRPr lang="de-DE"/>
          </a:p>
        </p:txBody>
      </p:sp>
      <p:pic>
        <p:nvPicPr>
          <p:cNvPr id="11" name="Bildplatzhalter 10">
            <a:extLst>
              <a:ext uri="{FF2B5EF4-FFF2-40B4-BE49-F238E27FC236}">
                <a16:creationId xmlns:a16="http://schemas.microsoft.com/office/drawing/2014/main" id="{DD4785EE-C198-4E6C-9AAF-A8C1FB8FEAED}"/>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t="14248" b="14248"/>
          <a:stretch/>
        </p:blipFill>
        <p:spPr>
          <a:xfrm>
            <a:off x="7045483" y="4157364"/>
            <a:ext cx="4010025" cy="2150485"/>
          </a:xfrm>
        </p:spPr>
      </p:pic>
      <p:sp>
        <p:nvSpPr>
          <p:cNvPr id="3" name="Textfeld 2">
            <a:extLst>
              <a:ext uri="{FF2B5EF4-FFF2-40B4-BE49-F238E27FC236}">
                <a16:creationId xmlns:a16="http://schemas.microsoft.com/office/drawing/2014/main" id="{13CA1448-A1AF-44AB-B7F6-EC27BC55C333}"/>
              </a:ext>
            </a:extLst>
          </p:cNvPr>
          <p:cNvSpPr txBox="1"/>
          <p:nvPr/>
        </p:nvSpPr>
        <p:spPr>
          <a:xfrm>
            <a:off x="6990775" y="3788032"/>
            <a:ext cx="3092121" cy="276999"/>
          </a:xfrm>
          <a:prstGeom prst="rect">
            <a:avLst/>
          </a:prstGeom>
          <a:noFill/>
        </p:spPr>
        <p:txBody>
          <a:bodyPr wrap="square" rtlCol="0">
            <a:spAutoFit/>
          </a:bodyPr>
          <a:lstStyle/>
          <a:p>
            <a:r>
              <a:rPr lang="de-DE" sz="1200"/>
              <a:t>Gastblöcke</a:t>
            </a:r>
          </a:p>
        </p:txBody>
      </p:sp>
      <p:sp>
        <p:nvSpPr>
          <p:cNvPr id="10" name="Textfeld 9">
            <a:extLst>
              <a:ext uri="{FF2B5EF4-FFF2-40B4-BE49-F238E27FC236}">
                <a16:creationId xmlns:a16="http://schemas.microsoft.com/office/drawing/2014/main" id="{798B8504-15CA-4E22-A5F4-9951300E59F0}"/>
              </a:ext>
            </a:extLst>
          </p:cNvPr>
          <p:cNvSpPr txBox="1"/>
          <p:nvPr/>
        </p:nvSpPr>
        <p:spPr>
          <a:xfrm>
            <a:off x="6990774" y="6307849"/>
            <a:ext cx="3092121" cy="276999"/>
          </a:xfrm>
          <a:prstGeom prst="rect">
            <a:avLst/>
          </a:prstGeom>
          <a:noFill/>
        </p:spPr>
        <p:txBody>
          <a:bodyPr wrap="square" rtlCol="0">
            <a:spAutoFit/>
          </a:bodyPr>
          <a:lstStyle/>
          <a:p>
            <a:r>
              <a:rPr lang="de-DE" sz="1200"/>
              <a:t>Materialkontrolle</a:t>
            </a:r>
          </a:p>
        </p:txBody>
      </p:sp>
    </p:spTree>
    <p:extLst>
      <p:ext uri="{BB962C8B-B14F-4D97-AF65-F5344CB8AC3E}">
        <p14:creationId xmlns:p14="http://schemas.microsoft.com/office/powerpoint/2010/main" val="14761048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8399B9B-71FC-4428-BD47-DF4B53667A7D}"/>
              </a:ext>
            </a:extLst>
          </p:cNvPr>
          <p:cNvSpPr>
            <a:spLocks noGrp="1"/>
          </p:cNvSpPr>
          <p:nvPr>
            <p:ph type="body" sz="quarter" idx="13"/>
          </p:nvPr>
        </p:nvSpPr>
        <p:spPr>
          <a:xfrm>
            <a:off x="330201" y="1139136"/>
            <a:ext cx="10734674" cy="5056574"/>
          </a:xfrm>
        </p:spPr>
        <p:txBody>
          <a:bodyPr/>
          <a:lstStyle/>
          <a:p>
            <a:pPr>
              <a:lnSpc>
                <a:spcPct val="110000"/>
              </a:lnSpc>
              <a:spcAft>
                <a:spcPts val="800"/>
              </a:spcAft>
            </a:pPr>
            <a:r>
              <a:rPr lang="de-DE" sz="1800" dirty="0">
                <a:effectLst/>
                <a:latin typeface="M05 Text BETA Light" panose="020B0404040000000004" pitchFamily="34" charset="0"/>
                <a:ea typeface="Calibri" panose="020F0502020204030204" pitchFamily="34" charset="0"/>
                <a:cs typeface="Calibri" panose="020F0502020204030204" pitchFamily="34" charset="0"/>
              </a:rPr>
              <a:t>Folgende Fanutensilien sind erlaubt:</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nSpc>
                <a:spcPct val="100000"/>
              </a:lnSpc>
              <a:spcAft>
                <a:spcPts val="800"/>
              </a:spcAft>
              <a:buFont typeface="Calibri" panose="020F0502020204030204" pitchFamily="34" charset="0"/>
              <a:buChar char="-"/>
            </a:pPr>
            <a:r>
              <a:rPr lang="de-DE" sz="1800" dirty="0">
                <a:effectLst/>
                <a:latin typeface="M05 Text BETA Light" panose="020B0404040000000004" pitchFamily="34" charset="0"/>
                <a:ea typeface="Calibri" panose="020F0502020204030204" pitchFamily="34" charset="0"/>
                <a:cs typeface="Calibri" panose="020F0502020204030204" pitchFamily="34" charset="0"/>
              </a:rPr>
              <a:t>3x Megafone </a:t>
            </a:r>
            <a:endParaRPr lang="de-DE" sz="1800" dirty="0">
              <a:effectLst/>
              <a:latin typeface="M05 Text BETA Light" panose="020B0404040000000004" pitchFamily="34" charset="0"/>
              <a:ea typeface="Calibri" panose="020F0502020204030204" pitchFamily="34" charset="0"/>
              <a:cs typeface="Times New Roman" panose="02020603050405020304" pitchFamily="18" charset="0"/>
            </a:endParaRPr>
          </a:p>
          <a:p>
            <a:pPr marL="800100" lvl="1" indent="-342900">
              <a:lnSpc>
                <a:spcPct val="100000"/>
              </a:lnSpc>
              <a:spcAft>
                <a:spcPts val="800"/>
              </a:spcAft>
              <a:buFont typeface="Calibri" panose="020F0502020204030204" pitchFamily="34" charset="0"/>
              <a:buChar char="-"/>
            </a:pPr>
            <a:r>
              <a:rPr lang="de-DE" sz="1800" dirty="0">
                <a:effectLst/>
                <a:latin typeface="M05 Text BETA Light" panose="020B0404040000000004" pitchFamily="34" charset="0"/>
                <a:ea typeface="Calibri" panose="020F0502020204030204" pitchFamily="34" charset="0"/>
                <a:cs typeface="Calibri" panose="020F0502020204030204" pitchFamily="34" charset="0"/>
              </a:rPr>
              <a:t>15x Schwenkfahnen </a:t>
            </a:r>
            <a:endParaRPr lang="de-DE" sz="1800" dirty="0">
              <a:effectLst/>
              <a:latin typeface="M05 Text BETA Light" panose="020B0404040000000004" pitchFamily="34" charset="0"/>
              <a:ea typeface="Calibri" panose="020F0502020204030204" pitchFamily="34" charset="0"/>
              <a:cs typeface="Times New Roman" panose="02020603050405020304" pitchFamily="18" charset="0"/>
            </a:endParaRPr>
          </a:p>
          <a:p>
            <a:pPr marL="800100" lvl="1" indent="-342900">
              <a:lnSpc>
                <a:spcPct val="100000"/>
              </a:lnSpc>
              <a:spcAft>
                <a:spcPts val="800"/>
              </a:spcAft>
              <a:buFont typeface="Calibri" panose="020F0502020204030204" pitchFamily="34" charset="0"/>
              <a:buChar char="-"/>
            </a:pPr>
            <a:r>
              <a:rPr lang="de-DE" sz="1800" dirty="0">
                <a:effectLst/>
                <a:latin typeface="M05 Text BETA Light" panose="020B0404040000000004" pitchFamily="34" charset="0"/>
                <a:ea typeface="Calibri" panose="020F0502020204030204" pitchFamily="34" charset="0"/>
                <a:cs typeface="Calibri" panose="020F0502020204030204" pitchFamily="34" charset="0"/>
              </a:rPr>
              <a:t>5x Trommeln (offen, einsehbar)</a:t>
            </a:r>
            <a:endParaRPr lang="de-DE" sz="1800" dirty="0">
              <a:effectLst/>
              <a:latin typeface="M05 Text BETA Light" panose="020B0404040000000004" pitchFamily="34" charset="0"/>
              <a:ea typeface="Calibri" panose="020F0502020204030204" pitchFamily="34" charset="0"/>
              <a:cs typeface="Times New Roman" panose="02020603050405020304" pitchFamily="18" charset="0"/>
            </a:endParaRPr>
          </a:p>
          <a:p>
            <a:pPr marL="800100" lvl="1" indent="-342900">
              <a:lnSpc>
                <a:spcPct val="100000"/>
              </a:lnSpc>
              <a:spcAft>
                <a:spcPts val="800"/>
              </a:spcAft>
              <a:buFont typeface="Calibri" panose="020F0502020204030204" pitchFamily="34" charset="0"/>
              <a:buChar char="-"/>
            </a:pPr>
            <a:r>
              <a:rPr lang="de-DE" sz="1800" dirty="0">
                <a:effectLst/>
                <a:latin typeface="M05 Text BETA Light" panose="020B0404040000000004" pitchFamily="34" charset="0"/>
                <a:ea typeface="Calibri" panose="020F0502020204030204" pitchFamily="34" charset="0"/>
                <a:cs typeface="Calibri" panose="020F0502020204030204" pitchFamily="34" charset="0"/>
              </a:rPr>
              <a:t>Fahnen mit einer Stocklänge bis zu 2m (</a:t>
            </a:r>
            <a:r>
              <a:rPr lang="de-DE" sz="1800" dirty="0">
                <a:latin typeface="M05 Text BETA Light" panose="020B0404040000000004" pitchFamily="34" charset="0"/>
                <a:ea typeface="Calibri" panose="020F0502020204030204" pitchFamily="34" charset="0"/>
                <a:cs typeface="Calibri" panose="020F0502020204030204" pitchFamily="34" charset="0"/>
              </a:rPr>
              <a:t>K</a:t>
            </a:r>
            <a:r>
              <a:rPr lang="de-DE" sz="1800" dirty="0">
                <a:effectLst/>
                <a:latin typeface="M05 Text BETA Light" panose="020B0404040000000004" pitchFamily="34" charset="0"/>
                <a:ea typeface="Calibri" panose="020F0502020204030204" pitchFamily="34" charset="0"/>
                <a:cs typeface="Calibri" panose="020F0502020204030204" pitchFamily="34" charset="0"/>
              </a:rPr>
              <a:t>unststoff, Holzstöcke sind nicht erlaubt)</a:t>
            </a:r>
            <a:endParaRPr lang="de-DE" sz="1800" dirty="0">
              <a:effectLst/>
              <a:latin typeface="M05 Text BETA Light" panose="020B0404040000000004" pitchFamily="34" charset="0"/>
              <a:ea typeface="Calibri" panose="020F0502020204030204" pitchFamily="34" charset="0"/>
              <a:cs typeface="Times New Roman" panose="02020603050405020304" pitchFamily="18" charset="0"/>
            </a:endParaRPr>
          </a:p>
          <a:p>
            <a:pPr marL="800100" lvl="1" indent="-342900">
              <a:lnSpc>
                <a:spcPct val="100000"/>
              </a:lnSpc>
              <a:spcAft>
                <a:spcPts val="800"/>
              </a:spcAft>
              <a:buFont typeface="Calibri" panose="020F0502020204030204" pitchFamily="34" charset="0"/>
              <a:buChar char="-"/>
            </a:pPr>
            <a:r>
              <a:rPr lang="de-DE" sz="1800" dirty="0">
                <a:effectLst/>
                <a:latin typeface="M05 Text BETA Light" panose="020B0404040000000004" pitchFamily="34" charset="0"/>
                <a:ea typeface="Calibri" panose="020F0502020204030204" pitchFamily="34" charset="0"/>
                <a:cs typeface="Calibri" panose="020F0502020204030204" pitchFamily="34" charset="0"/>
              </a:rPr>
              <a:t>Doppelhalter</a:t>
            </a:r>
            <a:endParaRPr lang="de-DE" sz="1800" dirty="0">
              <a:effectLst/>
              <a:latin typeface="M05 Text BETA Light" panose="020B0404040000000004" pitchFamily="34" charset="0"/>
              <a:ea typeface="Calibri" panose="020F0502020204030204" pitchFamily="34" charset="0"/>
              <a:cs typeface="Times New Roman" panose="02020603050405020304" pitchFamily="18" charset="0"/>
            </a:endParaRPr>
          </a:p>
          <a:p>
            <a:pPr marL="800100" lvl="1" indent="-342900">
              <a:lnSpc>
                <a:spcPct val="100000"/>
              </a:lnSpc>
              <a:spcAft>
                <a:spcPts val="800"/>
              </a:spcAft>
              <a:buFont typeface="Calibri" panose="020F0502020204030204" pitchFamily="34" charset="0"/>
              <a:buChar char="-"/>
            </a:pPr>
            <a:r>
              <a:rPr lang="de-DE" sz="1800" dirty="0">
                <a:effectLst/>
                <a:latin typeface="M05 Text BETA Light" panose="020B0404040000000004" pitchFamily="34" charset="0"/>
                <a:ea typeface="Calibri" panose="020F0502020204030204" pitchFamily="34" charset="0"/>
                <a:cs typeface="Calibri" panose="020F0502020204030204" pitchFamily="34" charset="0"/>
              </a:rPr>
              <a:t>Zaunfahnen (dürfen nicht über die Werbebande und dem Fluchttor aufgehängt werden)</a:t>
            </a:r>
          </a:p>
          <a:p>
            <a:pPr marL="457200" lvl="1" indent="0">
              <a:lnSpc>
                <a:spcPct val="100000"/>
              </a:lnSpc>
              <a:spcAft>
                <a:spcPts val="800"/>
              </a:spcAft>
              <a:buNone/>
            </a:pPr>
            <a:endParaRPr lang="de-DE" sz="1800" dirty="0">
              <a:latin typeface="M05 Text BETA Light" panose="020B0404040000000004" pitchFamily="34" charset="0"/>
              <a:ea typeface="Calibri" panose="020F0502020204030204" pitchFamily="34" charset="0"/>
              <a:cs typeface="Calibri" panose="020F0502020204030204" pitchFamily="34" charset="0"/>
            </a:endParaRPr>
          </a:p>
          <a:p>
            <a:pPr marL="457200" lvl="1" indent="0">
              <a:lnSpc>
                <a:spcPct val="100000"/>
              </a:lnSpc>
              <a:spcAft>
                <a:spcPts val="800"/>
              </a:spcAft>
              <a:buNone/>
            </a:pPr>
            <a:r>
              <a:rPr lang="de-DE" sz="1800" dirty="0">
                <a:effectLst/>
                <a:latin typeface="M05 Text BETA Light" panose="020B0404040000000004" pitchFamily="34" charset="0"/>
                <a:ea typeface="Calibri" panose="020F0502020204030204" pitchFamily="34" charset="0"/>
                <a:cs typeface="Times New Roman" panose="02020603050405020304" pitchFamily="18" charset="0"/>
              </a:rPr>
              <a:t>Die Anfrage von Fanutensilien ist von der Gästefanbetreuung bis spätestens 5 Tage vor Spieltag schriftlich einzureichen. Spruchbänder und Choreografien sind gesondert anzumelden.</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gn="just">
              <a:lnSpc>
                <a:spcPct val="100000"/>
              </a:lnSpc>
              <a:spcAft>
                <a:spcPts val="800"/>
              </a:spcAft>
              <a:buNone/>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e-DE" sz="1800" dirty="0">
                <a:solidFill>
                  <a:srgbClr val="000000"/>
                </a:solidFill>
                <a:effectLst/>
                <a:latin typeface="M05 Text BETA Light" panose="020B0404040000000004" pitchFamily="34" charset="0"/>
                <a:ea typeface="Calibri" panose="020F0502020204030204" pitchFamily="34" charset="0"/>
                <a:cs typeface="Times New Roman" panose="02020603050405020304" pitchFamily="18" charset="0"/>
              </a:rPr>
              <a:t>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Titel 2">
            <a:extLst>
              <a:ext uri="{FF2B5EF4-FFF2-40B4-BE49-F238E27FC236}">
                <a16:creationId xmlns:a16="http://schemas.microsoft.com/office/drawing/2014/main" id="{28FE8943-7F47-4B99-9664-63DE59F62234}"/>
              </a:ext>
            </a:extLst>
          </p:cNvPr>
          <p:cNvSpPr>
            <a:spLocks noGrp="1"/>
          </p:cNvSpPr>
          <p:nvPr>
            <p:ph type="title"/>
          </p:nvPr>
        </p:nvSpPr>
        <p:spPr>
          <a:xfrm>
            <a:off x="330201" y="550152"/>
            <a:ext cx="10728000" cy="702000"/>
          </a:xfrm>
        </p:spPr>
        <p:txBody>
          <a:bodyPr/>
          <a:lstStyle/>
          <a:p>
            <a:r>
              <a:rPr lang="de-DE" err="1"/>
              <a:t>fanutensilien</a:t>
            </a:r>
            <a:endParaRPr lang="de-DE"/>
          </a:p>
        </p:txBody>
      </p:sp>
      <p:sp>
        <p:nvSpPr>
          <p:cNvPr id="4" name="Foliennummernplatzhalter 3">
            <a:extLst>
              <a:ext uri="{FF2B5EF4-FFF2-40B4-BE49-F238E27FC236}">
                <a16:creationId xmlns:a16="http://schemas.microsoft.com/office/drawing/2014/main" id="{790298B8-00FE-4129-80EA-5CB3A7BC2A58}"/>
              </a:ext>
            </a:extLst>
          </p:cNvPr>
          <p:cNvSpPr>
            <a:spLocks noGrp="1"/>
          </p:cNvSpPr>
          <p:nvPr>
            <p:ph type="sldNum" sz="quarter" idx="4"/>
          </p:nvPr>
        </p:nvSpPr>
        <p:spPr/>
        <p:txBody>
          <a:bodyPr/>
          <a:lstStyle/>
          <a:p>
            <a:r>
              <a:rPr lang="de-DE"/>
              <a:t>Seite </a:t>
            </a:r>
            <a:fld id="{A8D1AB97-F97B-4190-BD45-5A4F2F283CBD}" type="slidenum">
              <a:rPr lang="de-DE" smtClean="0"/>
              <a:pPr/>
              <a:t>8</a:t>
            </a:fld>
            <a:endParaRPr lang="de-DE"/>
          </a:p>
        </p:txBody>
      </p:sp>
      <p:sp>
        <p:nvSpPr>
          <p:cNvPr id="5" name="Textplatzhalter 4">
            <a:extLst>
              <a:ext uri="{FF2B5EF4-FFF2-40B4-BE49-F238E27FC236}">
                <a16:creationId xmlns:a16="http://schemas.microsoft.com/office/drawing/2014/main" id="{9892483E-4E85-47A7-BF42-0338EE66ADCB}"/>
              </a:ext>
            </a:extLst>
          </p:cNvPr>
          <p:cNvSpPr>
            <a:spLocks noGrp="1"/>
          </p:cNvSpPr>
          <p:nvPr>
            <p:ph type="body" sz="quarter" idx="14"/>
          </p:nvPr>
        </p:nvSpPr>
        <p:spPr/>
        <p:txBody>
          <a:bodyPr/>
          <a:lstStyle/>
          <a:p>
            <a:r>
              <a:rPr lang="de-DE"/>
              <a:t>Faninformationen</a:t>
            </a:r>
          </a:p>
        </p:txBody>
      </p:sp>
    </p:spTree>
    <p:extLst>
      <p:ext uri="{BB962C8B-B14F-4D97-AF65-F5344CB8AC3E}">
        <p14:creationId xmlns:p14="http://schemas.microsoft.com/office/powerpoint/2010/main" val="5658393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8399B9B-71FC-4428-BD47-DF4B53667A7D}"/>
              </a:ext>
            </a:extLst>
          </p:cNvPr>
          <p:cNvSpPr>
            <a:spLocks noGrp="1"/>
          </p:cNvSpPr>
          <p:nvPr>
            <p:ph type="body" sz="quarter" idx="13"/>
          </p:nvPr>
        </p:nvSpPr>
        <p:spPr>
          <a:xfrm>
            <a:off x="330201" y="1139136"/>
            <a:ext cx="10734674" cy="5464864"/>
          </a:xfrm>
        </p:spPr>
        <p:txBody>
          <a:bodyPr/>
          <a:lstStyle/>
          <a:p>
            <a:pPr marL="0" indent="0" algn="just">
              <a:lnSpc>
                <a:spcPct val="100000"/>
              </a:lnSpc>
              <a:spcBef>
                <a:spcPts val="400"/>
              </a:spcBef>
              <a:spcAft>
                <a:spcPts val="400"/>
              </a:spcAft>
              <a:buNone/>
            </a:pPr>
            <a:r>
              <a:rPr lang="de-DE" dirty="0">
                <a:effectLst/>
                <a:latin typeface="M05 Text BETA Light" panose="020B0404040000000004" pitchFamily="34" charset="0"/>
                <a:ea typeface="Calibri" panose="020F0502020204030204" pitchFamily="34" charset="0"/>
                <a:cs typeface="Times New Roman" panose="02020603050405020304" pitchFamily="18" charset="0"/>
              </a:rPr>
              <a:t>Bitburger 		0,5l		</a:t>
            </a:r>
            <a:r>
              <a:rPr lang="de-DE" b="1" dirty="0">
                <a:latin typeface="M05 Text BETA Light" panose="020B0404040000000004" pitchFamily="34" charset="0"/>
                <a:ea typeface="Calibri" panose="020F0502020204030204" pitchFamily="34" charset="0"/>
                <a:cs typeface="Times New Roman" panose="02020603050405020304" pitchFamily="18" charset="0"/>
              </a:rPr>
              <a:t>5</a:t>
            </a:r>
            <a:r>
              <a:rPr lang="de-DE" b="1" dirty="0">
                <a:effectLst/>
                <a:latin typeface="M05 Text BETA Light" panose="020B0404040000000004" pitchFamily="34" charset="0"/>
                <a:ea typeface="Calibri" panose="020F0502020204030204" pitchFamily="34" charset="0"/>
                <a:cs typeface="Times New Roman" panose="02020603050405020304" pitchFamily="18" charset="0"/>
              </a:rPr>
              <a:t>,20€</a:t>
            </a:r>
            <a:r>
              <a:rPr lang="de-DE" dirty="0">
                <a:effectLst/>
                <a:latin typeface="M05 Text BETA Light" panose="020B0404040000000004" pitchFamily="34" charset="0"/>
                <a:ea typeface="Calibri" panose="020F0502020204030204" pitchFamily="34" charset="0"/>
                <a:cs typeface="Times New Roman" panose="02020603050405020304" pitchFamily="18" charset="0"/>
              </a:rPr>
              <a:t>		Bratwurst		</a:t>
            </a:r>
            <a:r>
              <a:rPr lang="de-DE" b="1" dirty="0">
                <a:effectLst/>
                <a:latin typeface="M05 Text BETA Light" panose="020B0404040000000004" pitchFamily="34" charset="0"/>
                <a:ea typeface="Calibri" panose="020F0502020204030204" pitchFamily="34" charset="0"/>
                <a:cs typeface="Times New Roman" panose="02020603050405020304" pitchFamily="18" charset="0"/>
              </a:rPr>
              <a:t>4,10€</a:t>
            </a:r>
          </a:p>
          <a:p>
            <a:pPr marL="0" indent="0" algn="just">
              <a:lnSpc>
                <a:spcPct val="100000"/>
              </a:lnSpc>
              <a:spcBef>
                <a:spcPts val="400"/>
              </a:spcBef>
              <a:spcAft>
                <a:spcPts val="400"/>
              </a:spcAft>
              <a:buNone/>
            </a:pPr>
            <a:r>
              <a:rPr lang="de-DE" dirty="0">
                <a:latin typeface="M05 Text BETA Light" panose="020B0404040000000004" pitchFamily="34" charset="0"/>
                <a:ea typeface="Calibri" panose="020F0502020204030204" pitchFamily="34" charset="0"/>
                <a:cs typeface="Times New Roman" panose="02020603050405020304" pitchFamily="18" charset="0"/>
              </a:rPr>
              <a:t>Bitburger alkoholfrei	0,33l		</a:t>
            </a:r>
            <a:r>
              <a:rPr lang="de-DE" b="1" dirty="0">
                <a:latin typeface="M05 Text BETA Light" panose="020B0404040000000004" pitchFamily="34" charset="0"/>
                <a:ea typeface="Calibri" panose="020F0502020204030204" pitchFamily="34" charset="0"/>
                <a:cs typeface="Times New Roman" panose="02020603050405020304" pitchFamily="18" charset="0"/>
              </a:rPr>
              <a:t>4,20€</a:t>
            </a:r>
            <a:r>
              <a:rPr lang="de-DE" dirty="0">
                <a:latin typeface="M05 Text BETA Light" panose="020B0404040000000004" pitchFamily="34" charset="0"/>
                <a:ea typeface="Calibri" panose="020F0502020204030204" pitchFamily="34" charset="0"/>
                <a:cs typeface="Times New Roman" panose="02020603050405020304" pitchFamily="18" charset="0"/>
              </a:rPr>
              <a:t>		Feuerwurst		</a:t>
            </a:r>
            <a:r>
              <a:rPr lang="de-DE" b="1" dirty="0">
                <a:latin typeface="M05 Text BETA Light" panose="020B0404040000000004" pitchFamily="34" charset="0"/>
                <a:ea typeface="Calibri" panose="020F0502020204030204" pitchFamily="34" charset="0"/>
                <a:cs typeface="Times New Roman" panose="02020603050405020304" pitchFamily="18" charset="0"/>
              </a:rPr>
              <a:t>4,10€</a:t>
            </a:r>
          </a:p>
          <a:p>
            <a:pPr marL="0" indent="0" algn="just">
              <a:lnSpc>
                <a:spcPct val="100000"/>
              </a:lnSpc>
              <a:spcBef>
                <a:spcPts val="400"/>
              </a:spcBef>
              <a:spcAft>
                <a:spcPts val="400"/>
              </a:spcAft>
              <a:buNone/>
            </a:pPr>
            <a:r>
              <a:rPr lang="de-DE" dirty="0">
                <a:effectLst/>
                <a:latin typeface="M05 Text BETA Light" panose="020B0404040000000004" pitchFamily="34" charset="0"/>
                <a:ea typeface="Calibri" panose="020F0502020204030204" pitchFamily="34" charset="0"/>
                <a:cs typeface="Times New Roman" panose="02020603050405020304" pitchFamily="18" charset="0"/>
              </a:rPr>
              <a:t>Bitburger Radler		0,5l		</a:t>
            </a:r>
            <a:r>
              <a:rPr lang="de-DE" b="1" dirty="0">
                <a:effectLst/>
                <a:latin typeface="M05 Text BETA Light" panose="020B0404040000000004" pitchFamily="34" charset="0"/>
                <a:ea typeface="Calibri" panose="020F0502020204030204" pitchFamily="34" charset="0"/>
                <a:cs typeface="Times New Roman" panose="02020603050405020304" pitchFamily="18" charset="0"/>
              </a:rPr>
              <a:t>5,20€</a:t>
            </a:r>
            <a:r>
              <a:rPr lang="de-DE" dirty="0">
                <a:effectLst/>
                <a:latin typeface="M05 Text BETA Light" panose="020B0404040000000004" pitchFamily="34" charset="0"/>
                <a:ea typeface="Calibri" panose="020F0502020204030204" pitchFamily="34" charset="0"/>
                <a:cs typeface="Times New Roman" panose="02020603050405020304" pitchFamily="18" charset="0"/>
              </a:rPr>
              <a:t>		Frikadellen Brötchen	</a:t>
            </a:r>
            <a:r>
              <a:rPr lang="de-DE" b="1" dirty="0">
                <a:effectLst/>
                <a:latin typeface="M05 Text BETA Light" panose="020B0404040000000004" pitchFamily="34" charset="0"/>
                <a:ea typeface="Calibri" panose="020F0502020204030204" pitchFamily="34" charset="0"/>
                <a:cs typeface="Times New Roman" panose="02020603050405020304" pitchFamily="18" charset="0"/>
              </a:rPr>
              <a:t>4,10€</a:t>
            </a:r>
          </a:p>
          <a:p>
            <a:pPr marL="0" indent="0" algn="just">
              <a:lnSpc>
                <a:spcPct val="100000"/>
              </a:lnSpc>
              <a:spcBef>
                <a:spcPts val="400"/>
              </a:spcBef>
              <a:spcAft>
                <a:spcPts val="400"/>
              </a:spcAft>
              <a:buNone/>
            </a:pPr>
            <a:r>
              <a:rPr lang="de-DE" dirty="0">
                <a:latin typeface="M05 Text BETA Light" panose="020B0404040000000004" pitchFamily="34" charset="0"/>
                <a:ea typeface="Calibri" panose="020F0502020204030204" pitchFamily="34" charset="0"/>
                <a:cs typeface="Times New Roman" panose="02020603050405020304" pitchFamily="18" charset="0"/>
              </a:rPr>
              <a:t>Bitburger Fassbrause</a:t>
            </a:r>
            <a:r>
              <a:rPr lang="de-DE" dirty="0">
                <a:effectLst/>
                <a:latin typeface="M05 Text BETA Light" panose="020B0404040000000004" pitchFamily="34" charset="0"/>
                <a:ea typeface="Calibri" panose="020F0502020204030204" pitchFamily="34" charset="0"/>
                <a:cs typeface="Times New Roman" panose="02020603050405020304" pitchFamily="18" charset="0"/>
              </a:rPr>
              <a:t>	0,33l		</a:t>
            </a:r>
            <a:r>
              <a:rPr lang="de-DE" b="1" dirty="0">
                <a:effectLst/>
                <a:latin typeface="M05 Text BETA Light" panose="020B0404040000000004" pitchFamily="34" charset="0"/>
                <a:ea typeface="Calibri" panose="020F0502020204030204" pitchFamily="34" charset="0"/>
                <a:cs typeface="Times New Roman" panose="02020603050405020304" pitchFamily="18" charset="0"/>
              </a:rPr>
              <a:t>4,20€</a:t>
            </a:r>
            <a:r>
              <a:rPr lang="de-DE" dirty="0">
                <a:effectLst/>
                <a:latin typeface="M05 Text BETA Light" panose="020B0404040000000004" pitchFamily="34" charset="0"/>
                <a:ea typeface="Calibri" panose="020F0502020204030204" pitchFamily="34" charset="0"/>
                <a:cs typeface="Times New Roman" panose="02020603050405020304" pitchFamily="18" charset="0"/>
              </a:rPr>
              <a:t>		</a:t>
            </a:r>
            <a:r>
              <a:rPr lang="de-DE" dirty="0">
                <a:latin typeface="M05 Text BETA Light" panose="020B0404040000000004" pitchFamily="34" charset="0"/>
                <a:ea typeface="Calibri" panose="020F0502020204030204" pitchFamily="34" charset="0"/>
                <a:cs typeface="Times New Roman" panose="02020603050405020304" pitchFamily="18" charset="0"/>
              </a:rPr>
              <a:t>Riesenbrezel</a:t>
            </a:r>
            <a:r>
              <a:rPr lang="de-DE" dirty="0">
                <a:effectLst/>
                <a:latin typeface="M05 Text BETA Light" panose="020B0404040000000004" pitchFamily="34" charset="0"/>
                <a:ea typeface="Calibri" panose="020F0502020204030204" pitchFamily="34" charset="0"/>
                <a:cs typeface="Times New Roman" panose="02020603050405020304" pitchFamily="18" charset="0"/>
              </a:rPr>
              <a:t>		</a:t>
            </a:r>
            <a:r>
              <a:rPr lang="de-DE" b="1" dirty="0">
                <a:effectLst/>
                <a:latin typeface="M05 Text BETA Light" panose="020B0404040000000004" pitchFamily="34" charset="0"/>
                <a:ea typeface="Calibri" panose="020F0502020204030204" pitchFamily="34" charset="0"/>
                <a:cs typeface="Times New Roman" panose="02020603050405020304" pitchFamily="18" charset="0"/>
              </a:rPr>
              <a:t>2,50€</a:t>
            </a:r>
          </a:p>
          <a:p>
            <a:pPr marL="0" indent="0" algn="just">
              <a:lnSpc>
                <a:spcPct val="100000"/>
              </a:lnSpc>
              <a:spcBef>
                <a:spcPts val="400"/>
              </a:spcBef>
              <a:spcAft>
                <a:spcPts val="400"/>
              </a:spcAft>
              <a:buNone/>
            </a:pPr>
            <a:r>
              <a:rPr lang="de-DE" dirty="0">
                <a:latin typeface="M05 Text BETA Light" panose="020B0404040000000004" pitchFamily="34" charset="0"/>
                <a:ea typeface="Calibri" panose="020F0502020204030204" pitchFamily="34" charset="0"/>
                <a:cs typeface="Times New Roman" panose="02020603050405020304" pitchFamily="18" charset="0"/>
              </a:rPr>
              <a:t>Weinschorle		</a:t>
            </a:r>
            <a:r>
              <a:rPr lang="de-DE" dirty="0">
                <a:effectLst/>
                <a:latin typeface="M05 Text BETA Light" panose="020B0404040000000004" pitchFamily="34" charset="0"/>
                <a:ea typeface="Calibri" panose="020F0502020204030204" pitchFamily="34" charset="0"/>
                <a:cs typeface="Times New Roman" panose="02020603050405020304" pitchFamily="18" charset="0"/>
              </a:rPr>
              <a:t>0,5l		</a:t>
            </a:r>
            <a:r>
              <a:rPr lang="de-DE" b="1" dirty="0">
                <a:effectLst/>
                <a:latin typeface="M05 Text BETA Light" panose="020B0404040000000004" pitchFamily="34" charset="0"/>
                <a:ea typeface="Calibri" panose="020F0502020204030204" pitchFamily="34" charset="0"/>
                <a:cs typeface="Times New Roman" panose="02020603050405020304" pitchFamily="18" charset="0"/>
              </a:rPr>
              <a:t>4,90€</a:t>
            </a:r>
            <a:r>
              <a:rPr lang="de-DE" dirty="0">
                <a:effectLst/>
                <a:latin typeface="M05 Text BETA Light" panose="020B0404040000000004" pitchFamily="34" charset="0"/>
                <a:ea typeface="Calibri" panose="020F0502020204030204" pitchFamily="34" charset="0"/>
                <a:cs typeface="Times New Roman" panose="02020603050405020304" pitchFamily="18" charset="0"/>
              </a:rPr>
              <a:t>		Kombi Bier + Wurst	</a:t>
            </a:r>
            <a:r>
              <a:rPr lang="de-DE" b="1" dirty="0">
                <a:effectLst/>
                <a:latin typeface="M05 Text BETA Light" panose="020B0404040000000004" pitchFamily="34" charset="0"/>
                <a:ea typeface="Calibri" panose="020F0502020204030204" pitchFamily="34" charset="0"/>
                <a:cs typeface="Times New Roman" panose="02020603050405020304" pitchFamily="18" charset="0"/>
              </a:rPr>
              <a:t>9,00€</a:t>
            </a:r>
          </a:p>
          <a:p>
            <a:pPr marL="0" indent="0" algn="just">
              <a:lnSpc>
                <a:spcPct val="100000"/>
              </a:lnSpc>
              <a:spcBef>
                <a:spcPts val="400"/>
              </a:spcBef>
              <a:spcAft>
                <a:spcPts val="400"/>
              </a:spcAft>
              <a:buNone/>
            </a:pPr>
            <a:r>
              <a:rPr lang="de-DE" dirty="0">
                <a:effectLst/>
                <a:latin typeface="M05 Text BETA Light" panose="020B0404040000000004" pitchFamily="34" charset="0"/>
                <a:ea typeface="Calibri" panose="020F0502020204030204" pitchFamily="34" charset="0"/>
                <a:cs typeface="Times New Roman" panose="02020603050405020304" pitchFamily="18" charset="0"/>
              </a:rPr>
              <a:t>Coca Cola, Zero,		0,5l		</a:t>
            </a:r>
            <a:r>
              <a:rPr lang="de-DE" b="1" dirty="0">
                <a:latin typeface="M05 Text BETA Light" panose="020B0404040000000004" pitchFamily="34" charset="0"/>
                <a:ea typeface="Calibri" panose="020F0502020204030204" pitchFamily="34" charset="0"/>
                <a:cs typeface="Times New Roman" panose="02020603050405020304" pitchFamily="18" charset="0"/>
              </a:rPr>
              <a:t>4</a:t>
            </a:r>
            <a:r>
              <a:rPr lang="de-DE" b="1" dirty="0">
                <a:effectLst/>
                <a:latin typeface="M05 Text BETA Light" panose="020B0404040000000004" pitchFamily="34" charset="0"/>
                <a:ea typeface="Calibri" panose="020F0502020204030204" pitchFamily="34" charset="0"/>
                <a:cs typeface="Times New Roman" panose="02020603050405020304" pitchFamily="18" charset="0"/>
              </a:rPr>
              <a:t>,80€</a:t>
            </a:r>
            <a:r>
              <a:rPr lang="de-DE" dirty="0">
                <a:effectLst/>
                <a:latin typeface="M05 Text BETA Light" panose="020B0404040000000004" pitchFamily="34" charset="0"/>
                <a:ea typeface="Calibri" panose="020F0502020204030204" pitchFamily="34" charset="0"/>
                <a:cs typeface="Times New Roman" panose="02020603050405020304" pitchFamily="18" charset="0"/>
              </a:rPr>
              <a:t>		</a:t>
            </a:r>
            <a:r>
              <a:rPr lang="de-DE" dirty="0">
                <a:latin typeface="M05 Text BETA Light" panose="020B0404040000000004" pitchFamily="34" charset="0"/>
                <a:ea typeface="Calibri" panose="020F0502020204030204" pitchFamily="34" charset="0"/>
                <a:cs typeface="Times New Roman" panose="02020603050405020304" pitchFamily="18" charset="0"/>
              </a:rPr>
              <a:t>Tagessuppe/-salat	</a:t>
            </a:r>
            <a:r>
              <a:rPr lang="de-DE" b="1" dirty="0">
                <a:latin typeface="M05 Text BETA Light" panose="020B0404040000000004" pitchFamily="34" charset="0"/>
                <a:ea typeface="Calibri" panose="020F0502020204030204" pitchFamily="34" charset="0"/>
                <a:cs typeface="Times New Roman" panose="02020603050405020304" pitchFamily="18" charset="0"/>
              </a:rPr>
              <a:t>4,00€</a:t>
            </a:r>
            <a:endParaRPr lang="de-DE" b="1" dirty="0">
              <a:effectLst/>
              <a:latin typeface="M05 Text BETA Light" panose="020B0404040000000004" pitchFamily="34" charset="0"/>
              <a:ea typeface="Calibri" panose="020F0502020204030204" pitchFamily="34" charset="0"/>
              <a:cs typeface="Times New Roman" panose="02020603050405020304" pitchFamily="18" charset="0"/>
            </a:endParaRPr>
          </a:p>
          <a:p>
            <a:pPr marL="0" indent="0" algn="just">
              <a:lnSpc>
                <a:spcPct val="100000"/>
              </a:lnSpc>
              <a:spcBef>
                <a:spcPts val="400"/>
              </a:spcBef>
              <a:spcAft>
                <a:spcPts val="400"/>
              </a:spcAft>
              <a:buNone/>
            </a:pPr>
            <a:r>
              <a:rPr lang="de-DE" dirty="0">
                <a:latin typeface="M05 Text BETA Light" panose="020B0404040000000004" pitchFamily="34" charset="0"/>
                <a:ea typeface="Calibri" panose="020F0502020204030204" pitchFamily="34" charset="0"/>
                <a:cs typeface="Times New Roman" panose="02020603050405020304" pitchFamily="18" charset="0"/>
              </a:rPr>
              <a:t>Fanta, Sprite, Lift				</a:t>
            </a:r>
            <a:r>
              <a:rPr lang="de-DE" dirty="0">
                <a:effectLst/>
                <a:latin typeface="M05 Text BETA Light" panose="020B0404040000000004" pitchFamily="34" charset="0"/>
                <a:ea typeface="Calibri" panose="020F0502020204030204" pitchFamily="34" charset="0"/>
                <a:cs typeface="Times New Roman" panose="02020603050405020304" pitchFamily="18" charset="0"/>
              </a:rPr>
              <a:t>		</a:t>
            </a:r>
            <a:endParaRPr lang="de-DE" b="1" dirty="0">
              <a:effectLst/>
              <a:latin typeface="M05 Text BETA Light" panose="020B0404040000000004" pitchFamily="34" charset="0"/>
              <a:ea typeface="Calibri" panose="020F0502020204030204" pitchFamily="34" charset="0"/>
              <a:cs typeface="Times New Roman" panose="02020603050405020304" pitchFamily="18" charset="0"/>
            </a:endParaRPr>
          </a:p>
          <a:p>
            <a:pPr marL="0" indent="0" algn="just">
              <a:lnSpc>
                <a:spcPct val="100000"/>
              </a:lnSpc>
              <a:spcBef>
                <a:spcPts val="400"/>
              </a:spcBef>
              <a:spcAft>
                <a:spcPts val="400"/>
              </a:spcAft>
              <a:buNone/>
            </a:pPr>
            <a:r>
              <a:rPr lang="de-DE" dirty="0">
                <a:latin typeface="M05 Text BETA Light" panose="020B0404040000000004" pitchFamily="34" charset="0"/>
                <a:ea typeface="Calibri" panose="020F0502020204030204" pitchFamily="34" charset="0"/>
                <a:cs typeface="Times New Roman" panose="02020603050405020304" pitchFamily="18" charset="0"/>
              </a:rPr>
              <a:t>Wasser			</a:t>
            </a:r>
            <a:r>
              <a:rPr lang="de-DE" dirty="0">
                <a:effectLst/>
                <a:latin typeface="M05 Text BETA Light" panose="020B0404040000000004" pitchFamily="34" charset="0"/>
                <a:ea typeface="Calibri" panose="020F0502020204030204" pitchFamily="34" charset="0"/>
                <a:cs typeface="Times New Roman" panose="02020603050405020304" pitchFamily="18" charset="0"/>
              </a:rPr>
              <a:t>0,5l		</a:t>
            </a:r>
            <a:r>
              <a:rPr lang="de-DE" b="1" dirty="0">
                <a:effectLst/>
                <a:latin typeface="M05 Text BETA Light" panose="020B0404040000000004" pitchFamily="34" charset="0"/>
                <a:ea typeface="Calibri" panose="020F0502020204030204" pitchFamily="34" charset="0"/>
                <a:cs typeface="Times New Roman" panose="02020603050405020304" pitchFamily="18" charset="0"/>
              </a:rPr>
              <a:t>3,50€</a:t>
            </a:r>
            <a:endParaRPr lang="de-DE" b="1" dirty="0">
              <a:latin typeface="M05 Text BETA Light" panose="020B0404040000000004" pitchFamily="34" charset="0"/>
              <a:ea typeface="Calibri" panose="020F0502020204030204" pitchFamily="34" charset="0"/>
              <a:cs typeface="Times New Roman" panose="02020603050405020304" pitchFamily="18" charset="0"/>
            </a:endParaRPr>
          </a:p>
          <a:p>
            <a:pPr marL="0" indent="0" algn="just">
              <a:lnSpc>
                <a:spcPct val="100000"/>
              </a:lnSpc>
              <a:spcBef>
                <a:spcPts val="400"/>
              </a:spcBef>
              <a:spcAft>
                <a:spcPts val="400"/>
              </a:spcAft>
              <a:buNone/>
            </a:pPr>
            <a:r>
              <a:rPr lang="de-DE" dirty="0">
                <a:effectLst/>
                <a:latin typeface="M05 Text BETA Light" panose="020B0404040000000004" pitchFamily="34" charset="0"/>
                <a:ea typeface="Calibri" panose="020F0502020204030204" pitchFamily="34" charset="0"/>
                <a:cs typeface="Times New Roman" panose="02020603050405020304" pitchFamily="18" charset="0"/>
              </a:rPr>
              <a:t>Kaffee			0,2l		</a:t>
            </a:r>
            <a:r>
              <a:rPr lang="de-DE" b="1" dirty="0">
                <a:effectLst/>
                <a:latin typeface="M05 Text BETA Light" panose="020B0404040000000004" pitchFamily="34" charset="0"/>
                <a:ea typeface="Calibri" panose="020F0502020204030204" pitchFamily="34" charset="0"/>
                <a:cs typeface="Times New Roman" panose="02020603050405020304" pitchFamily="18" charset="0"/>
              </a:rPr>
              <a:t>2,50€</a:t>
            </a:r>
            <a:r>
              <a:rPr lang="de-DE" dirty="0">
                <a:effectLst/>
                <a:latin typeface="M05 Text BETA Light" panose="020B0404040000000004" pitchFamily="34" charset="0"/>
                <a:ea typeface="Calibri" panose="020F0502020204030204" pitchFamily="34" charset="0"/>
                <a:cs typeface="Times New Roman" panose="02020603050405020304" pitchFamily="18" charset="0"/>
              </a:rPr>
              <a:t>	</a:t>
            </a:r>
            <a:r>
              <a:rPr lang="de-DE" dirty="0">
                <a:latin typeface="M05 Text BETA Light" panose="020B0404040000000004" pitchFamily="34" charset="0"/>
                <a:ea typeface="Calibri" panose="020F0502020204030204" pitchFamily="34" charset="0"/>
                <a:cs typeface="Times New Roman" panose="02020603050405020304" pitchFamily="18" charset="0"/>
              </a:rPr>
              <a:t>        </a:t>
            </a:r>
          </a:p>
          <a:p>
            <a:pPr marL="0" indent="0" algn="just">
              <a:lnSpc>
                <a:spcPct val="100000"/>
              </a:lnSpc>
              <a:spcBef>
                <a:spcPts val="400"/>
              </a:spcBef>
              <a:spcAft>
                <a:spcPts val="400"/>
              </a:spcAft>
              <a:buNone/>
            </a:pPr>
            <a:r>
              <a:rPr lang="de-DE" dirty="0">
                <a:latin typeface="M05 Text BETA Light" panose="020B0404040000000004" pitchFamily="34" charset="0"/>
                <a:ea typeface="Calibri" panose="020F0502020204030204" pitchFamily="34" charset="0"/>
                <a:cs typeface="Times New Roman" panose="02020603050405020304" pitchFamily="18" charset="0"/>
              </a:rPr>
              <a:t>Tee			0,3l		</a:t>
            </a:r>
            <a:r>
              <a:rPr lang="de-DE" b="1" dirty="0">
                <a:latin typeface="M05 Text BETA Light" panose="020B0404040000000004" pitchFamily="34" charset="0"/>
                <a:ea typeface="Calibri" panose="020F0502020204030204" pitchFamily="34" charset="0"/>
                <a:cs typeface="Times New Roman" panose="02020603050405020304" pitchFamily="18" charset="0"/>
              </a:rPr>
              <a:t>2,00€</a:t>
            </a:r>
            <a:r>
              <a:rPr lang="de-DE" dirty="0">
                <a:latin typeface="M05 Text BETA Light" panose="020B0404040000000004" pitchFamily="34" charset="0"/>
                <a:ea typeface="Calibri" panose="020F0502020204030204" pitchFamily="34" charset="0"/>
                <a:cs typeface="Times New Roman" panose="02020603050405020304" pitchFamily="18" charset="0"/>
              </a:rPr>
              <a:t>	        </a:t>
            </a:r>
          </a:p>
          <a:p>
            <a:pPr marL="0" indent="0" algn="just">
              <a:lnSpc>
                <a:spcPct val="100000"/>
              </a:lnSpc>
              <a:spcBef>
                <a:spcPts val="400"/>
              </a:spcBef>
              <a:spcAft>
                <a:spcPts val="400"/>
              </a:spcAft>
              <a:buNone/>
            </a:pPr>
            <a:endParaRPr lang="de-DE" b="1" dirty="0">
              <a:effectLst/>
              <a:latin typeface="M05 Text BETA Light" panose="020B0404040000000004" pitchFamily="34" charset="0"/>
              <a:ea typeface="Calibri" panose="020F0502020204030204" pitchFamily="34" charset="0"/>
              <a:cs typeface="Times New Roman" panose="02020603050405020304" pitchFamily="18" charset="0"/>
            </a:endParaRPr>
          </a:p>
          <a:p>
            <a:pPr marL="0" indent="0" algn="just">
              <a:lnSpc>
                <a:spcPct val="100000"/>
              </a:lnSpc>
              <a:spcBef>
                <a:spcPts val="400"/>
              </a:spcBef>
              <a:spcAft>
                <a:spcPts val="400"/>
              </a:spcAft>
              <a:buNone/>
            </a:pPr>
            <a:r>
              <a:rPr lang="de-DE" b="1" dirty="0">
                <a:effectLst/>
                <a:latin typeface="M05 Text BETA Light" panose="020B0404040000000004" pitchFamily="34" charset="0"/>
                <a:ea typeface="Calibri" panose="020F0502020204030204" pitchFamily="34" charset="0"/>
                <a:cs typeface="Times New Roman" panose="02020603050405020304" pitchFamily="18" charset="0"/>
              </a:rPr>
              <a:t>Becherpfand: 2€</a:t>
            </a:r>
          </a:p>
          <a:p>
            <a:pPr marL="0" indent="0" algn="just">
              <a:lnSpc>
                <a:spcPct val="100000"/>
              </a:lnSpc>
              <a:spcBef>
                <a:spcPts val="400"/>
              </a:spcBef>
              <a:spcAft>
                <a:spcPts val="400"/>
              </a:spcAft>
              <a:buNone/>
            </a:pPr>
            <a:endParaRPr lang="de-DE" dirty="0">
              <a:effectLst/>
              <a:latin typeface="M05 Text BETA Light" panose="020B04040400000000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de-DE" sz="1600" dirty="0">
                <a:solidFill>
                  <a:srgbClr val="000000"/>
                </a:solidFill>
                <a:effectLst/>
                <a:latin typeface="+mn-lt"/>
                <a:ea typeface="Calibri" panose="020F0502020204030204" pitchFamily="34" charset="0"/>
                <a:cs typeface="Times New Roman" panose="02020603050405020304" pitchFamily="18" charset="0"/>
              </a:rPr>
              <a:t>	</a:t>
            </a:r>
            <a:endParaRPr lang="de-DE" sz="1600" dirty="0">
              <a:effectLst/>
              <a:latin typeface="+mn-lt"/>
              <a:ea typeface="Calibri" panose="020F0502020204030204" pitchFamily="34" charset="0"/>
              <a:cs typeface="Times New Roman" panose="02020603050405020304" pitchFamily="18" charset="0"/>
            </a:endParaRPr>
          </a:p>
        </p:txBody>
      </p:sp>
      <p:sp>
        <p:nvSpPr>
          <p:cNvPr id="3" name="Titel 2">
            <a:extLst>
              <a:ext uri="{FF2B5EF4-FFF2-40B4-BE49-F238E27FC236}">
                <a16:creationId xmlns:a16="http://schemas.microsoft.com/office/drawing/2014/main" id="{28FE8943-7F47-4B99-9664-63DE59F62234}"/>
              </a:ext>
            </a:extLst>
          </p:cNvPr>
          <p:cNvSpPr>
            <a:spLocks noGrp="1"/>
          </p:cNvSpPr>
          <p:nvPr>
            <p:ph type="title"/>
          </p:nvPr>
        </p:nvSpPr>
        <p:spPr>
          <a:xfrm>
            <a:off x="330201" y="550152"/>
            <a:ext cx="10728000" cy="702000"/>
          </a:xfrm>
        </p:spPr>
        <p:txBody>
          <a:bodyPr/>
          <a:lstStyle/>
          <a:p>
            <a:r>
              <a:rPr lang="de-DE" dirty="0"/>
              <a:t>Getränke					speisen</a:t>
            </a:r>
          </a:p>
        </p:txBody>
      </p:sp>
      <p:sp>
        <p:nvSpPr>
          <p:cNvPr id="4" name="Foliennummernplatzhalter 3">
            <a:extLst>
              <a:ext uri="{FF2B5EF4-FFF2-40B4-BE49-F238E27FC236}">
                <a16:creationId xmlns:a16="http://schemas.microsoft.com/office/drawing/2014/main" id="{790298B8-00FE-4129-80EA-5CB3A7BC2A58}"/>
              </a:ext>
            </a:extLst>
          </p:cNvPr>
          <p:cNvSpPr>
            <a:spLocks noGrp="1"/>
          </p:cNvSpPr>
          <p:nvPr>
            <p:ph type="sldNum" sz="quarter" idx="4"/>
          </p:nvPr>
        </p:nvSpPr>
        <p:spPr/>
        <p:txBody>
          <a:bodyPr/>
          <a:lstStyle/>
          <a:p>
            <a:r>
              <a:rPr lang="de-DE"/>
              <a:t>Seite </a:t>
            </a:r>
            <a:fld id="{A8D1AB97-F97B-4190-BD45-5A4F2F283CBD}" type="slidenum">
              <a:rPr lang="de-DE" smtClean="0"/>
              <a:pPr/>
              <a:t>9</a:t>
            </a:fld>
            <a:endParaRPr lang="de-DE"/>
          </a:p>
        </p:txBody>
      </p:sp>
      <p:sp>
        <p:nvSpPr>
          <p:cNvPr id="5" name="Textplatzhalter 4">
            <a:extLst>
              <a:ext uri="{FF2B5EF4-FFF2-40B4-BE49-F238E27FC236}">
                <a16:creationId xmlns:a16="http://schemas.microsoft.com/office/drawing/2014/main" id="{9892483E-4E85-47A7-BF42-0338EE66ADCB}"/>
              </a:ext>
            </a:extLst>
          </p:cNvPr>
          <p:cNvSpPr>
            <a:spLocks noGrp="1"/>
          </p:cNvSpPr>
          <p:nvPr>
            <p:ph type="body" sz="quarter" idx="14"/>
          </p:nvPr>
        </p:nvSpPr>
        <p:spPr/>
        <p:txBody>
          <a:bodyPr/>
          <a:lstStyle/>
          <a:p>
            <a:r>
              <a:rPr lang="de-DE"/>
              <a:t>Faninformationen</a:t>
            </a:r>
          </a:p>
        </p:txBody>
      </p:sp>
      <p:sp>
        <p:nvSpPr>
          <p:cNvPr id="6" name="Textfeld 5">
            <a:extLst>
              <a:ext uri="{FF2B5EF4-FFF2-40B4-BE49-F238E27FC236}">
                <a16:creationId xmlns:a16="http://schemas.microsoft.com/office/drawing/2014/main" id="{C073A7D0-2DDC-7AB3-AC1D-43F7F13A91CC}"/>
              </a:ext>
            </a:extLst>
          </p:cNvPr>
          <p:cNvSpPr txBox="1"/>
          <p:nvPr/>
        </p:nvSpPr>
        <p:spPr>
          <a:xfrm>
            <a:off x="6519373" y="4283701"/>
            <a:ext cx="4642339" cy="1200329"/>
          </a:xfrm>
          <a:prstGeom prst="rect">
            <a:avLst/>
          </a:prstGeom>
          <a:noFill/>
        </p:spPr>
        <p:txBody>
          <a:bodyPr wrap="square" rtlCol="0">
            <a:spAutoFit/>
          </a:bodyPr>
          <a:lstStyle/>
          <a:p>
            <a:r>
              <a:rPr lang="de-DE" b="1" dirty="0">
                <a:latin typeface="M05 Text BETA Light" panose="020B0404040000000004" pitchFamily="34" charset="0"/>
              </a:rPr>
              <a:t>Im oberen Bereich des Gästeblocks befindet sich ein Getränkestand, der abseits der normalen Kioske genutzt werden kann.</a:t>
            </a:r>
          </a:p>
        </p:txBody>
      </p:sp>
      <p:sp>
        <p:nvSpPr>
          <p:cNvPr id="7" name="Rechteck 6">
            <a:extLst>
              <a:ext uri="{FF2B5EF4-FFF2-40B4-BE49-F238E27FC236}">
                <a16:creationId xmlns:a16="http://schemas.microsoft.com/office/drawing/2014/main" id="{5FD79B94-967A-74C6-2326-F79C549A7294}"/>
              </a:ext>
            </a:extLst>
          </p:cNvPr>
          <p:cNvSpPr/>
          <p:nvPr/>
        </p:nvSpPr>
        <p:spPr>
          <a:xfrm>
            <a:off x="6377355" y="4137497"/>
            <a:ext cx="4493846" cy="1492739"/>
          </a:xfrm>
          <a:prstGeom prst="rect">
            <a:avLst/>
          </a:prstGeom>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de-DE" dirty="0"/>
          </a:p>
        </p:txBody>
      </p:sp>
    </p:spTree>
    <p:extLst>
      <p:ext uri="{BB962C8B-B14F-4D97-AF65-F5344CB8AC3E}">
        <p14:creationId xmlns:p14="http://schemas.microsoft.com/office/powerpoint/2010/main" val="3768744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6lGhnFdj0mFFSYr84zcf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4BOjh32G0qQxUwQ5rHu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6lGhnFdj0mFFSYr84zcf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4BOjh32G0qQxUwQ5rHu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6lGhnFdj0mFFSYr84zc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6lGhnFdj0mFFSYr84zcf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6lGhnFdj0mFFSYr84zcf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4BOjh32G0qQxUwQ5rHu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6lGhnFdj0mFFSYr84zcf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6lGhnFdj0mFFSYr84zc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4BOjh32G0qQxUwQ5rHuu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6lGhnFdj0mFFSYr84zc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6lGhnFdj0mFFSYr84zcf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ecYRZ4dbtEuEwlFZ4WHGB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QCrBtSIy6kWGSjheEae0k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qn5ghdZByk2Y6RyEQACypA"/>
</p:tagLst>
</file>

<file path=ppt/theme/theme1.xml><?xml version="1.0" encoding="utf-8"?>
<a:theme xmlns:a="http://schemas.openxmlformats.org/drawingml/2006/main" name="Trenncharts M05 PPT Master">
  <a:themeElements>
    <a:clrScheme name="M05 Farbtabelle">
      <a:dk1>
        <a:srgbClr val="000000"/>
      </a:dk1>
      <a:lt1>
        <a:srgbClr val="FFFFFF"/>
      </a:lt1>
      <a:dk2>
        <a:srgbClr val="A5A5A5"/>
      </a:dk2>
      <a:lt2>
        <a:srgbClr val="E10019"/>
      </a:lt2>
      <a:accent1>
        <a:srgbClr val="414042"/>
      </a:accent1>
      <a:accent2>
        <a:srgbClr val="E6E7E8"/>
      </a:accent2>
      <a:accent3>
        <a:srgbClr val="BA141A"/>
      </a:accent3>
      <a:accent4>
        <a:srgbClr val="8B0304"/>
      </a:accent4>
      <a:accent5>
        <a:srgbClr val="AA7836"/>
      </a:accent5>
      <a:accent6>
        <a:srgbClr val="061231"/>
      </a:accent6>
      <a:hlink>
        <a:srgbClr val="000000"/>
      </a:hlink>
      <a:folHlink>
        <a:srgbClr val="A5A5A5"/>
      </a:folHlink>
    </a:clrScheme>
    <a:fontScheme name="Benutzerdefiniert 1">
      <a:majorFont>
        <a:latin typeface="M05 Text Office Bold"/>
        <a:ea typeface=""/>
        <a:cs typeface=""/>
      </a:majorFont>
      <a:minorFont>
        <a:latin typeface="M05 Text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äsentation2" id="{3F61C646-09DF-4E92-AB97-12460D1CB688}" vid="{F33A7A64-B6E9-4DB3-8EC3-BE1A9E2CC943}"/>
    </a:ext>
  </a:extLst>
</a:theme>
</file>

<file path=ppt/theme/theme2.xml><?xml version="1.0" encoding="utf-8"?>
<a:theme xmlns:a="http://schemas.openxmlformats.org/drawingml/2006/main" name="Bildcharts M05 PPT Master">
  <a:themeElements>
    <a:clrScheme name="M05 Farbtabelle">
      <a:dk1>
        <a:srgbClr val="000000"/>
      </a:dk1>
      <a:lt1>
        <a:srgbClr val="FFFFFF"/>
      </a:lt1>
      <a:dk2>
        <a:srgbClr val="A5A5A5"/>
      </a:dk2>
      <a:lt2>
        <a:srgbClr val="E10019"/>
      </a:lt2>
      <a:accent1>
        <a:srgbClr val="414042"/>
      </a:accent1>
      <a:accent2>
        <a:srgbClr val="E6E7E8"/>
      </a:accent2>
      <a:accent3>
        <a:srgbClr val="BA141A"/>
      </a:accent3>
      <a:accent4>
        <a:srgbClr val="8B0304"/>
      </a:accent4>
      <a:accent5>
        <a:srgbClr val="AA7836"/>
      </a:accent5>
      <a:accent6>
        <a:srgbClr val="061231"/>
      </a:accent6>
      <a:hlink>
        <a:srgbClr val="000000"/>
      </a:hlink>
      <a:folHlink>
        <a:srgbClr val="A5A5A5"/>
      </a:folHlink>
    </a:clrScheme>
    <a:fontScheme name="Benutzerdefiniert 1">
      <a:majorFont>
        <a:latin typeface="M05 Text Office Bold"/>
        <a:ea typeface=""/>
        <a:cs typeface=""/>
      </a:majorFont>
      <a:minorFont>
        <a:latin typeface="M05 Text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äsentation2" id="{3F61C646-09DF-4E92-AB97-12460D1CB688}" vid="{F33A7A64-B6E9-4DB3-8EC3-BE1A9E2CC943}"/>
    </a:ext>
  </a:extLst>
</a:theme>
</file>

<file path=ppt/theme/theme3.xml><?xml version="1.0" encoding="utf-8"?>
<a:theme xmlns:a="http://schemas.openxmlformats.org/drawingml/2006/main" name="Standartcharts M05 PPT Master">
  <a:themeElements>
    <a:clrScheme name="M05 Farbtabelle">
      <a:dk1>
        <a:srgbClr val="000000"/>
      </a:dk1>
      <a:lt1>
        <a:srgbClr val="FFFFFF"/>
      </a:lt1>
      <a:dk2>
        <a:srgbClr val="A5A5A5"/>
      </a:dk2>
      <a:lt2>
        <a:srgbClr val="E10019"/>
      </a:lt2>
      <a:accent1>
        <a:srgbClr val="414042"/>
      </a:accent1>
      <a:accent2>
        <a:srgbClr val="E6E7E8"/>
      </a:accent2>
      <a:accent3>
        <a:srgbClr val="BA141A"/>
      </a:accent3>
      <a:accent4>
        <a:srgbClr val="8B0304"/>
      </a:accent4>
      <a:accent5>
        <a:srgbClr val="AA7836"/>
      </a:accent5>
      <a:accent6>
        <a:srgbClr val="061231"/>
      </a:accent6>
      <a:hlink>
        <a:srgbClr val="000000"/>
      </a:hlink>
      <a:folHlink>
        <a:srgbClr val="A5A5A5"/>
      </a:folHlink>
    </a:clrScheme>
    <a:fontScheme name="Benutzerdefiniert 1">
      <a:majorFont>
        <a:latin typeface="M05 Text Office Bold"/>
        <a:ea typeface=""/>
        <a:cs typeface=""/>
      </a:majorFont>
      <a:minorFont>
        <a:latin typeface="M05 Text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äsentation2" id="{3F61C646-09DF-4E92-AB97-12460D1CB688}" vid="{F33A7A64-B6E9-4DB3-8EC3-BE1A9E2CC943}"/>
    </a:ext>
  </a:extLst>
</a:theme>
</file>

<file path=ppt/theme/theme4.xml><?xml version="1.0" encoding="utf-8"?>
<a:theme xmlns:a="http://schemas.openxmlformats.org/drawingml/2006/main" name="Projektcharts M05 PPT Master">
  <a:themeElements>
    <a:clrScheme name="M05 Farbtabelle">
      <a:dk1>
        <a:srgbClr val="000000"/>
      </a:dk1>
      <a:lt1>
        <a:srgbClr val="FFFFFF"/>
      </a:lt1>
      <a:dk2>
        <a:srgbClr val="A5A5A5"/>
      </a:dk2>
      <a:lt2>
        <a:srgbClr val="E10019"/>
      </a:lt2>
      <a:accent1>
        <a:srgbClr val="414042"/>
      </a:accent1>
      <a:accent2>
        <a:srgbClr val="E6E7E8"/>
      </a:accent2>
      <a:accent3>
        <a:srgbClr val="BA141A"/>
      </a:accent3>
      <a:accent4>
        <a:srgbClr val="8B0304"/>
      </a:accent4>
      <a:accent5>
        <a:srgbClr val="AA7836"/>
      </a:accent5>
      <a:accent6>
        <a:srgbClr val="061231"/>
      </a:accent6>
      <a:hlink>
        <a:srgbClr val="000000"/>
      </a:hlink>
      <a:folHlink>
        <a:srgbClr val="A5A5A5"/>
      </a:folHlink>
    </a:clrScheme>
    <a:fontScheme name="Benutzerdefiniert 1">
      <a:majorFont>
        <a:latin typeface="M05 Text Office Bold"/>
        <a:ea typeface=""/>
        <a:cs typeface=""/>
      </a:majorFont>
      <a:minorFont>
        <a:latin typeface="M05 Text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äsentation2" id="{3F61C646-09DF-4E92-AB97-12460D1CB688}" vid="{F33A7A64-B6E9-4DB3-8EC3-BE1A9E2CC943}"/>
    </a:ext>
  </a:extLst>
</a:theme>
</file>

<file path=ppt/theme/theme5.xml><?xml version="1.0" encoding="utf-8"?>
<a:theme xmlns:a="http://schemas.openxmlformats.org/drawingml/2006/main" name="Sondercharts M05 PPT Master">
  <a:themeElements>
    <a:clrScheme name="M05 Farbtabelle">
      <a:dk1>
        <a:srgbClr val="000000"/>
      </a:dk1>
      <a:lt1>
        <a:srgbClr val="FFFFFF"/>
      </a:lt1>
      <a:dk2>
        <a:srgbClr val="A5A5A5"/>
      </a:dk2>
      <a:lt2>
        <a:srgbClr val="E10019"/>
      </a:lt2>
      <a:accent1>
        <a:srgbClr val="414042"/>
      </a:accent1>
      <a:accent2>
        <a:srgbClr val="E6E7E8"/>
      </a:accent2>
      <a:accent3>
        <a:srgbClr val="BA141A"/>
      </a:accent3>
      <a:accent4>
        <a:srgbClr val="8B0304"/>
      </a:accent4>
      <a:accent5>
        <a:srgbClr val="AA7836"/>
      </a:accent5>
      <a:accent6>
        <a:srgbClr val="061231"/>
      </a:accent6>
      <a:hlink>
        <a:srgbClr val="000000"/>
      </a:hlink>
      <a:folHlink>
        <a:srgbClr val="A5A5A5"/>
      </a:folHlink>
    </a:clrScheme>
    <a:fontScheme name="Benutzerdefiniert 1">
      <a:majorFont>
        <a:latin typeface="M05 Text Office Bold"/>
        <a:ea typeface=""/>
        <a:cs typeface=""/>
      </a:majorFont>
      <a:minorFont>
        <a:latin typeface="M05 Text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äsentation2" id="{3F61C646-09DF-4E92-AB97-12460D1CB688}" vid="{F33A7A64-B6E9-4DB3-8EC3-BE1A9E2CC943}"/>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7c59334a-7949-44e9-84f0-eb9e401c8a94" xsi:nil="true"/>
    <lcf76f155ced4ddcb4097134ff3c332f xmlns="05c3d5af-a787-4643-9912-4b292296a91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2B7B6374394CB2459C5EB7F25822E06C" ma:contentTypeVersion="18" ma:contentTypeDescription="Ein neues Dokument erstellen." ma:contentTypeScope="" ma:versionID="24d65d0851af7ce983110e7386aa85b8">
  <xsd:schema xmlns:xsd="http://www.w3.org/2001/XMLSchema" xmlns:xs="http://www.w3.org/2001/XMLSchema" xmlns:p="http://schemas.microsoft.com/office/2006/metadata/properties" xmlns:ns2="05c3d5af-a787-4643-9912-4b292296a916" xmlns:ns3="f3582364-3b2a-4f32-b25a-75ec288813b1" xmlns:ns4="7c59334a-7949-44e9-84f0-eb9e401c8a94" targetNamespace="http://schemas.microsoft.com/office/2006/metadata/properties" ma:root="true" ma:fieldsID="9d9ba784b3e936fd5f5896aa6daa026c" ns2:_="" ns3:_="" ns4:_="">
    <xsd:import namespace="05c3d5af-a787-4643-9912-4b292296a916"/>
    <xsd:import namespace="f3582364-3b2a-4f32-b25a-75ec288813b1"/>
    <xsd:import namespace="7c59334a-7949-44e9-84f0-eb9e401c8a9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lcf76f155ced4ddcb4097134ff3c332f" minOccurs="0"/>
                <xsd:element ref="ns4:TaxCatchAll" minOccurs="0"/>
                <xsd:element ref="ns2:MediaServiceSearchProperties"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c3d5af-a787-4643-9912-4b292296a91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927a7691-8a42-4f17-b42f-f3cf1dc7bafd"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LengthInSeconds" ma:index="2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3582364-3b2a-4f32-b25a-75ec288813b1"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c59334a-7949-44e9-84f0-eb9e401c8a94"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3838b00a-d40d-4f0e-80e6-cd91d5d4faeb}" ma:internalName="TaxCatchAll" ma:showField="CatchAllData" ma:web="f3582364-3b2a-4f32-b25a-75ec288813b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2E8043-5B7A-4D8F-8ABB-DD09CE1A0DC8}">
  <ds:schemaRefs>
    <ds:schemaRef ds:uri="05c3d5af-a787-4643-9912-4b292296a916"/>
    <ds:schemaRef ds:uri="5cdc4f02-0391-4a70-9592-9e62c222eb9a"/>
    <ds:schemaRef ds:uri="7c59334a-7949-44e9-84f0-eb9e401c8a9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92408B6-F38D-46FD-827D-F77C56372084}">
  <ds:schemaRefs>
    <ds:schemaRef ds:uri="http://schemas.microsoft.com/sharepoint/v3/contenttype/forms"/>
  </ds:schemaRefs>
</ds:datastoreItem>
</file>

<file path=customXml/itemProps3.xml><?xml version="1.0" encoding="utf-8"?>
<ds:datastoreItem xmlns:ds="http://schemas.openxmlformats.org/officeDocument/2006/customXml" ds:itemID="{EC2FD71E-BD82-4EB9-80E8-26E773857F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5c3d5af-a787-4643-9912-4b292296a916"/>
    <ds:schemaRef ds:uri="f3582364-3b2a-4f32-b25a-75ec288813b1"/>
    <ds:schemaRef ds:uri="7c59334a-7949-44e9-84f0-eb9e401c8a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840</Words>
  <Application>Microsoft Office PowerPoint</Application>
  <PresentationFormat>Breitbild</PresentationFormat>
  <Paragraphs>87</Paragraphs>
  <Slides>9</Slides>
  <Notes>0</Notes>
  <HiddenSlides>0</HiddenSlides>
  <MMClips>0</MMClips>
  <ScaleCrop>false</ScaleCrop>
  <HeadingPairs>
    <vt:vector size="6" baseType="variant">
      <vt:variant>
        <vt:lpstr>Verwendete Schriftarten</vt:lpstr>
      </vt:variant>
      <vt:variant>
        <vt:i4>10</vt:i4>
      </vt:variant>
      <vt:variant>
        <vt:lpstr>Design</vt:lpstr>
      </vt:variant>
      <vt:variant>
        <vt:i4>5</vt:i4>
      </vt:variant>
      <vt:variant>
        <vt:lpstr>Folientitel</vt:lpstr>
      </vt:variant>
      <vt:variant>
        <vt:i4>9</vt:i4>
      </vt:variant>
    </vt:vector>
  </HeadingPairs>
  <TitlesOfParts>
    <vt:vector size="24" baseType="lpstr">
      <vt:lpstr>Arial</vt:lpstr>
      <vt:lpstr>Audi Type</vt:lpstr>
      <vt:lpstr>Calibri</vt:lpstr>
      <vt:lpstr>M05 Headline Office Bold</vt:lpstr>
      <vt:lpstr>M05 Text BETA</vt:lpstr>
      <vt:lpstr>M05 Text BETA Light</vt:lpstr>
      <vt:lpstr>M05 Text Office</vt:lpstr>
      <vt:lpstr>M05 Text Office Bold</vt:lpstr>
      <vt:lpstr>M05 Text Office Light</vt:lpstr>
      <vt:lpstr>Wingdings</vt:lpstr>
      <vt:lpstr>Trenncharts M05 PPT Master</vt:lpstr>
      <vt:lpstr>Bildcharts M05 PPT Master</vt:lpstr>
      <vt:lpstr>Standartcharts M05 PPT Master</vt:lpstr>
      <vt:lpstr>Projektcharts M05 PPT Master</vt:lpstr>
      <vt:lpstr>Sondercharts M05 PPT Master</vt:lpstr>
      <vt:lpstr>PowerPoint-Präsentation</vt:lpstr>
      <vt:lpstr>Allgemeine Informationen</vt:lpstr>
      <vt:lpstr>anreise</vt:lpstr>
      <vt:lpstr>anreise</vt:lpstr>
      <vt:lpstr>Stadion </vt:lpstr>
      <vt:lpstr>stadion</vt:lpstr>
      <vt:lpstr>gastbereich</vt:lpstr>
      <vt:lpstr>fanutensilien</vt:lpstr>
      <vt:lpstr>Getränke     speis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eller, Max</dc:creator>
  <cp:lastModifiedBy>Michel, Judith</cp:lastModifiedBy>
  <cp:revision>3</cp:revision>
  <dcterms:created xsi:type="dcterms:W3CDTF">2021-04-13T09:07:13Z</dcterms:created>
  <dcterms:modified xsi:type="dcterms:W3CDTF">2024-08-19T10:3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7B6374394CB2459C5EB7F25822E06C</vt:lpwstr>
  </property>
  <property fmtid="{D5CDD505-2E9C-101B-9397-08002B2CF9AE}" pid="3" name="MediaServiceImageTags">
    <vt:lpwstr/>
  </property>
</Properties>
</file>